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tmp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4.xml" ContentType="application/vnd.openxmlformats-officedocument.theme+xml"/>
  <Override PartName="/ppt/slideLayouts/slideLayout20.xml" ContentType="application/vnd.openxmlformats-officedocument.presentationml.slideLayout+xml"/>
  <Override PartName="/ppt/theme/theme5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6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7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8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9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10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11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12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13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14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15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16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17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18.xml" ContentType="application/vnd.openxmlformats-officedocument.theme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19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20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21.xml" ContentType="application/vnd.openxmlformats-officedocument.theme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22.xml" ContentType="application/vnd.openxmlformats-officedocument.theme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theme/theme23.xml" ContentType="application/vnd.openxmlformats-officedocument.theme+xml"/>
  <Override PartName="/ppt/tags/tag1.xml" ContentType="application/vnd.openxmlformats-officedocument.presentationml.tags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theme/theme24.xml" ContentType="application/vnd.openxmlformats-officedocument.theme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theme/theme25.xml" ContentType="application/vnd.openxmlformats-officedocument.theme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theme/theme26.xml" ContentType="application/vnd.openxmlformats-officedocument.theme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theme/theme27.xml" ContentType="application/vnd.openxmlformats-officedocument.theme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theme/theme28.xml" ContentType="application/vnd.openxmlformats-officedocument.theme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theme/theme29.xml" ContentType="application/vnd.openxmlformats-officedocument.theme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theme/theme30.xml" ContentType="application/vnd.openxmlformats-officedocument.theme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theme/theme31.xml" ContentType="application/vnd.openxmlformats-officedocument.theme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theme/theme32.xml" ContentType="application/vnd.openxmlformats-officedocument.theme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theme/theme33.xml" ContentType="application/vnd.openxmlformats-officedocument.theme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theme/theme34.xml" ContentType="application/vnd.openxmlformats-officedocument.theme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theme/theme35.xml" ContentType="application/vnd.openxmlformats-officedocument.theme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theme/theme36.xml" ContentType="application/vnd.openxmlformats-officedocument.theme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theme/theme37.xml" ContentType="application/vnd.openxmlformats-officedocument.theme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theme/theme38.xml" ContentType="application/vnd.openxmlformats-officedocument.theme+xml"/>
  <Override PartName="/ppt/theme/theme39.xml" ContentType="application/vnd.openxmlformats-officedocument.theme+xml"/>
  <Override PartName="/ppt/theme/theme4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7" r:id="rId1"/>
    <p:sldMasterId id="2147483682" r:id="rId2"/>
    <p:sldMasterId id="2147483687" r:id="rId3"/>
    <p:sldMasterId id="2147483692" r:id="rId4"/>
    <p:sldMasterId id="2147483696" r:id="rId5"/>
    <p:sldMasterId id="2147483700" r:id="rId6"/>
    <p:sldMasterId id="2147483708" r:id="rId7"/>
    <p:sldMasterId id="2147483713" r:id="rId8"/>
    <p:sldMasterId id="2147483724" r:id="rId9"/>
    <p:sldMasterId id="2147483740" r:id="rId10"/>
    <p:sldMasterId id="2147483746" r:id="rId11"/>
    <p:sldMasterId id="2147483752" r:id="rId12"/>
    <p:sldMasterId id="2147483758" r:id="rId13"/>
    <p:sldMasterId id="2147483764" r:id="rId14"/>
    <p:sldMasterId id="2147483769" r:id="rId15"/>
    <p:sldMasterId id="2147483774" r:id="rId16"/>
    <p:sldMasterId id="2147483779" r:id="rId17"/>
    <p:sldMasterId id="2147483784" r:id="rId18"/>
    <p:sldMasterId id="2147483791" r:id="rId19"/>
    <p:sldMasterId id="2147483801" r:id="rId20"/>
    <p:sldMasterId id="2147483807" r:id="rId21"/>
    <p:sldMasterId id="2147483826" r:id="rId22"/>
    <p:sldMasterId id="2147483860" r:id="rId23"/>
    <p:sldMasterId id="2147484011" r:id="rId24"/>
    <p:sldMasterId id="2147484021" r:id="rId25"/>
    <p:sldMasterId id="2147484029" r:id="rId26"/>
    <p:sldMasterId id="2147484037" r:id="rId27"/>
    <p:sldMasterId id="2147484042" r:id="rId28"/>
    <p:sldMasterId id="2147484077" r:id="rId29"/>
    <p:sldMasterId id="2147484086" r:id="rId30"/>
    <p:sldMasterId id="2147484093" r:id="rId31"/>
    <p:sldMasterId id="2147484102" r:id="rId32"/>
    <p:sldMasterId id="2147484111" r:id="rId33"/>
    <p:sldMasterId id="2147484120" r:id="rId34"/>
    <p:sldMasterId id="2147484128" r:id="rId35"/>
    <p:sldMasterId id="2147484139" r:id="rId36"/>
    <p:sldMasterId id="2147484143" r:id="rId37"/>
    <p:sldMasterId id="2147484147" r:id="rId38"/>
  </p:sldMasterIdLst>
  <p:notesMasterIdLst>
    <p:notesMasterId r:id="rId84"/>
  </p:notesMasterIdLst>
  <p:handoutMasterIdLst>
    <p:handoutMasterId r:id="rId85"/>
  </p:handoutMasterIdLst>
  <p:sldIdLst>
    <p:sldId id="2291" r:id="rId39"/>
    <p:sldId id="2226" r:id="rId40"/>
    <p:sldId id="2372" r:id="rId41"/>
    <p:sldId id="2218" r:id="rId42"/>
    <p:sldId id="2219" r:id="rId43"/>
    <p:sldId id="2220" r:id="rId44"/>
    <p:sldId id="2221" r:id="rId45"/>
    <p:sldId id="2222" r:id="rId46"/>
    <p:sldId id="2420" r:id="rId47"/>
    <p:sldId id="2421" r:id="rId48"/>
    <p:sldId id="2422" r:id="rId49"/>
    <p:sldId id="2373" r:id="rId50"/>
    <p:sldId id="2419" r:id="rId51"/>
    <p:sldId id="2416" r:id="rId52"/>
    <p:sldId id="2415" r:id="rId53"/>
    <p:sldId id="2423" r:id="rId54"/>
    <p:sldId id="2424" r:id="rId55"/>
    <p:sldId id="2426" r:id="rId56"/>
    <p:sldId id="2427" r:id="rId57"/>
    <p:sldId id="2428" r:id="rId58"/>
    <p:sldId id="2429" r:id="rId59"/>
    <p:sldId id="2430" r:id="rId60"/>
    <p:sldId id="2431" r:id="rId61"/>
    <p:sldId id="2432" r:id="rId62"/>
    <p:sldId id="2433" r:id="rId63"/>
    <p:sldId id="2434" r:id="rId64"/>
    <p:sldId id="2435" r:id="rId65"/>
    <p:sldId id="2436" r:id="rId66"/>
    <p:sldId id="2437" r:id="rId67"/>
    <p:sldId id="2438" r:id="rId68"/>
    <p:sldId id="2439" r:id="rId69"/>
    <p:sldId id="2440" r:id="rId70"/>
    <p:sldId id="2441" r:id="rId71"/>
    <p:sldId id="2442" r:id="rId72"/>
    <p:sldId id="2443" r:id="rId73"/>
    <p:sldId id="2444" r:id="rId74"/>
    <p:sldId id="2445" r:id="rId75"/>
    <p:sldId id="2446" r:id="rId76"/>
    <p:sldId id="2447" r:id="rId77"/>
    <p:sldId id="2448" r:id="rId78"/>
    <p:sldId id="2449" r:id="rId79"/>
    <p:sldId id="2450" r:id="rId80"/>
    <p:sldId id="2451" r:id="rId81"/>
    <p:sldId id="2452" r:id="rId82"/>
    <p:sldId id="2453" r:id="rId83"/>
  </p:sldIdLst>
  <p:sldSz cx="10383838" cy="7254875"/>
  <p:notesSz cx="9939338" cy="6807200"/>
  <p:defaultTextStyle>
    <a:defPPr>
      <a:defRPr lang="ko-KR"/>
    </a:defPPr>
    <a:lvl1pPr marL="0" algn="l" defTabSz="1005234" rtl="0" eaLnBrk="1" latinLnBrk="1" hangingPunct="1">
      <a:defRPr sz="1984" kern="1200">
        <a:solidFill>
          <a:schemeClr val="tx1"/>
        </a:solidFill>
        <a:latin typeface="+mn-lt"/>
        <a:ea typeface="+mn-ea"/>
        <a:cs typeface="+mn-cs"/>
      </a:defRPr>
    </a:lvl1pPr>
    <a:lvl2pPr marL="502612" algn="l" defTabSz="1005234" rtl="0" eaLnBrk="1" latinLnBrk="1" hangingPunct="1">
      <a:defRPr sz="1984" kern="1200">
        <a:solidFill>
          <a:schemeClr val="tx1"/>
        </a:solidFill>
        <a:latin typeface="+mn-lt"/>
        <a:ea typeface="+mn-ea"/>
        <a:cs typeface="+mn-cs"/>
      </a:defRPr>
    </a:lvl2pPr>
    <a:lvl3pPr marL="1005234" algn="l" defTabSz="1005234" rtl="0" eaLnBrk="1" latinLnBrk="1" hangingPunct="1">
      <a:defRPr sz="1984" kern="1200">
        <a:solidFill>
          <a:schemeClr val="tx1"/>
        </a:solidFill>
        <a:latin typeface="+mn-lt"/>
        <a:ea typeface="+mn-ea"/>
        <a:cs typeface="+mn-cs"/>
      </a:defRPr>
    </a:lvl3pPr>
    <a:lvl4pPr marL="1507851" algn="l" defTabSz="1005234" rtl="0" eaLnBrk="1" latinLnBrk="1" hangingPunct="1">
      <a:defRPr sz="1984" kern="1200">
        <a:solidFill>
          <a:schemeClr val="tx1"/>
        </a:solidFill>
        <a:latin typeface="+mn-lt"/>
        <a:ea typeface="+mn-ea"/>
        <a:cs typeface="+mn-cs"/>
      </a:defRPr>
    </a:lvl4pPr>
    <a:lvl5pPr marL="2010467" algn="l" defTabSz="1005234" rtl="0" eaLnBrk="1" latinLnBrk="1" hangingPunct="1">
      <a:defRPr sz="1984" kern="1200">
        <a:solidFill>
          <a:schemeClr val="tx1"/>
        </a:solidFill>
        <a:latin typeface="+mn-lt"/>
        <a:ea typeface="+mn-ea"/>
        <a:cs typeface="+mn-cs"/>
      </a:defRPr>
    </a:lvl5pPr>
    <a:lvl6pPr marL="2513084" algn="l" defTabSz="1005234" rtl="0" eaLnBrk="1" latinLnBrk="1" hangingPunct="1">
      <a:defRPr sz="1984" kern="1200">
        <a:solidFill>
          <a:schemeClr val="tx1"/>
        </a:solidFill>
        <a:latin typeface="+mn-lt"/>
        <a:ea typeface="+mn-ea"/>
        <a:cs typeface="+mn-cs"/>
      </a:defRPr>
    </a:lvl6pPr>
    <a:lvl7pPr marL="3015701" algn="l" defTabSz="1005234" rtl="0" eaLnBrk="1" latinLnBrk="1" hangingPunct="1">
      <a:defRPr sz="1984" kern="1200">
        <a:solidFill>
          <a:schemeClr val="tx1"/>
        </a:solidFill>
        <a:latin typeface="+mn-lt"/>
        <a:ea typeface="+mn-ea"/>
        <a:cs typeface="+mn-cs"/>
      </a:defRPr>
    </a:lvl7pPr>
    <a:lvl8pPr marL="3518317" algn="l" defTabSz="1005234" rtl="0" eaLnBrk="1" latinLnBrk="1" hangingPunct="1">
      <a:defRPr sz="1984" kern="1200">
        <a:solidFill>
          <a:schemeClr val="tx1"/>
        </a:solidFill>
        <a:latin typeface="+mn-lt"/>
        <a:ea typeface="+mn-ea"/>
        <a:cs typeface="+mn-cs"/>
      </a:defRPr>
    </a:lvl8pPr>
    <a:lvl9pPr marL="4020934" algn="l" defTabSz="1005234" rtl="0" eaLnBrk="1" latinLnBrk="1" hangingPunct="1">
      <a:defRPr sz="198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pos="3225" userDrawn="1">
          <p15:clr>
            <a:srgbClr val="A4A3A4"/>
          </p15:clr>
        </p15:guide>
        <p15:guide id="6" pos="6231" userDrawn="1">
          <p15:clr>
            <a:srgbClr val="A4A3A4"/>
          </p15:clr>
        </p15:guide>
        <p15:guide id="9" orient="horz" pos="4099" userDrawn="1">
          <p15:clr>
            <a:srgbClr val="A4A3A4"/>
          </p15:clr>
        </p15:guide>
        <p15:guide id="10" orient="horz" pos="335" userDrawn="1">
          <p15:clr>
            <a:srgbClr val="A4A3A4"/>
          </p15:clr>
        </p15:guide>
        <p15:guide id="11" orient="horz" pos="743" userDrawn="1">
          <p15:clr>
            <a:srgbClr val="A4A3A4"/>
          </p15:clr>
        </p15:guide>
        <p15:guide id="12" pos="32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4" userDrawn="1">
          <p15:clr>
            <a:srgbClr val="A4A3A4"/>
          </p15:clr>
        </p15:guide>
        <p15:guide id="2" pos="313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69A3"/>
    <a:srgbClr val="00A956"/>
    <a:srgbClr val="FF3648"/>
    <a:srgbClr val="F0A700"/>
    <a:srgbClr val="F1EFFA"/>
    <a:srgbClr val="B9B9B9"/>
    <a:srgbClr val="FEF4CE"/>
    <a:srgbClr val="459F95"/>
    <a:srgbClr val="71AF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보통 스타일 2 - 강조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보통 스타일 2 - 강조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B9631B5-78F2-41C9-869B-9F39066F8104}" styleName="보통 스타일 3 - 강조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ABFCF23-3B69-468F-B69F-88F6DE6A72F2}" styleName="보통 스타일 1 - 강조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7DF18680-E054-41AD-8BC1-D1AEF772440D}" styleName="보통 스타일 2 - 강조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E25E649-3F16-4E02-A733-19D2CDBF48F0}" styleName="보통 스타일 3 - 강조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밝은 스타일 2 - 강조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2A488322-F2BA-4B5B-9748-0D474271808F}" styleName="보통 스타일 3 - 강조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8B1032C-EA38-4F05-BA0D-38AFFFC7BED3}" styleName="밝은 스타일 3 - 강조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16DA210-FB5B-4158-B5E0-FEB733F419BA}" styleName="밝은 스타일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1FECB4D8-DB02-4DC6-A0A2-4F2EBAE1DC90}" styleName="보통 스타일 1 - 강조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74C1A8A3-306A-4EB7-A6B1-4F7E0EB9C5D6}" styleName="보통 스타일 3 - 강조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2485" autoAdjust="0"/>
    <p:restoredTop sz="95320" autoAdjust="0"/>
  </p:normalViewPr>
  <p:slideViewPr>
    <p:cSldViewPr>
      <p:cViewPr varScale="1">
        <p:scale>
          <a:sx n="83" d="100"/>
          <a:sy n="83" d="100"/>
        </p:scale>
        <p:origin x="1272" y="67"/>
      </p:cViewPr>
      <p:guideLst>
        <p:guide pos="3225"/>
        <p:guide pos="6231"/>
        <p:guide orient="horz" pos="4099"/>
        <p:guide orient="horz" pos="335"/>
        <p:guide orient="horz" pos="743"/>
        <p:guide pos="322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89" d="100"/>
          <a:sy n="89" d="100"/>
        </p:scale>
        <p:origin x="1795" y="62"/>
      </p:cViewPr>
      <p:guideLst>
        <p:guide orient="horz" pos="2144"/>
        <p:guide pos="313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Master" Target="slideMasters/slideMaster26.xml"/><Relationship Id="rId21" Type="http://schemas.openxmlformats.org/officeDocument/2006/relationships/slideMaster" Target="slideMasters/slideMaster21.xml"/><Relationship Id="rId42" Type="http://schemas.openxmlformats.org/officeDocument/2006/relationships/slide" Target="slides/slide4.xml"/><Relationship Id="rId47" Type="http://schemas.openxmlformats.org/officeDocument/2006/relationships/slide" Target="slides/slide9.xml"/><Relationship Id="rId63" Type="http://schemas.openxmlformats.org/officeDocument/2006/relationships/slide" Target="slides/slide25.xml"/><Relationship Id="rId68" Type="http://schemas.openxmlformats.org/officeDocument/2006/relationships/slide" Target="slides/slide30.xml"/><Relationship Id="rId84" Type="http://schemas.openxmlformats.org/officeDocument/2006/relationships/notesMaster" Target="notesMasters/notesMaster1.xml"/><Relationship Id="rId89" Type="http://schemas.openxmlformats.org/officeDocument/2006/relationships/tableStyles" Target="tableStyles.xml"/><Relationship Id="rId16" Type="http://schemas.openxmlformats.org/officeDocument/2006/relationships/slideMaster" Target="slideMasters/slideMaster16.xml"/><Relationship Id="rId11" Type="http://schemas.openxmlformats.org/officeDocument/2006/relationships/slideMaster" Target="slideMasters/slideMaster11.xml"/><Relationship Id="rId32" Type="http://schemas.openxmlformats.org/officeDocument/2006/relationships/slideMaster" Target="slideMasters/slideMaster32.xml"/><Relationship Id="rId37" Type="http://schemas.openxmlformats.org/officeDocument/2006/relationships/slideMaster" Target="slideMasters/slideMaster37.xml"/><Relationship Id="rId53" Type="http://schemas.openxmlformats.org/officeDocument/2006/relationships/slide" Target="slides/slide15.xml"/><Relationship Id="rId58" Type="http://schemas.openxmlformats.org/officeDocument/2006/relationships/slide" Target="slides/slide20.xml"/><Relationship Id="rId74" Type="http://schemas.openxmlformats.org/officeDocument/2006/relationships/slide" Target="slides/slide36.xml"/><Relationship Id="rId79" Type="http://schemas.openxmlformats.org/officeDocument/2006/relationships/slide" Target="slides/slide41.xml"/><Relationship Id="rId5" Type="http://schemas.openxmlformats.org/officeDocument/2006/relationships/slideMaster" Target="slideMasters/slideMaster5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43" Type="http://schemas.openxmlformats.org/officeDocument/2006/relationships/slide" Target="slides/slide5.xml"/><Relationship Id="rId48" Type="http://schemas.openxmlformats.org/officeDocument/2006/relationships/slide" Target="slides/slide10.xml"/><Relationship Id="rId56" Type="http://schemas.openxmlformats.org/officeDocument/2006/relationships/slide" Target="slides/slide18.xml"/><Relationship Id="rId64" Type="http://schemas.openxmlformats.org/officeDocument/2006/relationships/slide" Target="slides/slide26.xml"/><Relationship Id="rId69" Type="http://schemas.openxmlformats.org/officeDocument/2006/relationships/slide" Target="slides/slide31.xml"/><Relationship Id="rId77" Type="http://schemas.openxmlformats.org/officeDocument/2006/relationships/slide" Target="slides/slide39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13.xml"/><Relationship Id="rId72" Type="http://schemas.openxmlformats.org/officeDocument/2006/relationships/slide" Target="slides/slide34.xml"/><Relationship Id="rId80" Type="http://schemas.openxmlformats.org/officeDocument/2006/relationships/slide" Target="slides/slide42.xml"/><Relationship Id="rId85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Master" Target="slideMasters/slideMaster38.xml"/><Relationship Id="rId46" Type="http://schemas.openxmlformats.org/officeDocument/2006/relationships/slide" Target="slides/slide8.xml"/><Relationship Id="rId59" Type="http://schemas.openxmlformats.org/officeDocument/2006/relationships/slide" Target="slides/slide21.xml"/><Relationship Id="rId67" Type="http://schemas.openxmlformats.org/officeDocument/2006/relationships/slide" Target="slides/slide29.xml"/><Relationship Id="rId20" Type="http://schemas.openxmlformats.org/officeDocument/2006/relationships/slideMaster" Target="slideMasters/slideMaster20.xml"/><Relationship Id="rId41" Type="http://schemas.openxmlformats.org/officeDocument/2006/relationships/slide" Target="slides/slide3.xml"/><Relationship Id="rId54" Type="http://schemas.openxmlformats.org/officeDocument/2006/relationships/slide" Target="slides/slide16.xml"/><Relationship Id="rId62" Type="http://schemas.openxmlformats.org/officeDocument/2006/relationships/slide" Target="slides/slide24.xml"/><Relationship Id="rId70" Type="http://schemas.openxmlformats.org/officeDocument/2006/relationships/slide" Target="slides/slide32.xml"/><Relationship Id="rId75" Type="http://schemas.openxmlformats.org/officeDocument/2006/relationships/slide" Target="slides/slide37.xml"/><Relationship Id="rId83" Type="http://schemas.openxmlformats.org/officeDocument/2006/relationships/slide" Target="slides/slide45.xml"/><Relationship Id="rId88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Master" Target="slideMasters/slideMaster36.xml"/><Relationship Id="rId49" Type="http://schemas.openxmlformats.org/officeDocument/2006/relationships/slide" Target="slides/slide11.xml"/><Relationship Id="rId57" Type="http://schemas.openxmlformats.org/officeDocument/2006/relationships/slide" Target="slides/slide19.xml"/><Relationship Id="rId10" Type="http://schemas.openxmlformats.org/officeDocument/2006/relationships/slideMaster" Target="slideMasters/slideMaster10.xml"/><Relationship Id="rId31" Type="http://schemas.openxmlformats.org/officeDocument/2006/relationships/slideMaster" Target="slideMasters/slideMaster31.xml"/><Relationship Id="rId44" Type="http://schemas.openxmlformats.org/officeDocument/2006/relationships/slide" Target="slides/slide6.xml"/><Relationship Id="rId52" Type="http://schemas.openxmlformats.org/officeDocument/2006/relationships/slide" Target="slides/slide14.xml"/><Relationship Id="rId60" Type="http://schemas.openxmlformats.org/officeDocument/2006/relationships/slide" Target="slides/slide22.xml"/><Relationship Id="rId65" Type="http://schemas.openxmlformats.org/officeDocument/2006/relationships/slide" Target="slides/slide27.xml"/><Relationship Id="rId73" Type="http://schemas.openxmlformats.org/officeDocument/2006/relationships/slide" Target="slides/slide35.xml"/><Relationship Id="rId78" Type="http://schemas.openxmlformats.org/officeDocument/2006/relationships/slide" Target="slides/slide40.xml"/><Relationship Id="rId81" Type="http://schemas.openxmlformats.org/officeDocument/2006/relationships/slide" Target="slides/slide43.xml"/><Relationship Id="rId86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39" Type="http://schemas.openxmlformats.org/officeDocument/2006/relationships/slide" Target="slides/slide1.xml"/><Relationship Id="rId34" Type="http://schemas.openxmlformats.org/officeDocument/2006/relationships/slideMaster" Target="slideMasters/slideMaster34.xml"/><Relationship Id="rId50" Type="http://schemas.openxmlformats.org/officeDocument/2006/relationships/slide" Target="slides/slide12.xml"/><Relationship Id="rId55" Type="http://schemas.openxmlformats.org/officeDocument/2006/relationships/slide" Target="slides/slide17.xml"/><Relationship Id="rId76" Type="http://schemas.openxmlformats.org/officeDocument/2006/relationships/slide" Target="slides/slide38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33.xml"/><Relationship Id="rId2" Type="http://schemas.openxmlformats.org/officeDocument/2006/relationships/slideMaster" Target="slideMasters/slideMaster2.xml"/><Relationship Id="rId29" Type="http://schemas.openxmlformats.org/officeDocument/2006/relationships/slideMaster" Target="slideMasters/slideMaster29.xml"/><Relationship Id="rId24" Type="http://schemas.openxmlformats.org/officeDocument/2006/relationships/slideMaster" Target="slideMasters/slideMaster24.xml"/><Relationship Id="rId40" Type="http://schemas.openxmlformats.org/officeDocument/2006/relationships/slide" Target="slides/slide2.xml"/><Relationship Id="rId45" Type="http://schemas.openxmlformats.org/officeDocument/2006/relationships/slide" Target="slides/slide7.xml"/><Relationship Id="rId66" Type="http://schemas.openxmlformats.org/officeDocument/2006/relationships/slide" Target="slides/slide28.xml"/><Relationship Id="rId87" Type="http://schemas.openxmlformats.org/officeDocument/2006/relationships/viewProps" Target="viewProps.xml"/><Relationship Id="rId61" Type="http://schemas.openxmlformats.org/officeDocument/2006/relationships/slide" Target="slides/slide23.xml"/><Relationship Id="rId82" Type="http://schemas.openxmlformats.org/officeDocument/2006/relationships/slide" Target="slides/slide44.xml"/><Relationship Id="rId19" Type="http://schemas.openxmlformats.org/officeDocument/2006/relationships/slideMaster" Target="slideMasters/slideMaster19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C9E2AF4-BDDB-4471-A5D0-91E46C72F125}" type="doc">
      <dgm:prSet loTypeId="urn:microsoft.com/office/officeart/2005/8/layout/default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pPr latinLnBrk="1"/>
          <a:endParaRPr lang="ko-KR" altLang="en-US"/>
        </a:p>
      </dgm:t>
    </dgm:pt>
    <dgm:pt modelId="{9EEDA3A6-F7B6-40BB-BE6A-7278EBB1BE7C}">
      <dgm:prSet phldrT="[텍스트]" custT="1"/>
      <dgm:spPr/>
      <dgm:t>
        <a:bodyPr/>
        <a:lstStyle/>
        <a:p>
          <a:pPr latinLnBrk="1">
            <a:lnSpc>
              <a:spcPct val="100000"/>
            </a:lnSpc>
          </a:pPr>
          <a:r>
            <a:rPr lang="ko-KR" altLang="en-US" sz="2000" b="1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고딕 ExtraBold" panose="020D0904000000000000" pitchFamily="50" charset="-127"/>
              <a:ea typeface="나눔고딕 ExtraBold" panose="020D0904000000000000" pitchFamily="50" charset="-127"/>
            </a:rPr>
            <a:t>확정금리</a:t>
          </a:r>
          <a:endParaRPr lang="en-US" altLang="ko-KR" sz="2000" b="1" dirty="0" smtClean="0">
            <a:solidFill>
              <a:srgbClr val="FFFF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나눔고딕 ExtraBold" panose="020D0904000000000000" pitchFamily="50" charset="-127"/>
            <a:ea typeface="나눔고딕 ExtraBold" panose="020D0904000000000000" pitchFamily="50" charset="-127"/>
          </a:endParaRPr>
        </a:p>
        <a:p>
          <a:pPr latinLnBrk="1">
            <a:lnSpc>
              <a:spcPct val="100000"/>
            </a:lnSpc>
          </a:pPr>
          <a:r>
            <a:rPr lang="en-US" altLang="ko-KR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5</a:t>
          </a:r>
          <a:r>
            <a:rPr lang="ko-KR" altLang="en-US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년 미만 </a:t>
          </a:r>
          <a:r>
            <a:rPr lang="en-US" altLang="ko-KR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: 3.5%</a:t>
          </a:r>
        </a:p>
        <a:p>
          <a:pPr latinLnBrk="1">
            <a:lnSpc>
              <a:spcPct val="100000"/>
            </a:lnSpc>
          </a:pPr>
          <a:r>
            <a:rPr lang="en-US" altLang="ko-KR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5~15</a:t>
          </a:r>
          <a:r>
            <a:rPr lang="ko-KR" altLang="en-US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년 </a:t>
          </a:r>
          <a:r>
            <a:rPr lang="en-US" altLang="ko-KR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:</a:t>
          </a:r>
          <a:r>
            <a:rPr lang="ko-KR" altLang="en-US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 </a:t>
          </a:r>
          <a:r>
            <a:rPr lang="en-US" altLang="ko-KR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2.5%</a:t>
          </a:r>
        </a:p>
        <a:p>
          <a:pPr latinLnBrk="1">
            <a:lnSpc>
              <a:spcPct val="100000"/>
            </a:lnSpc>
          </a:pPr>
          <a:r>
            <a:rPr lang="en-US" altLang="ko-KR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15</a:t>
          </a:r>
          <a:r>
            <a:rPr lang="ko-KR" altLang="en-US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년 </a:t>
          </a:r>
          <a:r>
            <a:rPr lang="en-US" altLang="ko-KR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~</a:t>
          </a:r>
          <a:r>
            <a:rPr lang="ko-KR" altLang="en-US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 </a:t>
          </a:r>
          <a:r>
            <a:rPr lang="en-US" altLang="ko-KR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:</a:t>
          </a:r>
          <a:r>
            <a:rPr lang="ko-KR" altLang="en-US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 </a:t>
          </a:r>
          <a:r>
            <a:rPr lang="en-US" altLang="ko-KR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2.15%</a:t>
          </a:r>
          <a:endParaRPr lang="ko-KR" altLang="en-US" sz="1600" dirty="0">
            <a:latin typeface="나눔고딕 ExtraBold" panose="020D0904000000000000" pitchFamily="50" charset="-127"/>
            <a:ea typeface="나눔고딕 ExtraBold" panose="020D0904000000000000" pitchFamily="50" charset="-127"/>
          </a:endParaRPr>
        </a:p>
      </dgm:t>
    </dgm:pt>
    <dgm:pt modelId="{2E025A8C-161C-4524-8055-6AC2D36C0B34}" type="parTrans" cxnId="{C695ED24-7C66-4B79-AB54-BACFC235527D}">
      <dgm:prSet/>
      <dgm:spPr/>
      <dgm:t>
        <a:bodyPr/>
        <a:lstStyle/>
        <a:p>
          <a:pPr latinLnBrk="1">
            <a:lnSpc>
              <a:spcPct val="100000"/>
            </a:lnSpc>
          </a:pPr>
          <a:endParaRPr lang="ko-KR" altLang="en-US">
            <a:latin typeface="나눔고딕 ExtraBold" panose="020D0904000000000000" pitchFamily="50" charset="-127"/>
            <a:ea typeface="나눔고딕 ExtraBold" panose="020D0904000000000000" pitchFamily="50" charset="-127"/>
          </a:endParaRPr>
        </a:p>
      </dgm:t>
    </dgm:pt>
    <dgm:pt modelId="{50C18C1E-5B8C-43D3-ACB5-C4C761E90847}" type="sibTrans" cxnId="{C695ED24-7C66-4B79-AB54-BACFC235527D}">
      <dgm:prSet/>
      <dgm:spPr/>
      <dgm:t>
        <a:bodyPr/>
        <a:lstStyle/>
        <a:p>
          <a:pPr latinLnBrk="1">
            <a:lnSpc>
              <a:spcPct val="100000"/>
            </a:lnSpc>
          </a:pPr>
          <a:endParaRPr lang="ko-KR" altLang="en-US">
            <a:latin typeface="나눔고딕 ExtraBold" panose="020D0904000000000000" pitchFamily="50" charset="-127"/>
            <a:ea typeface="나눔고딕 ExtraBold" panose="020D0904000000000000" pitchFamily="50" charset="-127"/>
          </a:endParaRPr>
        </a:p>
      </dgm:t>
    </dgm:pt>
    <dgm:pt modelId="{D15D66A6-03E2-428E-9E34-F684F572AC91}">
      <dgm:prSet phldrT="[텍스트]" custT="1"/>
      <dgm:spPr/>
      <dgm:t>
        <a:bodyPr/>
        <a:lstStyle/>
        <a:p>
          <a:pPr latinLnBrk="1">
            <a:lnSpc>
              <a:spcPct val="100000"/>
            </a:lnSpc>
          </a:pPr>
          <a:r>
            <a:rPr lang="ko-KR" altLang="en-US" sz="2000" b="1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고딕 ExtraBold" panose="020D0904000000000000" pitchFamily="50" charset="-127"/>
              <a:ea typeface="나눔고딕 ExtraBold" panose="020D0904000000000000" pitchFamily="50" charset="-127"/>
            </a:rPr>
            <a:t>추가납입</a:t>
          </a:r>
          <a:endParaRPr lang="en-US" altLang="ko-KR" sz="2000" b="1" dirty="0" smtClean="0">
            <a:solidFill>
              <a:srgbClr val="FFFF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나눔고딕 ExtraBold" panose="020D0904000000000000" pitchFamily="50" charset="-127"/>
            <a:ea typeface="나눔고딕 ExtraBold" panose="020D0904000000000000" pitchFamily="50" charset="-127"/>
          </a:endParaRPr>
        </a:p>
        <a:p>
          <a:pPr latinLnBrk="1">
            <a:lnSpc>
              <a:spcPct val="100000"/>
            </a:lnSpc>
          </a:pPr>
          <a:r>
            <a:rPr lang="ko-KR" altLang="en-US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기본보험료</a:t>
          </a:r>
          <a:endParaRPr lang="en-US" altLang="ko-KR" sz="1600" b="1" dirty="0" smtClean="0">
            <a:latin typeface="나눔고딕 ExtraBold" panose="020D0904000000000000" pitchFamily="50" charset="-127"/>
            <a:ea typeface="나눔고딕 ExtraBold" panose="020D0904000000000000" pitchFamily="50" charset="-127"/>
          </a:endParaRPr>
        </a:p>
        <a:p>
          <a:pPr latinLnBrk="1">
            <a:lnSpc>
              <a:spcPct val="100000"/>
            </a:lnSpc>
          </a:pPr>
          <a:r>
            <a:rPr lang="ko-KR" altLang="en-US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금리와 동일</a:t>
          </a:r>
          <a:endParaRPr lang="ko-KR" altLang="en-US" sz="1600" dirty="0">
            <a:latin typeface="나눔고딕 ExtraBold" panose="020D0904000000000000" pitchFamily="50" charset="-127"/>
            <a:ea typeface="나눔고딕 ExtraBold" panose="020D0904000000000000" pitchFamily="50" charset="-127"/>
          </a:endParaRPr>
        </a:p>
      </dgm:t>
    </dgm:pt>
    <dgm:pt modelId="{318C4022-4D85-4D03-8D2D-A8B8F1C3572D}" type="parTrans" cxnId="{E424C589-A02C-4F9D-BBFA-866452E763A7}">
      <dgm:prSet/>
      <dgm:spPr/>
      <dgm:t>
        <a:bodyPr/>
        <a:lstStyle/>
        <a:p>
          <a:pPr latinLnBrk="1">
            <a:lnSpc>
              <a:spcPct val="100000"/>
            </a:lnSpc>
          </a:pPr>
          <a:endParaRPr lang="ko-KR" altLang="en-US">
            <a:latin typeface="나눔고딕 ExtraBold" panose="020D0904000000000000" pitchFamily="50" charset="-127"/>
            <a:ea typeface="나눔고딕 ExtraBold" panose="020D0904000000000000" pitchFamily="50" charset="-127"/>
          </a:endParaRPr>
        </a:p>
      </dgm:t>
    </dgm:pt>
    <dgm:pt modelId="{FC2AB972-2BDA-46C7-A163-C2EBF21FD0BD}" type="sibTrans" cxnId="{E424C589-A02C-4F9D-BBFA-866452E763A7}">
      <dgm:prSet/>
      <dgm:spPr/>
      <dgm:t>
        <a:bodyPr/>
        <a:lstStyle/>
        <a:p>
          <a:pPr latinLnBrk="1">
            <a:lnSpc>
              <a:spcPct val="100000"/>
            </a:lnSpc>
          </a:pPr>
          <a:endParaRPr lang="ko-KR" altLang="en-US">
            <a:latin typeface="나눔고딕 ExtraBold" panose="020D0904000000000000" pitchFamily="50" charset="-127"/>
            <a:ea typeface="나눔고딕 ExtraBold" panose="020D0904000000000000" pitchFamily="50" charset="-127"/>
          </a:endParaRPr>
        </a:p>
      </dgm:t>
    </dgm:pt>
    <dgm:pt modelId="{FF2E2E8A-B975-4882-B6BC-8E6D09D63149}">
      <dgm:prSet phldrT="[텍스트]" custT="1"/>
      <dgm:spPr/>
      <dgm:t>
        <a:bodyPr/>
        <a:lstStyle/>
        <a:p>
          <a:pPr latinLnBrk="1">
            <a:lnSpc>
              <a:spcPct val="100000"/>
            </a:lnSpc>
          </a:pPr>
          <a:r>
            <a:rPr lang="ko-KR" altLang="en-US" sz="2000" b="1" dirty="0" err="1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고딕 ExtraBold" panose="020D0904000000000000" pitchFamily="50" charset="-127"/>
              <a:ea typeface="나눔고딕 ExtraBold" panose="020D0904000000000000" pitchFamily="50" charset="-127"/>
            </a:rPr>
            <a:t>체증형사망</a:t>
          </a:r>
          <a:r>
            <a:rPr lang="ko-KR" altLang="en-US" sz="2000" b="1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고딕 ExtraBold" panose="020D0904000000000000" pitchFamily="50" charset="-127"/>
              <a:ea typeface="나눔고딕 ExtraBold" panose="020D0904000000000000" pitchFamily="50" charset="-127"/>
            </a:rPr>
            <a:t> </a:t>
          </a:r>
          <a:r>
            <a:rPr lang="ko-KR" altLang="en-US" sz="2000" b="1" dirty="0" err="1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고딕 ExtraBold" panose="020D0904000000000000" pitchFamily="50" charset="-127"/>
              <a:ea typeface="나눔고딕 ExtraBold" panose="020D0904000000000000" pitchFamily="50" charset="-127"/>
            </a:rPr>
            <a:t>보장특약</a:t>
          </a:r>
          <a:endParaRPr lang="en-US" altLang="ko-KR" sz="2000" b="1" dirty="0" smtClean="0">
            <a:solidFill>
              <a:srgbClr val="FFFF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나눔고딕 ExtraBold" panose="020D0904000000000000" pitchFamily="50" charset="-127"/>
            <a:ea typeface="나눔고딕 ExtraBold" panose="020D0904000000000000" pitchFamily="50" charset="-127"/>
          </a:endParaRPr>
        </a:p>
        <a:p>
          <a:pPr latinLnBrk="1">
            <a:lnSpc>
              <a:spcPct val="100000"/>
            </a:lnSpc>
          </a:pPr>
          <a:r>
            <a:rPr lang="ko-KR" altLang="en-US" sz="1600" b="1" dirty="0" err="1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주계약과</a:t>
          </a:r>
          <a:r>
            <a:rPr lang="ko-KR" altLang="en-US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 </a:t>
          </a:r>
          <a:r>
            <a:rPr lang="en-US" altLang="ko-KR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1:1 </a:t>
          </a:r>
          <a:r>
            <a:rPr lang="ko-KR" altLang="en-US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가입</a:t>
          </a:r>
          <a:endParaRPr lang="en-US" altLang="ko-KR" sz="1600" b="1" dirty="0" smtClean="0">
            <a:latin typeface="나눔고딕 ExtraBold" panose="020D0904000000000000" pitchFamily="50" charset="-127"/>
            <a:ea typeface="나눔고딕 ExtraBold" panose="020D0904000000000000" pitchFamily="50" charset="-127"/>
          </a:endParaRPr>
        </a:p>
      </dgm:t>
    </dgm:pt>
    <dgm:pt modelId="{51BA20D4-CB62-41C0-8C42-23F28136FEAD}" type="parTrans" cxnId="{A68BB7DA-F0BC-4CE1-A761-3FCE70A24CB6}">
      <dgm:prSet/>
      <dgm:spPr/>
      <dgm:t>
        <a:bodyPr/>
        <a:lstStyle/>
        <a:p>
          <a:pPr latinLnBrk="1">
            <a:lnSpc>
              <a:spcPct val="100000"/>
            </a:lnSpc>
          </a:pPr>
          <a:endParaRPr lang="ko-KR" altLang="en-US">
            <a:latin typeface="나눔고딕 ExtraBold" panose="020D0904000000000000" pitchFamily="50" charset="-127"/>
            <a:ea typeface="나눔고딕 ExtraBold" panose="020D0904000000000000" pitchFamily="50" charset="-127"/>
          </a:endParaRPr>
        </a:p>
      </dgm:t>
    </dgm:pt>
    <dgm:pt modelId="{48161F6A-2178-4123-9E1F-DF0F9AF8E341}" type="sibTrans" cxnId="{A68BB7DA-F0BC-4CE1-A761-3FCE70A24CB6}">
      <dgm:prSet/>
      <dgm:spPr/>
      <dgm:t>
        <a:bodyPr/>
        <a:lstStyle/>
        <a:p>
          <a:pPr latinLnBrk="1">
            <a:lnSpc>
              <a:spcPct val="100000"/>
            </a:lnSpc>
          </a:pPr>
          <a:endParaRPr lang="ko-KR" altLang="en-US">
            <a:latin typeface="나눔고딕 ExtraBold" panose="020D0904000000000000" pitchFamily="50" charset="-127"/>
            <a:ea typeface="나눔고딕 ExtraBold" panose="020D0904000000000000" pitchFamily="50" charset="-127"/>
          </a:endParaRPr>
        </a:p>
      </dgm:t>
    </dgm:pt>
    <dgm:pt modelId="{A15E5223-D106-4059-B77B-D1183FF6A6B7}">
      <dgm:prSet phldrT="[텍스트]" custT="1"/>
      <dgm:spPr/>
      <dgm:t>
        <a:bodyPr/>
        <a:lstStyle/>
        <a:p>
          <a:pPr latinLnBrk="1">
            <a:lnSpc>
              <a:spcPct val="100000"/>
            </a:lnSpc>
          </a:pPr>
          <a:r>
            <a:rPr lang="ko-KR" altLang="en-US" sz="2000" b="1" dirty="0" err="1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고딕 ExtraBold" panose="020D0904000000000000" pitchFamily="50" charset="-127"/>
              <a:ea typeface="나눔고딕 ExtraBold" panose="020D0904000000000000" pitchFamily="50" charset="-127"/>
            </a:rPr>
            <a:t>해지환급률</a:t>
          </a:r>
          <a:endParaRPr lang="en-US" altLang="ko-KR" sz="2000" b="1" dirty="0" smtClean="0">
            <a:solidFill>
              <a:srgbClr val="FFFF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나눔고딕 ExtraBold" panose="020D0904000000000000" pitchFamily="50" charset="-127"/>
            <a:ea typeface="나눔고딕 ExtraBold" panose="020D0904000000000000" pitchFamily="50" charset="-127"/>
          </a:endParaRPr>
        </a:p>
        <a:p>
          <a:pPr latinLnBrk="1">
            <a:lnSpc>
              <a:spcPct val="100000"/>
            </a:lnSpc>
          </a:pPr>
          <a:r>
            <a:rPr lang="en-US" altLang="ko-KR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7</a:t>
          </a:r>
          <a:r>
            <a:rPr lang="ko-KR" altLang="en-US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년 </a:t>
          </a:r>
          <a:r>
            <a:rPr lang="en-US" altLang="ko-KR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: 99.6%</a:t>
          </a:r>
        </a:p>
        <a:p>
          <a:pPr latinLnBrk="1">
            <a:lnSpc>
              <a:spcPct val="100000"/>
            </a:lnSpc>
          </a:pPr>
          <a:r>
            <a:rPr lang="en-US" altLang="ko-KR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10</a:t>
          </a:r>
          <a:r>
            <a:rPr lang="ko-KR" altLang="en-US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년 </a:t>
          </a:r>
          <a:r>
            <a:rPr lang="en-US" altLang="ko-KR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: 121%</a:t>
          </a:r>
        </a:p>
        <a:p>
          <a:pPr latinLnBrk="1">
            <a:lnSpc>
              <a:spcPct val="100000"/>
            </a:lnSpc>
          </a:pPr>
          <a:r>
            <a:rPr lang="en-US" altLang="ko-KR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(40</a:t>
          </a:r>
          <a:r>
            <a:rPr lang="ko-KR" altLang="en-US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세 남</a:t>
          </a:r>
          <a:r>
            <a:rPr lang="en-US" altLang="ko-KR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, </a:t>
          </a:r>
          <a:r>
            <a:rPr lang="ko-KR" altLang="en-US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기준</a:t>
          </a:r>
          <a:r>
            <a:rPr lang="en-US" altLang="ko-KR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)</a:t>
          </a:r>
          <a:endParaRPr lang="ko-KR" altLang="en-US" sz="1600" dirty="0">
            <a:latin typeface="나눔고딕 ExtraBold" panose="020D0904000000000000" pitchFamily="50" charset="-127"/>
            <a:ea typeface="나눔고딕 ExtraBold" panose="020D0904000000000000" pitchFamily="50" charset="-127"/>
          </a:endParaRPr>
        </a:p>
      </dgm:t>
    </dgm:pt>
    <dgm:pt modelId="{868B4CFA-DC6C-4025-8E24-D7B325470AE9}" type="parTrans" cxnId="{44DA426C-1636-4E29-962A-4AB9174E95D7}">
      <dgm:prSet/>
      <dgm:spPr/>
      <dgm:t>
        <a:bodyPr/>
        <a:lstStyle/>
        <a:p>
          <a:pPr latinLnBrk="1">
            <a:lnSpc>
              <a:spcPct val="100000"/>
            </a:lnSpc>
          </a:pPr>
          <a:endParaRPr lang="ko-KR" altLang="en-US">
            <a:latin typeface="나눔고딕 ExtraBold" panose="020D0904000000000000" pitchFamily="50" charset="-127"/>
            <a:ea typeface="나눔고딕 ExtraBold" panose="020D0904000000000000" pitchFamily="50" charset="-127"/>
          </a:endParaRPr>
        </a:p>
      </dgm:t>
    </dgm:pt>
    <dgm:pt modelId="{9A2E0C3D-D209-4674-A972-4F232C6401BF}" type="sibTrans" cxnId="{44DA426C-1636-4E29-962A-4AB9174E95D7}">
      <dgm:prSet/>
      <dgm:spPr/>
      <dgm:t>
        <a:bodyPr/>
        <a:lstStyle/>
        <a:p>
          <a:pPr latinLnBrk="1">
            <a:lnSpc>
              <a:spcPct val="100000"/>
            </a:lnSpc>
          </a:pPr>
          <a:endParaRPr lang="ko-KR" altLang="en-US">
            <a:latin typeface="나눔고딕 ExtraBold" panose="020D0904000000000000" pitchFamily="50" charset="-127"/>
            <a:ea typeface="나눔고딕 ExtraBold" panose="020D0904000000000000" pitchFamily="50" charset="-127"/>
          </a:endParaRPr>
        </a:p>
      </dgm:t>
    </dgm:pt>
    <dgm:pt modelId="{E951AEED-81F9-4F2B-A044-4195C74EE55C}">
      <dgm:prSet phldrT="[텍스트]" custT="1"/>
      <dgm:spPr/>
      <dgm:t>
        <a:bodyPr/>
        <a:lstStyle/>
        <a:p>
          <a:pPr latinLnBrk="1">
            <a:lnSpc>
              <a:spcPct val="100000"/>
            </a:lnSpc>
          </a:pPr>
          <a:r>
            <a:rPr lang="ko-KR" altLang="en-US" sz="2000" b="1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고딕 ExtraBold" panose="020D0904000000000000" pitchFamily="50" charset="-127"/>
              <a:ea typeface="나눔고딕 ExtraBold" panose="020D0904000000000000" pitchFamily="50" charset="-127"/>
            </a:rPr>
            <a:t>중도인출</a:t>
          </a:r>
          <a:endParaRPr lang="en-US" altLang="ko-KR" sz="2000" b="1" dirty="0" smtClean="0">
            <a:solidFill>
              <a:srgbClr val="FFFF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나눔고딕 ExtraBold" panose="020D0904000000000000" pitchFamily="50" charset="-127"/>
            <a:ea typeface="나눔고딕 ExtraBold" panose="020D0904000000000000" pitchFamily="50" charset="-127"/>
          </a:endParaRPr>
        </a:p>
        <a:p>
          <a:pPr latinLnBrk="1">
            <a:lnSpc>
              <a:spcPct val="100000"/>
            </a:lnSpc>
          </a:pPr>
          <a:r>
            <a:rPr lang="ko-KR" altLang="en-US" sz="1600" b="1" dirty="0" err="1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납입완료</a:t>
          </a:r>
          <a:r>
            <a:rPr lang="ko-KR" altLang="en-US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 후 </a:t>
          </a:r>
          <a:r>
            <a:rPr lang="ko-KR" altLang="en-US" sz="1600" b="1" dirty="0" err="1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주계약</a:t>
          </a:r>
          <a:endParaRPr lang="en-US" altLang="ko-KR" sz="1600" b="1" dirty="0" smtClean="0">
            <a:latin typeface="나눔고딕 ExtraBold" panose="020D0904000000000000" pitchFamily="50" charset="-127"/>
            <a:ea typeface="나눔고딕 ExtraBold" panose="020D0904000000000000" pitchFamily="50" charset="-127"/>
          </a:endParaRPr>
        </a:p>
        <a:p>
          <a:pPr latinLnBrk="1">
            <a:lnSpc>
              <a:spcPct val="100000"/>
            </a:lnSpc>
          </a:pPr>
          <a:r>
            <a:rPr lang="ko-KR" altLang="en-US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중도인출 가능</a:t>
          </a:r>
          <a:endParaRPr lang="ko-KR" altLang="en-US" sz="1600" dirty="0">
            <a:latin typeface="나눔고딕 ExtraBold" panose="020D0904000000000000" pitchFamily="50" charset="-127"/>
            <a:ea typeface="나눔고딕 ExtraBold" panose="020D0904000000000000" pitchFamily="50" charset="-127"/>
          </a:endParaRPr>
        </a:p>
      </dgm:t>
    </dgm:pt>
    <dgm:pt modelId="{6C3142A0-C603-4166-A966-3371B4DB98F3}" type="parTrans" cxnId="{1EF8C131-95CB-4241-8650-807E7AB3839D}">
      <dgm:prSet/>
      <dgm:spPr/>
      <dgm:t>
        <a:bodyPr/>
        <a:lstStyle/>
        <a:p>
          <a:pPr latinLnBrk="1">
            <a:lnSpc>
              <a:spcPct val="100000"/>
            </a:lnSpc>
          </a:pPr>
          <a:endParaRPr lang="ko-KR" altLang="en-US">
            <a:latin typeface="나눔고딕 ExtraBold" panose="020D0904000000000000" pitchFamily="50" charset="-127"/>
            <a:ea typeface="나눔고딕 ExtraBold" panose="020D0904000000000000" pitchFamily="50" charset="-127"/>
          </a:endParaRPr>
        </a:p>
      </dgm:t>
    </dgm:pt>
    <dgm:pt modelId="{12506D31-2906-47D3-9324-A1051DC939A0}" type="sibTrans" cxnId="{1EF8C131-95CB-4241-8650-807E7AB3839D}">
      <dgm:prSet/>
      <dgm:spPr/>
      <dgm:t>
        <a:bodyPr/>
        <a:lstStyle/>
        <a:p>
          <a:pPr latinLnBrk="1">
            <a:lnSpc>
              <a:spcPct val="100000"/>
            </a:lnSpc>
          </a:pPr>
          <a:endParaRPr lang="ko-KR" altLang="en-US">
            <a:latin typeface="나눔고딕 ExtraBold" panose="020D0904000000000000" pitchFamily="50" charset="-127"/>
            <a:ea typeface="나눔고딕 ExtraBold" panose="020D0904000000000000" pitchFamily="50" charset="-127"/>
          </a:endParaRPr>
        </a:p>
      </dgm:t>
    </dgm:pt>
    <dgm:pt modelId="{74D88E4D-C1D0-49B8-994E-735BD7AF7840}">
      <dgm:prSet phldrT="[텍스트]" custT="1"/>
      <dgm:spPr/>
      <dgm:t>
        <a:bodyPr/>
        <a:lstStyle/>
        <a:p>
          <a:pPr latinLnBrk="1">
            <a:lnSpc>
              <a:spcPct val="100000"/>
            </a:lnSpc>
          </a:pPr>
          <a:r>
            <a:rPr lang="ko-KR" altLang="en-US" sz="2000" b="1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고딕 ExtraBold" panose="020D0904000000000000" pitchFamily="50" charset="-127"/>
              <a:ea typeface="나눔고딕 ExtraBold" panose="020D0904000000000000" pitchFamily="50" charset="-127"/>
            </a:rPr>
            <a:t>헬스케어서비스</a:t>
          </a:r>
          <a:endParaRPr lang="en-US" altLang="ko-KR" sz="2000" b="1" dirty="0" smtClean="0">
            <a:solidFill>
              <a:srgbClr val="FFFF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나눔고딕 ExtraBold" panose="020D0904000000000000" pitchFamily="50" charset="-127"/>
            <a:ea typeface="나눔고딕 ExtraBold" panose="020D0904000000000000" pitchFamily="50" charset="-127"/>
          </a:endParaRPr>
        </a:p>
        <a:p>
          <a:pPr latinLnBrk="1">
            <a:lnSpc>
              <a:spcPct val="100000"/>
            </a:lnSpc>
          </a:pPr>
          <a:r>
            <a:rPr lang="ko-KR" altLang="en-US" sz="1600" b="1" dirty="0" err="1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주계약</a:t>
          </a:r>
          <a:r>
            <a:rPr lang="en-US" altLang="ko-KR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+</a:t>
          </a:r>
          <a:r>
            <a:rPr lang="ko-KR" altLang="en-US" sz="1600" b="1" dirty="0" err="1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체증형사망보장특약</a:t>
          </a:r>
          <a:endParaRPr lang="en-US" altLang="ko-KR" sz="1600" b="1" dirty="0" smtClean="0">
            <a:latin typeface="나눔고딕 ExtraBold" panose="020D0904000000000000" pitchFamily="50" charset="-127"/>
            <a:ea typeface="나눔고딕 ExtraBold" panose="020D0904000000000000" pitchFamily="50" charset="-127"/>
          </a:endParaRPr>
        </a:p>
        <a:p>
          <a:pPr latinLnBrk="1">
            <a:lnSpc>
              <a:spcPct val="100000"/>
            </a:lnSpc>
          </a:pPr>
          <a:r>
            <a:rPr lang="ko-KR" altLang="en-US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합산 </a:t>
          </a:r>
          <a:r>
            <a:rPr lang="en-US" altLang="ko-KR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1</a:t>
          </a:r>
          <a:r>
            <a:rPr lang="ko-KR" altLang="en-US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억</a:t>
          </a:r>
          <a:r>
            <a:rPr lang="en-US" altLang="ko-KR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(</a:t>
          </a:r>
          <a:r>
            <a:rPr lang="ko-KR" altLang="en-US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각 </a:t>
          </a:r>
          <a:r>
            <a:rPr lang="en-US" altLang="ko-KR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5</a:t>
          </a:r>
          <a:r>
            <a:rPr lang="ko-KR" altLang="en-US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천만</a:t>
          </a:r>
          <a:r>
            <a:rPr lang="en-US" altLang="ko-KR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)</a:t>
          </a:r>
        </a:p>
        <a:p>
          <a:pPr latinLnBrk="1">
            <a:lnSpc>
              <a:spcPct val="100000"/>
            </a:lnSpc>
          </a:pPr>
          <a:r>
            <a:rPr lang="en-US" altLang="ko-KR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(</a:t>
          </a:r>
          <a:r>
            <a:rPr lang="ko-KR" altLang="en-US" sz="1600" b="1" dirty="0" err="1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직계존비속</a:t>
          </a:r>
          <a:r>
            <a:rPr lang="en-US" altLang="ko-KR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, 70</a:t>
          </a:r>
          <a:r>
            <a:rPr lang="ko-KR" altLang="en-US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세</a:t>
          </a:r>
          <a:r>
            <a:rPr lang="en-US" altLang="ko-KR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or20</a:t>
          </a:r>
          <a:r>
            <a:rPr lang="ko-KR" altLang="en-US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년</a:t>
          </a:r>
          <a:r>
            <a:rPr lang="en-US" altLang="ko-KR" sz="1600" b="1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)</a:t>
          </a:r>
          <a:endParaRPr lang="ko-KR" altLang="en-US" sz="1600" dirty="0">
            <a:latin typeface="나눔고딕 ExtraBold" panose="020D0904000000000000" pitchFamily="50" charset="-127"/>
            <a:ea typeface="나눔고딕 ExtraBold" panose="020D0904000000000000" pitchFamily="50" charset="-127"/>
          </a:endParaRPr>
        </a:p>
      </dgm:t>
    </dgm:pt>
    <dgm:pt modelId="{B2E7D908-91DE-4A94-B3B2-1D98DCDA2BC6}" type="parTrans" cxnId="{BE2CB275-18FA-422E-AECD-B22B949CB5FB}">
      <dgm:prSet/>
      <dgm:spPr/>
      <dgm:t>
        <a:bodyPr/>
        <a:lstStyle/>
        <a:p>
          <a:pPr latinLnBrk="1">
            <a:lnSpc>
              <a:spcPct val="100000"/>
            </a:lnSpc>
          </a:pPr>
          <a:endParaRPr lang="ko-KR" altLang="en-US">
            <a:latin typeface="나눔고딕 ExtraBold" panose="020D0904000000000000" pitchFamily="50" charset="-127"/>
            <a:ea typeface="나눔고딕 ExtraBold" panose="020D0904000000000000" pitchFamily="50" charset="-127"/>
          </a:endParaRPr>
        </a:p>
      </dgm:t>
    </dgm:pt>
    <dgm:pt modelId="{F50D09CB-6C8C-4D34-BB8F-9EE2B9F113E1}" type="sibTrans" cxnId="{BE2CB275-18FA-422E-AECD-B22B949CB5FB}">
      <dgm:prSet/>
      <dgm:spPr/>
      <dgm:t>
        <a:bodyPr/>
        <a:lstStyle/>
        <a:p>
          <a:pPr latinLnBrk="1">
            <a:lnSpc>
              <a:spcPct val="100000"/>
            </a:lnSpc>
          </a:pPr>
          <a:endParaRPr lang="ko-KR" altLang="en-US">
            <a:latin typeface="나눔고딕 ExtraBold" panose="020D0904000000000000" pitchFamily="50" charset="-127"/>
            <a:ea typeface="나눔고딕 ExtraBold" panose="020D0904000000000000" pitchFamily="50" charset="-127"/>
          </a:endParaRPr>
        </a:p>
      </dgm:t>
    </dgm:pt>
    <dgm:pt modelId="{5B428006-3961-470D-9FBA-04308BB89CAA}" type="pres">
      <dgm:prSet presAssocID="{FC9E2AF4-BDDB-4471-A5D0-91E46C72F125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3BF4AFA2-08FE-4C55-B2B5-313EE39F2DEF}" type="pres">
      <dgm:prSet presAssocID="{9EEDA3A6-F7B6-40BB-BE6A-7278EBB1BE7C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6A68F065-5C7F-430C-94FC-F0D63C44FAC4}" type="pres">
      <dgm:prSet presAssocID="{50C18C1E-5B8C-43D3-ACB5-C4C761E90847}" presName="sibTrans" presStyleCnt="0"/>
      <dgm:spPr/>
    </dgm:pt>
    <dgm:pt modelId="{04817A34-3019-423E-B89A-120A69ED002D}" type="pres">
      <dgm:prSet presAssocID="{D15D66A6-03E2-428E-9E34-F684F572AC91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26BEA026-74C2-4D1A-9097-56574F163AC2}" type="pres">
      <dgm:prSet presAssocID="{FC2AB972-2BDA-46C7-A163-C2EBF21FD0BD}" presName="sibTrans" presStyleCnt="0"/>
      <dgm:spPr/>
    </dgm:pt>
    <dgm:pt modelId="{2CCF8222-F9E7-4571-8C93-7B6A906C9238}" type="pres">
      <dgm:prSet presAssocID="{FF2E2E8A-B975-4882-B6BC-8E6D09D63149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29B8DF68-7719-4617-AD7A-A53B3B0C9326}" type="pres">
      <dgm:prSet presAssocID="{48161F6A-2178-4123-9E1F-DF0F9AF8E341}" presName="sibTrans" presStyleCnt="0"/>
      <dgm:spPr/>
    </dgm:pt>
    <dgm:pt modelId="{88055BB0-8452-4CD0-B432-0F542CF3E246}" type="pres">
      <dgm:prSet presAssocID="{A15E5223-D106-4059-B77B-D1183FF6A6B7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DDD72A8D-167A-4224-B02E-690C24123A2A}" type="pres">
      <dgm:prSet presAssocID="{9A2E0C3D-D209-4674-A972-4F232C6401BF}" presName="sibTrans" presStyleCnt="0"/>
      <dgm:spPr/>
    </dgm:pt>
    <dgm:pt modelId="{8036CA72-8C67-46BD-8F21-8D5EB033C2E5}" type="pres">
      <dgm:prSet presAssocID="{E951AEED-81F9-4F2B-A044-4195C74EE55C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B385F2E0-A1C5-4ADF-A326-B533E772BB3E}" type="pres">
      <dgm:prSet presAssocID="{12506D31-2906-47D3-9324-A1051DC939A0}" presName="sibTrans" presStyleCnt="0"/>
      <dgm:spPr/>
    </dgm:pt>
    <dgm:pt modelId="{6C9F8125-E400-4E9E-AC15-42387EB92059}" type="pres">
      <dgm:prSet presAssocID="{74D88E4D-C1D0-49B8-994E-735BD7AF7840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</dgm:ptLst>
  <dgm:cxnLst>
    <dgm:cxn modelId="{44DA426C-1636-4E29-962A-4AB9174E95D7}" srcId="{FC9E2AF4-BDDB-4471-A5D0-91E46C72F125}" destId="{A15E5223-D106-4059-B77B-D1183FF6A6B7}" srcOrd="3" destOrd="0" parTransId="{868B4CFA-DC6C-4025-8E24-D7B325470AE9}" sibTransId="{9A2E0C3D-D209-4674-A972-4F232C6401BF}"/>
    <dgm:cxn modelId="{FFB8E126-F201-41E1-BFA6-234995F77C5A}" type="presOf" srcId="{74D88E4D-C1D0-49B8-994E-735BD7AF7840}" destId="{6C9F8125-E400-4E9E-AC15-42387EB92059}" srcOrd="0" destOrd="0" presId="urn:microsoft.com/office/officeart/2005/8/layout/default"/>
    <dgm:cxn modelId="{BE2CB275-18FA-422E-AECD-B22B949CB5FB}" srcId="{FC9E2AF4-BDDB-4471-A5D0-91E46C72F125}" destId="{74D88E4D-C1D0-49B8-994E-735BD7AF7840}" srcOrd="5" destOrd="0" parTransId="{B2E7D908-91DE-4A94-B3B2-1D98DCDA2BC6}" sibTransId="{F50D09CB-6C8C-4D34-BB8F-9EE2B9F113E1}"/>
    <dgm:cxn modelId="{7EB09DC6-AEFC-4E81-B949-AF56238156D2}" type="presOf" srcId="{A15E5223-D106-4059-B77B-D1183FF6A6B7}" destId="{88055BB0-8452-4CD0-B432-0F542CF3E246}" srcOrd="0" destOrd="0" presId="urn:microsoft.com/office/officeart/2005/8/layout/default"/>
    <dgm:cxn modelId="{A169A32B-B898-4096-A1DD-6C138283C6B6}" type="presOf" srcId="{FF2E2E8A-B975-4882-B6BC-8E6D09D63149}" destId="{2CCF8222-F9E7-4571-8C93-7B6A906C9238}" srcOrd="0" destOrd="0" presId="urn:microsoft.com/office/officeart/2005/8/layout/default"/>
    <dgm:cxn modelId="{728E2381-C361-46FB-9982-49945D8DAFF9}" type="presOf" srcId="{FC9E2AF4-BDDB-4471-A5D0-91E46C72F125}" destId="{5B428006-3961-470D-9FBA-04308BB89CAA}" srcOrd="0" destOrd="0" presId="urn:microsoft.com/office/officeart/2005/8/layout/default"/>
    <dgm:cxn modelId="{A68BB7DA-F0BC-4CE1-A761-3FCE70A24CB6}" srcId="{FC9E2AF4-BDDB-4471-A5D0-91E46C72F125}" destId="{FF2E2E8A-B975-4882-B6BC-8E6D09D63149}" srcOrd="2" destOrd="0" parTransId="{51BA20D4-CB62-41C0-8C42-23F28136FEAD}" sibTransId="{48161F6A-2178-4123-9E1F-DF0F9AF8E341}"/>
    <dgm:cxn modelId="{1EF8C131-95CB-4241-8650-807E7AB3839D}" srcId="{FC9E2AF4-BDDB-4471-A5D0-91E46C72F125}" destId="{E951AEED-81F9-4F2B-A044-4195C74EE55C}" srcOrd="4" destOrd="0" parTransId="{6C3142A0-C603-4166-A966-3371B4DB98F3}" sibTransId="{12506D31-2906-47D3-9324-A1051DC939A0}"/>
    <dgm:cxn modelId="{F4E10C1F-4297-4A22-99A8-618F39AF701E}" type="presOf" srcId="{E951AEED-81F9-4F2B-A044-4195C74EE55C}" destId="{8036CA72-8C67-46BD-8F21-8D5EB033C2E5}" srcOrd="0" destOrd="0" presId="urn:microsoft.com/office/officeart/2005/8/layout/default"/>
    <dgm:cxn modelId="{C695ED24-7C66-4B79-AB54-BACFC235527D}" srcId="{FC9E2AF4-BDDB-4471-A5D0-91E46C72F125}" destId="{9EEDA3A6-F7B6-40BB-BE6A-7278EBB1BE7C}" srcOrd="0" destOrd="0" parTransId="{2E025A8C-161C-4524-8055-6AC2D36C0B34}" sibTransId="{50C18C1E-5B8C-43D3-ACB5-C4C761E90847}"/>
    <dgm:cxn modelId="{E424C589-A02C-4F9D-BBFA-866452E763A7}" srcId="{FC9E2AF4-BDDB-4471-A5D0-91E46C72F125}" destId="{D15D66A6-03E2-428E-9E34-F684F572AC91}" srcOrd="1" destOrd="0" parTransId="{318C4022-4D85-4D03-8D2D-A8B8F1C3572D}" sibTransId="{FC2AB972-2BDA-46C7-A163-C2EBF21FD0BD}"/>
    <dgm:cxn modelId="{0AE32B1F-F022-43D0-B2A9-029C34132732}" type="presOf" srcId="{D15D66A6-03E2-428E-9E34-F684F572AC91}" destId="{04817A34-3019-423E-B89A-120A69ED002D}" srcOrd="0" destOrd="0" presId="urn:microsoft.com/office/officeart/2005/8/layout/default"/>
    <dgm:cxn modelId="{6F0EF198-0625-462D-8DF5-A8F681787704}" type="presOf" srcId="{9EEDA3A6-F7B6-40BB-BE6A-7278EBB1BE7C}" destId="{3BF4AFA2-08FE-4C55-B2B5-313EE39F2DEF}" srcOrd="0" destOrd="0" presId="urn:microsoft.com/office/officeart/2005/8/layout/default"/>
    <dgm:cxn modelId="{72E0A9E7-CEC1-4955-AB7F-AA6DAE08F44E}" type="presParOf" srcId="{5B428006-3961-470D-9FBA-04308BB89CAA}" destId="{3BF4AFA2-08FE-4C55-B2B5-313EE39F2DEF}" srcOrd="0" destOrd="0" presId="urn:microsoft.com/office/officeart/2005/8/layout/default"/>
    <dgm:cxn modelId="{668FDBFC-3474-463C-945F-78CCC71C2273}" type="presParOf" srcId="{5B428006-3961-470D-9FBA-04308BB89CAA}" destId="{6A68F065-5C7F-430C-94FC-F0D63C44FAC4}" srcOrd="1" destOrd="0" presId="urn:microsoft.com/office/officeart/2005/8/layout/default"/>
    <dgm:cxn modelId="{FA55B8FE-5022-4FFA-912D-D3EEBF0A9348}" type="presParOf" srcId="{5B428006-3961-470D-9FBA-04308BB89CAA}" destId="{04817A34-3019-423E-B89A-120A69ED002D}" srcOrd="2" destOrd="0" presId="urn:microsoft.com/office/officeart/2005/8/layout/default"/>
    <dgm:cxn modelId="{CF5FD0ED-8737-4BE1-A7C4-B948F16AA955}" type="presParOf" srcId="{5B428006-3961-470D-9FBA-04308BB89CAA}" destId="{26BEA026-74C2-4D1A-9097-56574F163AC2}" srcOrd="3" destOrd="0" presId="urn:microsoft.com/office/officeart/2005/8/layout/default"/>
    <dgm:cxn modelId="{A0809BD6-2C24-46EB-BFDD-B5B0F600D328}" type="presParOf" srcId="{5B428006-3961-470D-9FBA-04308BB89CAA}" destId="{2CCF8222-F9E7-4571-8C93-7B6A906C9238}" srcOrd="4" destOrd="0" presId="urn:microsoft.com/office/officeart/2005/8/layout/default"/>
    <dgm:cxn modelId="{4C0CA5B8-C4B7-4D7E-B807-FFE0FD3E4190}" type="presParOf" srcId="{5B428006-3961-470D-9FBA-04308BB89CAA}" destId="{29B8DF68-7719-4617-AD7A-A53B3B0C9326}" srcOrd="5" destOrd="0" presId="urn:microsoft.com/office/officeart/2005/8/layout/default"/>
    <dgm:cxn modelId="{52692096-15EC-4827-8F09-44E14FF3E2AE}" type="presParOf" srcId="{5B428006-3961-470D-9FBA-04308BB89CAA}" destId="{88055BB0-8452-4CD0-B432-0F542CF3E246}" srcOrd="6" destOrd="0" presId="urn:microsoft.com/office/officeart/2005/8/layout/default"/>
    <dgm:cxn modelId="{B9AD90EC-5432-4CF2-BA83-E353E102E57C}" type="presParOf" srcId="{5B428006-3961-470D-9FBA-04308BB89CAA}" destId="{DDD72A8D-167A-4224-B02E-690C24123A2A}" srcOrd="7" destOrd="0" presId="urn:microsoft.com/office/officeart/2005/8/layout/default"/>
    <dgm:cxn modelId="{2C0B07AB-51B9-4300-85B6-E010BC6FCF73}" type="presParOf" srcId="{5B428006-3961-470D-9FBA-04308BB89CAA}" destId="{8036CA72-8C67-46BD-8F21-8D5EB033C2E5}" srcOrd="8" destOrd="0" presId="urn:microsoft.com/office/officeart/2005/8/layout/default"/>
    <dgm:cxn modelId="{6F661036-21AB-4B99-B74F-C4F91C67DA11}" type="presParOf" srcId="{5B428006-3961-470D-9FBA-04308BB89CAA}" destId="{B385F2E0-A1C5-4ADF-A326-B533E772BB3E}" srcOrd="9" destOrd="0" presId="urn:microsoft.com/office/officeart/2005/8/layout/default"/>
    <dgm:cxn modelId="{D96D96FF-77F9-4B89-A2F2-7B4C841471B8}" type="presParOf" srcId="{5B428006-3961-470D-9FBA-04308BB89CAA}" destId="{6C9F8125-E400-4E9E-AC15-42387EB92059}" srcOrd="1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9BBF861-1DD6-409E-878E-C350DC96166F}" type="doc">
      <dgm:prSet loTypeId="urn:microsoft.com/office/officeart/2005/8/layout/equation2" loCatId="relationship" qsTypeId="urn:microsoft.com/office/officeart/2005/8/quickstyle/3d1" qsCatId="3D" csTypeId="urn:microsoft.com/office/officeart/2005/8/colors/colorful3" csCatId="colorful" phldr="1"/>
      <dgm:spPr/>
    </dgm:pt>
    <dgm:pt modelId="{8CDB64C7-0331-4EF7-8815-6EA9DFD83556}">
      <dgm:prSet phldrT="[텍스트]"/>
      <dgm:spPr/>
      <dgm:t>
        <a:bodyPr/>
        <a:lstStyle/>
        <a:p>
          <a:pPr latinLnBrk="1"/>
          <a:r>
            <a:rPr lang="ko-KR" altLang="en-US" dirty="0" smtClean="0">
              <a:latin typeface="나눔고딕" panose="020D0604000000000000" pitchFamily="50" charset="-127"/>
              <a:ea typeface="나눔고딕" panose="020D0604000000000000" pitchFamily="50" charset="-127"/>
            </a:rPr>
            <a:t>취업지원 </a:t>
          </a:r>
          <a:r>
            <a:rPr lang="en-US" altLang="ko-KR" b="1" dirty="0" smtClean="0">
              <a:solidFill>
                <a:srgbClr val="0000FF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5</a:t>
          </a:r>
          <a:r>
            <a:rPr lang="ko-KR" altLang="en-US" b="1" dirty="0" smtClean="0">
              <a:solidFill>
                <a:srgbClr val="0000FF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천만원</a:t>
          </a:r>
          <a:endParaRPr lang="ko-KR" altLang="en-US" b="1" dirty="0">
            <a:solidFill>
              <a:srgbClr val="0000FF"/>
            </a:solidFill>
            <a:latin typeface="나눔고딕" panose="020D0604000000000000" pitchFamily="50" charset="-127"/>
            <a:ea typeface="나눔고딕" panose="020D0604000000000000" pitchFamily="50" charset="-127"/>
          </a:endParaRPr>
        </a:p>
      </dgm:t>
    </dgm:pt>
    <dgm:pt modelId="{D8CD7793-8F99-4C27-8684-7E88924C7B32}" type="parTrans" cxnId="{1F673EBB-4168-4A55-B6DF-D263747B03F6}">
      <dgm:prSet/>
      <dgm:spPr/>
      <dgm:t>
        <a:bodyPr/>
        <a:lstStyle/>
        <a:p>
          <a:pPr latinLnBrk="1"/>
          <a:endParaRPr lang="ko-KR" altLang="en-US">
            <a:latin typeface="나눔고딕" panose="020D0604000000000000" pitchFamily="50" charset="-127"/>
            <a:ea typeface="나눔고딕" panose="020D0604000000000000" pitchFamily="50" charset="-127"/>
          </a:endParaRPr>
        </a:p>
      </dgm:t>
    </dgm:pt>
    <dgm:pt modelId="{7345C5E9-E7BD-4C0F-B53C-041699A3D073}" type="sibTrans" cxnId="{1F673EBB-4168-4A55-B6DF-D263747B03F6}">
      <dgm:prSet/>
      <dgm:spPr/>
      <dgm:t>
        <a:bodyPr/>
        <a:lstStyle/>
        <a:p>
          <a:pPr latinLnBrk="1"/>
          <a:endParaRPr lang="ko-KR" altLang="en-US">
            <a:latin typeface="나눔고딕" panose="020D0604000000000000" pitchFamily="50" charset="-127"/>
            <a:ea typeface="나눔고딕" panose="020D0604000000000000" pitchFamily="50" charset="-127"/>
          </a:endParaRPr>
        </a:p>
      </dgm:t>
    </dgm:pt>
    <dgm:pt modelId="{6A3FC091-D1E0-4ABE-A6BD-A33EF132121C}">
      <dgm:prSet phldrT="[텍스트]"/>
      <dgm:spPr/>
      <dgm:t>
        <a:bodyPr/>
        <a:lstStyle/>
        <a:p>
          <a:pPr latinLnBrk="1"/>
          <a:r>
            <a:rPr lang="ko-KR" altLang="en-US" dirty="0" err="1" smtClean="0">
              <a:latin typeface="나눔고딕" panose="020D0604000000000000" pitchFamily="50" charset="-127"/>
              <a:ea typeface="나눔고딕" panose="020D0604000000000000" pitchFamily="50" charset="-127"/>
            </a:rPr>
            <a:t>결혼지원</a:t>
          </a:r>
          <a:r>
            <a:rPr lang="ko-KR" altLang="en-US" dirty="0" smtClean="0">
              <a:latin typeface="나눔고딕" panose="020D0604000000000000" pitchFamily="50" charset="-127"/>
              <a:ea typeface="나눔고딕" panose="020D0604000000000000" pitchFamily="50" charset="-127"/>
            </a:rPr>
            <a:t> </a:t>
          </a:r>
          <a:r>
            <a:rPr lang="en-US" altLang="ko-KR" b="1" dirty="0" smtClean="0">
              <a:solidFill>
                <a:srgbClr val="0000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고딕" panose="020D0604000000000000" pitchFamily="50" charset="-127"/>
              <a:ea typeface="나눔고딕" panose="020D0604000000000000" pitchFamily="50" charset="-127"/>
            </a:rPr>
            <a:t>1</a:t>
          </a:r>
          <a:r>
            <a:rPr lang="ko-KR" altLang="en-US" b="1" dirty="0" smtClean="0">
              <a:solidFill>
                <a:srgbClr val="0000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고딕" panose="020D0604000000000000" pitchFamily="50" charset="-127"/>
              <a:ea typeface="나눔고딕" panose="020D0604000000000000" pitchFamily="50" charset="-127"/>
            </a:rPr>
            <a:t>억원</a:t>
          </a:r>
          <a:endParaRPr lang="ko-KR" altLang="en-US" b="1" dirty="0">
            <a:solidFill>
              <a:srgbClr val="0000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나눔고딕" panose="020D0604000000000000" pitchFamily="50" charset="-127"/>
            <a:ea typeface="나눔고딕" panose="020D0604000000000000" pitchFamily="50" charset="-127"/>
          </a:endParaRPr>
        </a:p>
      </dgm:t>
    </dgm:pt>
    <dgm:pt modelId="{43FD2DA8-0FFD-4ACA-AE24-7A2A4A7D178D}" type="parTrans" cxnId="{19799744-EFC4-46D5-A6EE-B9EAB9C6C2F0}">
      <dgm:prSet/>
      <dgm:spPr/>
      <dgm:t>
        <a:bodyPr/>
        <a:lstStyle/>
        <a:p>
          <a:pPr latinLnBrk="1"/>
          <a:endParaRPr lang="ko-KR" altLang="en-US">
            <a:latin typeface="나눔고딕" panose="020D0604000000000000" pitchFamily="50" charset="-127"/>
            <a:ea typeface="나눔고딕" panose="020D0604000000000000" pitchFamily="50" charset="-127"/>
          </a:endParaRPr>
        </a:p>
      </dgm:t>
    </dgm:pt>
    <dgm:pt modelId="{A9A709A3-04C7-4838-A919-D7EE82137578}" type="sibTrans" cxnId="{19799744-EFC4-46D5-A6EE-B9EAB9C6C2F0}">
      <dgm:prSet/>
      <dgm:spPr/>
      <dgm:t>
        <a:bodyPr/>
        <a:lstStyle/>
        <a:p>
          <a:pPr latinLnBrk="1"/>
          <a:endParaRPr lang="ko-KR" altLang="en-US">
            <a:latin typeface="나눔고딕" panose="020D0604000000000000" pitchFamily="50" charset="-127"/>
            <a:ea typeface="나눔고딕" panose="020D0604000000000000" pitchFamily="50" charset="-127"/>
          </a:endParaRPr>
        </a:p>
      </dgm:t>
    </dgm:pt>
    <dgm:pt modelId="{BAE2CAD0-3D9B-4848-82BC-9215230DC7B1}">
      <dgm:prSet phldrT="[텍스트]"/>
      <dgm:spPr/>
      <dgm:t>
        <a:bodyPr/>
        <a:lstStyle/>
        <a:p>
          <a:pPr latinLnBrk="1"/>
          <a:r>
            <a:rPr lang="ko-KR" altLang="en-US" b="1" dirty="0" smtClean="0">
              <a:solidFill>
                <a:srgbClr val="FFFF00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총 </a:t>
          </a:r>
          <a:r>
            <a:rPr lang="en-US" altLang="ko-KR" b="1" dirty="0" smtClean="0">
              <a:solidFill>
                <a:srgbClr val="FFFF00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1</a:t>
          </a:r>
          <a:r>
            <a:rPr lang="ko-KR" altLang="en-US" b="1" dirty="0" smtClean="0">
              <a:solidFill>
                <a:srgbClr val="FFFF00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억 </a:t>
          </a:r>
          <a:r>
            <a:rPr lang="en-US" altLang="ko-KR" b="1" dirty="0" smtClean="0">
              <a:solidFill>
                <a:srgbClr val="FFFF00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5</a:t>
          </a:r>
          <a:r>
            <a:rPr lang="ko-KR" altLang="en-US" b="1" dirty="0" smtClean="0">
              <a:solidFill>
                <a:srgbClr val="FFFF00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천만원</a:t>
          </a:r>
          <a:endParaRPr lang="en-US" altLang="ko-KR" b="1" dirty="0" smtClean="0">
            <a:solidFill>
              <a:srgbClr val="FFFF00"/>
            </a:solidFill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r>
            <a:rPr lang="ko-KR" altLang="en-US" b="1" dirty="0" smtClean="0">
              <a:solidFill>
                <a:srgbClr val="FFFF00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증여</a:t>
          </a:r>
          <a:r>
            <a:rPr lang="en-US" altLang="ko-KR" b="1" dirty="0" smtClean="0">
              <a:solidFill>
                <a:srgbClr val="FFFF00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(</a:t>
          </a:r>
          <a:r>
            <a:rPr lang="ko-KR" altLang="en-US" b="1" dirty="0" smtClean="0">
              <a:solidFill>
                <a:srgbClr val="FFFF00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비과세</a:t>
          </a:r>
          <a:r>
            <a:rPr lang="en-US" altLang="ko-KR" b="1" dirty="0" smtClean="0">
              <a:solidFill>
                <a:srgbClr val="FFFF00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)</a:t>
          </a:r>
          <a:r>
            <a:rPr lang="ko-KR" altLang="en-US" dirty="0" smtClean="0">
              <a:latin typeface="나눔고딕" panose="020D0604000000000000" pitchFamily="50" charset="-127"/>
              <a:ea typeface="나눔고딕" panose="020D0604000000000000" pitchFamily="50" charset="-127"/>
            </a:rPr>
            <a:t>를 </a:t>
          </a:r>
          <a:endParaRPr lang="en-US" altLang="ko-KR" dirty="0" smtClean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r>
            <a:rPr lang="ko-KR" altLang="en-US" dirty="0" smtClean="0">
              <a:latin typeface="나눔고딕" panose="020D0604000000000000" pitchFamily="50" charset="-127"/>
              <a:ea typeface="나눔고딕" panose="020D0604000000000000" pitchFamily="50" charset="-127"/>
            </a:rPr>
            <a:t>통한 결혼자금 및 </a:t>
          </a:r>
          <a:endParaRPr lang="en-US" altLang="ko-KR" dirty="0" smtClean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atinLnBrk="1"/>
          <a:r>
            <a:rPr lang="ko-KR" altLang="en-US" dirty="0" smtClean="0">
              <a:latin typeface="나눔고딕" panose="020D0604000000000000" pitchFamily="50" charset="-127"/>
              <a:ea typeface="나눔고딕" panose="020D0604000000000000" pitchFamily="50" charset="-127"/>
            </a:rPr>
            <a:t>목적자금 준비</a:t>
          </a:r>
          <a:endParaRPr lang="ko-KR" altLang="en-US" dirty="0">
            <a:latin typeface="나눔고딕" panose="020D0604000000000000" pitchFamily="50" charset="-127"/>
            <a:ea typeface="나눔고딕" panose="020D0604000000000000" pitchFamily="50" charset="-127"/>
          </a:endParaRPr>
        </a:p>
      </dgm:t>
    </dgm:pt>
    <dgm:pt modelId="{20229893-D786-4C0E-906B-CEEB010DFAE2}" type="parTrans" cxnId="{EA2B45BF-C560-43F5-BD3A-8670DD0EA06C}">
      <dgm:prSet/>
      <dgm:spPr/>
      <dgm:t>
        <a:bodyPr/>
        <a:lstStyle/>
        <a:p>
          <a:pPr latinLnBrk="1"/>
          <a:endParaRPr lang="ko-KR" altLang="en-US">
            <a:latin typeface="나눔고딕" panose="020D0604000000000000" pitchFamily="50" charset="-127"/>
            <a:ea typeface="나눔고딕" panose="020D0604000000000000" pitchFamily="50" charset="-127"/>
          </a:endParaRPr>
        </a:p>
      </dgm:t>
    </dgm:pt>
    <dgm:pt modelId="{B98470CB-4CE0-4FCA-BAB9-CE819E407237}" type="sibTrans" cxnId="{EA2B45BF-C560-43F5-BD3A-8670DD0EA06C}">
      <dgm:prSet/>
      <dgm:spPr/>
      <dgm:t>
        <a:bodyPr/>
        <a:lstStyle/>
        <a:p>
          <a:pPr latinLnBrk="1"/>
          <a:endParaRPr lang="ko-KR" altLang="en-US">
            <a:latin typeface="나눔고딕" panose="020D0604000000000000" pitchFamily="50" charset="-127"/>
            <a:ea typeface="나눔고딕" panose="020D0604000000000000" pitchFamily="50" charset="-127"/>
          </a:endParaRPr>
        </a:p>
      </dgm:t>
    </dgm:pt>
    <dgm:pt modelId="{B55B823A-98B6-4FB4-A53F-98F3F96C0716}" type="pres">
      <dgm:prSet presAssocID="{C9BBF861-1DD6-409E-878E-C350DC96166F}" presName="Name0" presStyleCnt="0">
        <dgm:presLayoutVars>
          <dgm:dir/>
          <dgm:resizeHandles val="exact"/>
        </dgm:presLayoutVars>
      </dgm:prSet>
      <dgm:spPr/>
    </dgm:pt>
    <dgm:pt modelId="{8E422374-A29D-4100-A2A7-27800BFD1350}" type="pres">
      <dgm:prSet presAssocID="{C9BBF861-1DD6-409E-878E-C350DC96166F}" presName="vNodes" presStyleCnt="0"/>
      <dgm:spPr/>
    </dgm:pt>
    <dgm:pt modelId="{97EFEEE3-B796-45FD-9CD3-D4378B05B6A1}" type="pres">
      <dgm:prSet presAssocID="{8CDB64C7-0331-4EF7-8815-6EA9DFD83556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4AD92DBF-EDDD-4A78-971D-662E6D528C15}" type="pres">
      <dgm:prSet presAssocID="{7345C5E9-E7BD-4C0F-B53C-041699A3D073}" presName="spacerT" presStyleCnt="0"/>
      <dgm:spPr/>
    </dgm:pt>
    <dgm:pt modelId="{2BB1053D-6595-405C-BE1C-CFB29C784E79}" type="pres">
      <dgm:prSet presAssocID="{7345C5E9-E7BD-4C0F-B53C-041699A3D073}" presName="sibTrans" presStyleLbl="sibTrans2D1" presStyleIdx="0" presStyleCnt="2"/>
      <dgm:spPr/>
      <dgm:t>
        <a:bodyPr/>
        <a:lstStyle/>
        <a:p>
          <a:pPr latinLnBrk="1"/>
          <a:endParaRPr lang="ko-KR" altLang="en-US"/>
        </a:p>
      </dgm:t>
    </dgm:pt>
    <dgm:pt modelId="{AF70CAD0-D827-4E17-BB22-98B7F67EE56C}" type="pres">
      <dgm:prSet presAssocID="{7345C5E9-E7BD-4C0F-B53C-041699A3D073}" presName="spacerB" presStyleCnt="0"/>
      <dgm:spPr/>
    </dgm:pt>
    <dgm:pt modelId="{90712962-60B3-4F11-A1C3-8E3722FC14B6}" type="pres">
      <dgm:prSet presAssocID="{6A3FC091-D1E0-4ABE-A6BD-A33EF132121C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38686DE2-9A43-42DD-8126-C931073F845E}" type="pres">
      <dgm:prSet presAssocID="{C9BBF861-1DD6-409E-878E-C350DC96166F}" presName="sibTransLast" presStyleLbl="sibTrans2D1" presStyleIdx="1" presStyleCnt="2"/>
      <dgm:spPr/>
      <dgm:t>
        <a:bodyPr/>
        <a:lstStyle/>
        <a:p>
          <a:pPr latinLnBrk="1"/>
          <a:endParaRPr lang="ko-KR" altLang="en-US"/>
        </a:p>
      </dgm:t>
    </dgm:pt>
    <dgm:pt modelId="{DC7E65ED-848F-477B-9135-086D9766D412}" type="pres">
      <dgm:prSet presAssocID="{C9BBF861-1DD6-409E-878E-C350DC96166F}" presName="connectorText" presStyleLbl="sibTrans2D1" presStyleIdx="1" presStyleCnt="2"/>
      <dgm:spPr/>
      <dgm:t>
        <a:bodyPr/>
        <a:lstStyle/>
        <a:p>
          <a:pPr latinLnBrk="1"/>
          <a:endParaRPr lang="ko-KR" altLang="en-US"/>
        </a:p>
      </dgm:t>
    </dgm:pt>
    <dgm:pt modelId="{1BC62077-727E-4E31-8A93-E0504FE900BD}" type="pres">
      <dgm:prSet presAssocID="{C9BBF861-1DD6-409E-878E-C350DC96166F}" presName="last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</dgm:ptLst>
  <dgm:cxnLst>
    <dgm:cxn modelId="{A42F0135-1658-4907-B13C-5E2B61DFE0A3}" type="presOf" srcId="{A9A709A3-04C7-4838-A919-D7EE82137578}" destId="{DC7E65ED-848F-477B-9135-086D9766D412}" srcOrd="1" destOrd="0" presId="urn:microsoft.com/office/officeart/2005/8/layout/equation2"/>
    <dgm:cxn modelId="{19799744-EFC4-46D5-A6EE-B9EAB9C6C2F0}" srcId="{C9BBF861-1DD6-409E-878E-C350DC96166F}" destId="{6A3FC091-D1E0-4ABE-A6BD-A33EF132121C}" srcOrd="1" destOrd="0" parTransId="{43FD2DA8-0FFD-4ACA-AE24-7A2A4A7D178D}" sibTransId="{A9A709A3-04C7-4838-A919-D7EE82137578}"/>
    <dgm:cxn modelId="{1F673EBB-4168-4A55-B6DF-D263747B03F6}" srcId="{C9BBF861-1DD6-409E-878E-C350DC96166F}" destId="{8CDB64C7-0331-4EF7-8815-6EA9DFD83556}" srcOrd="0" destOrd="0" parTransId="{D8CD7793-8F99-4C27-8684-7E88924C7B32}" sibTransId="{7345C5E9-E7BD-4C0F-B53C-041699A3D073}"/>
    <dgm:cxn modelId="{A23A025D-876E-41AA-8DF2-4E4CDBFDA500}" type="presOf" srcId="{7345C5E9-E7BD-4C0F-B53C-041699A3D073}" destId="{2BB1053D-6595-405C-BE1C-CFB29C784E79}" srcOrd="0" destOrd="0" presId="urn:microsoft.com/office/officeart/2005/8/layout/equation2"/>
    <dgm:cxn modelId="{3D8115CA-D7D0-4A2E-A0A3-E9130AC4EFB4}" type="presOf" srcId="{8CDB64C7-0331-4EF7-8815-6EA9DFD83556}" destId="{97EFEEE3-B796-45FD-9CD3-D4378B05B6A1}" srcOrd="0" destOrd="0" presId="urn:microsoft.com/office/officeart/2005/8/layout/equation2"/>
    <dgm:cxn modelId="{E8CC1544-5224-4BCF-9235-119849CAFD98}" type="presOf" srcId="{C9BBF861-1DD6-409E-878E-C350DC96166F}" destId="{B55B823A-98B6-4FB4-A53F-98F3F96C0716}" srcOrd="0" destOrd="0" presId="urn:microsoft.com/office/officeart/2005/8/layout/equation2"/>
    <dgm:cxn modelId="{EA2B45BF-C560-43F5-BD3A-8670DD0EA06C}" srcId="{C9BBF861-1DD6-409E-878E-C350DC96166F}" destId="{BAE2CAD0-3D9B-4848-82BC-9215230DC7B1}" srcOrd="2" destOrd="0" parTransId="{20229893-D786-4C0E-906B-CEEB010DFAE2}" sibTransId="{B98470CB-4CE0-4FCA-BAB9-CE819E407237}"/>
    <dgm:cxn modelId="{9D74D2FE-8232-475D-8DA5-A9837F99578D}" type="presOf" srcId="{A9A709A3-04C7-4838-A919-D7EE82137578}" destId="{38686DE2-9A43-42DD-8126-C931073F845E}" srcOrd="0" destOrd="0" presId="urn:microsoft.com/office/officeart/2005/8/layout/equation2"/>
    <dgm:cxn modelId="{9315644E-2C71-4112-9587-80D728A1BDB7}" type="presOf" srcId="{6A3FC091-D1E0-4ABE-A6BD-A33EF132121C}" destId="{90712962-60B3-4F11-A1C3-8E3722FC14B6}" srcOrd="0" destOrd="0" presId="urn:microsoft.com/office/officeart/2005/8/layout/equation2"/>
    <dgm:cxn modelId="{A37F0F30-97CB-40E5-872E-CC41F3539959}" type="presOf" srcId="{BAE2CAD0-3D9B-4848-82BC-9215230DC7B1}" destId="{1BC62077-727E-4E31-8A93-E0504FE900BD}" srcOrd="0" destOrd="0" presId="urn:microsoft.com/office/officeart/2005/8/layout/equation2"/>
    <dgm:cxn modelId="{CD8DEEF8-E9E7-4311-B2DE-EF062BC8EF6A}" type="presParOf" srcId="{B55B823A-98B6-4FB4-A53F-98F3F96C0716}" destId="{8E422374-A29D-4100-A2A7-27800BFD1350}" srcOrd="0" destOrd="0" presId="urn:microsoft.com/office/officeart/2005/8/layout/equation2"/>
    <dgm:cxn modelId="{C41976D9-559B-4448-B26C-BC3EF2C0EA34}" type="presParOf" srcId="{8E422374-A29D-4100-A2A7-27800BFD1350}" destId="{97EFEEE3-B796-45FD-9CD3-D4378B05B6A1}" srcOrd="0" destOrd="0" presId="urn:microsoft.com/office/officeart/2005/8/layout/equation2"/>
    <dgm:cxn modelId="{F9BDB4CA-68E3-40C2-ABA6-68BCB9FD3170}" type="presParOf" srcId="{8E422374-A29D-4100-A2A7-27800BFD1350}" destId="{4AD92DBF-EDDD-4A78-971D-662E6D528C15}" srcOrd="1" destOrd="0" presId="urn:microsoft.com/office/officeart/2005/8/layout/equation2"/>
    <dgm:cxn modelId="{590500AF-B71D-49FE-BDBC-A7AE1432C622}" type="presParOf" srcId="{8E422374-A29D-4100-A2A7-27800BFD1350}" destId="{2BB1053D-6595-405C-BE1C-CFB29C784E79}" srcOrd="2" destOrd="0" presId="urn:microsoft.com/office/officeart/2005/8/layout/equation2"/>
    <dgm:cxn modelId="{BE54127F-538E-44EB-ADA5-21AF37AB118C}" type="presParOf" srcId="{8E422374-A29D-4100-A2A7-27800BFD1350}" destId="{AF70CAD0-D827-4E17-BB22-98B7F67EE56C}" srcOrd="3" destOrd="0" presId="urn:microsoft.com/office/officeart/2005/8/layout/equation2"/>
    <dgm:cxn modelId="{9BAE6557-9198-45BD-8B9D-14E35CE92234}" type="presParOf" srcId="{8E422374-A29D-4100-A2A7-27800BFD1350}" destId="{90712962-60B3-4F11-A1C3-8E3722FC14B6}" srcOrd="4" destOrd="0" presId="urn:microsoft.com/office/officeart/2005/8/layout/equation2"/>
    <dgm:cxn modelId="{038B37AA-A2B2-41AB-8A78-54E8C4678078}" type="presParOf" srcId="{B55B823A-98B6-4FB4-A53F-98F3F96C0716}" destId="{38686DE2-9A43-42DD-8126-C931073F845E}" srcOrd="1" destOrd="0" presId="urn:microsoft.com/office/officeart/2005/8/layout/equation2"/>
    <dgm:cxn modelId="{39BC0E1D-7E58-4DFD-81D8-D3E5A4438C36}" type="presParOf" srcId="{38686DE2-9A43-42DD-8126-C931073F845E}" destId="{DC7E65ED-848F-477B-9135-086D9766D412}" srcOrd="0" destOrd="0" presId="urn:microsoft.com/office/officeart/2005/8/layout/equation2"/>
    <dgm:cxn modelId="{853B583B-C8D5-48E6-A147-24BE7561C27A}" type="presParOf" srcId="{B55B823A-98B6-4FB4-A53F-98F3F96C0716}" destId="{1BC62077-727E-4E31-8A93-E0504FE900BD}" srcOrd="2" destOrd="0" presId="urn:microsoft.com/office/officeart/2005/8/layout/equati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BF4AFA2-08FE-4C55-B2B5-313EE39F2DEF}">
      <dsp:nvSpPr>
        <dsp:cNvPr id="0" name=""/>
        <dsp:cNvSpPr/>
      </dsp:nvSpPr>
      <dsp:spPr>
        <a:xfrm>
          <a:off x="36510" y="2679"/>
          <a:ext cx="2982706" cy="1789623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latin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000" b="1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고딕 ExtraBold" panose="020D0904000000000000" pitchFamily="50" charset="-127"/>
              <a:ea typeface="나눔고딕 ExtraBold" panose="020D0904000000000000" pitchFamily="50" charset="-127"/>
            </a:rPr>
            <a:t>확정금리</a:t>
          </a:r>
          <a:endParaRPr lang="en-US" altLang="ko-KR" sz="2000" b="1" kern="1200" dirty="0" smtClean="0">
            <a:solidFill>
              <a:srgbClr val="FFFF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나눔고딕 ExtraBold" panose="020D0904000000000000" pitchFamily="50" charset="-127"/>
            <a:ea typeface="나눔고딕 ExtraBold" panose="020D0904000000000000" pitchFamily="50" charset="-127"/>
          </a:endParaRPr>
        </a:p>
        <a:p>
          <a:pPr lvl="0" algn="ctr" defTabSz="889000" latin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5</a:t>
          </a:r>
          <a:r>
            <a:rPr lang="ko-KR" altLang="en-US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년 미만 </a:t>
          </a:r>
          <a:r>
            <a:rPr lang="en-US" altLang="ko-KR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: 3.5%</a:t>
          </a:r>
        </a:p>
        <a:p>
          <a:pPr lvl="0" algn="ctr" defTabSz="889000" latin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5~15</a:t>
          </a:r>
          <a:r>
            <a:rPr lang="ko-KR" altLang="en-US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년 </a:t>
          </a:r>
          <a:r>
            <a:rPr lang="en-US" altLang="ko-KR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:</a:t>
          </a:r>
          <a:r>
            <a:rPr lang="ko-KR" altLang="en-US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 </a:t>
          </a:r>
          <a:r>
            <a:rPr lang="en-US" altLang="ko-KR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2.5%</a:t>
          </a:r>
        </a:p>
        <a:p>
          <a:pPr lvl="0" algn="ctr" defTabSz="889000" latin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15</a:t>
          </a:r>
          <a:r>
            <a:rPr lang="ko-KR" altLang="en-US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년 </a:t>
          </a:r>
          <a:r>
            <a:rPr lang="en-US" altLang="ko-KR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~</a:t>
          </a:r>
          <a:r>
            <a:rPr lang="ko-KR" altLang="en-US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 </a:t>
          </a:r>
          <a:r>
            <a:rPr lang="en-US" altLang="ko-KR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:</a:t>
          </a:r>
          <a:r>
            <a:rPr lang="ko-KR" altLang="en-US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 </a:t>
          </a:r>
          <a:r>
            <a:rPr lang="en-US" altLang="ko-KR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2.15%</a:t>
          </a:r>
          <a:endParaRPr lang="ko-KR" altLang="en-US" sz="1600" kern="1200" dirty="0">
            <a:latin typeface="나눔고딕 ExtraBold" panose="020D0904000000000000" pitchFamily="50" charset="-127"/>
            <a:ea typeface="나눔고딕 ExtraBold" panose="020D0904000000000000" pitchFamily="50" charset="-127"/>
          </a:endParaRPr>
        </a:p>
      </dsp:txBody>
      <dsp:txXfrm>
        <a:off x="36510" y="2679"/>
        <a:ext cx="2982706" cy="1789623"/>
      </dsp:txXfrm>
    </dsp:sp>
    <dsp:sp modelId="{04817A34-3019-423E-B89A-120A69ED002D}">
      <dsp:nvSpPr>
        <dsp:cNvPr id="0" name=""/>
        <dsp:cNvSpPr/>
      </dsp:nvSpPr>
      <dsp:spPr>
        <a:xfrm>
          <a:off x="3317487" y="2679"/>
          <a:ext cx="2982706" cy="1789623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latin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000" b="1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고딕 ExtraBold" panose="020D0904000000000000" pitchFamily="50" charset="-127"/>
              <a:ea typeface="나눔고딕 ExtraBold" panose="020D0904000000000000" pitchFamily="50" charset="-127"/>
            </a:rPr>
            <a:t>추가납입</a:t>
          </a:r>
          <a:endParaRPr lang="en-US" altLang="ko-KR" sz="2000" b="1" kern="1200" dirty="0" smtClean="0">
            <a:solidFill>
              <a:srgbClr val="FFFF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나눔고딕 ExtraBold" panose="020D0904000000000000" pitchFamily="50" charset="-127"/>
            <a:ea typeface="나눔고딕 ExtraBold" panose="020D0904000000000000" pitchFamily="50" charset="-127"/>
          </a:endParaRPr>
        </a:p>
        <a:p>
          <a:pPr lvl="0" algn="ctr" defTabSz="889000" latin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기본보험료</a:t>
          </a:r>
          <a:endParaRPr lang="en-US" altLang="ko-KR" sz="1600" b="1" kern="1200" dirty="0" smtClean="0">
            <a:latin typeface="나눔고딕 ExtraBold" panose="020D0904000000000000" pitchFamily="50" charset="-127"/>
            <a:ea typeface="나눔고딕 ExtraBold" panose="020D0904000000000000" pitchFamily="50" charset="-127"/>
          </a:endParaRPr>
        </a:p>
        <a:p>
          <a:pPr lvl="0" algn="ctr" defTabSz="889000" latin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금리와 동일</a:t>
          </a:r>
          <a:endParaRPr lang="ko-KR" altLang="en-US" sz="1600" kern="1200" dirty="0">
            <a:latin typeface="나눔고딕 ExtraBold" panose="020D0904000000000000" pitchFamily="50" charset="-127"/>
            <a:ea typeface="나눔고딕 ExtraBold" panose="020D0904000000000000" pitchFamily="50" charset="-127"/>
          </a:endParaRPr>
        </a:p>
      </dsp:txBody>
      <dsp:txXfrm>
        <a:off x="3317487" y="2679"/>
        <a:ext cx="2982706" cy="1789623"/>
      </dsp:txXfrm>
    </dsp:sp>
    <dsp:sp modelId="{2CCF8222-F9E7-4571-8C93-7B6A906C9238}">
      <dsp:nvSpPr>
        <dsp:cNvPr id="0" name=""/>
        <dsp:cNvSpPr/>
      </dsp:nvSpPr>
      <dsp:spPr>
        <a:xfrm>
          <a:off x="36510" y="2090573"/>
          <a:ext cx="2982706" cy="1789623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latin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000" b="1" kern="1200" dirty="0" err="1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고딕 ExtraBold" panose="020D0904000000000000" pitchFamily="50" charset="-127"/>
              <a:ea typeface="나눔고딕 ExtraBold" panose="020D0904000000000000" pitchFamily="50" charset="-127"/>
            </a:rPr>
            <a:t>체증형사망</a:t>
          </a:r>
          <a:r>
            <a:rPr lang="ko-KR" altLang="en-US" sz="2000" b="1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고딕 ExtraBold" panose="020D0904000000000000" pitchFamily="50" charset="-127"/>
              <a:ea typeface="나눔고딕 ExtraBold" panose="020D0904000000000000" pitchFamily="50" charset="-127"/>
            </a:rPr>
            <a:t> </a:t>
          </a:r>
          <a:r>
            <a:rPr lang="ko-KR" altLang="en-US" sz="2000" b="1" kern="1200" dirty="0" err="1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고딕 ExtraBold" panose="020D0904000000000000" pitchFamily="50" charset="-127"/>
              <a:ea typeface="나눔고딕 ExtraBold" panose="020D0904000000000000" pitchFamily="50" charset="-127"/>
            </a:rPr>
            <a:t>보장특약</a:t>
          </a:r>
          <a:endParaRPr lang="en-US" altLang="ko-KR" sz="2000" b="1" kern="1200" dirty="0" smtClean="0">
            <a:solidFill>
              <a:srgbClr val="FFFF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나눔고딕 ExtraBold" panose="020D0904000000000000" pitchFamily="50" charset="-127"/>
            <a:ea typeface="나눔고딕 ExtraBold" panose="020D0904000000000000" pitchFamily="50" charset="-127"/>
          </a:endParaRPr>
        </a:p>
        <a:p>
          <a:pPr lvl="0" algn="ctr" defTabSz="889000" latin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600" b="1" kern="1200" dirty="0" err="1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주계약과</a:t>
          </a:r>
          <a:r>
            <a:rPr lang="ko-KR" altLang="en-US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 </a:t>
          </a:r>
          <a:r>
            <a:rPr lang="en-US" altLang="ko-KR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1:1 </a:t>
          </a:r>
          <a:r>
            <a:rPr lang="ko-KR" altLang="en-US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가입</a:t>
          </a:r>
          <a:endParaRPr lang="en-US" altLang="ko-KR" sz="1600" b="1" kern="1200" dirty="0" smtClean="0">
            <a:latin typeface="나눔고딕 ExtraBold" panose="020D0904000000000000" pitchFamily="50" charset="-127"/>
            <a:ea typeface="나눔고딕 ExtraBold" panose="020D0904000000000000" pitchFamily="50" charset="-127"/>
          </a:endParaRPr>
        </a:p>
      </dsp:txBody>
      <dsp:txXfrm>
        <a:off x="36510" y="2090573"/>
        <a:ext cx="2982706" cy="1789623"/>
      </dsp:txXfrm>
    </dsp:sp>
    <dsp:sp modelId="{88055BB0-8452-4CD0-B432-0F542CF3E246}">
      <dsp:nvSpPr>
        <dsp:cNvPr id="0" name=""/>
        <dsp:cNvSpPr/>
      </dsp:nvSpPr>
      <dsp:spPr>
        <a:xfrm>
          <a:off x="3317487" y="2090573"/>
          <a:ext cx="2982706" cy="1789623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latin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000" b="1" kern="1200" dirty="0" err="1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고딕 ExtraBold" panose="020D0904000000000000" pitchFamily="50" charset="-127"/>
              <a:ea typeface="나눔고딕 ExtraBold" panose="020D0904000000000000" pitchFamily="50" charset="-127"/>
            </a:rPr>
            <a:t>해지환급률</a:t>
          </a:r>
          <a:endParaRPr lang="en-US" altLang="ko-KR" sz="2000" b="1" kern="1200" dirty="0" smtClean="0">
            <a:solidFill>
              <a:srgbClr val="FFFF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나눔고딕 ExtraBold" panose="020D0904000000000000" pitchFamily="50" charset="-127"/>
            <a:ea typeface="나눔고딕 ExtraBold" panose="020D0904000000000000" pitchFamily="50" charset="-127"/>
          </a:endParaRPr>
        </a:p>
        <a:p>
          <a:pPr lvl="0" algn="ctr" defTabSz="889000" latin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7</a:t>
          </a:r>
          <a:r>
            <a:rPr lang="ko-KR" altLang="en-US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년 </a:t>
          </a:r>
          <a:r>
            <a:rPr lang="en-US" altLang="ko-KR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: 99.6%</a:t>
          </a:r>
        </a:p>
        <a:p>
          <a:pPr lvl="0" algn="ctr" defTabSz="889000" latin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10</a:t>
          </a:r>
          <a:r>
            <a:rPr lang="ko-KR" altLang="en-US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년 </a:t>
          </a:r>
          <a:r>
            <a:rPr lang="en-US" altLang="ko-KR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: 121%</a:t>
          </a:r>
        </a:p>
        <a:p>
          <a:pPr lvl="0" algn="ctr" defTabSz="889000" latin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(40</a:t>
          </a:r>
          <a:r>
            <a:rPr lang="ko-KR" altLang="en-US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세 남</a:t>
          </a:r>
          <a:r>
            <a:rPr lang="en-US" altLang="ko-KR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, </a:t>
          </a:r>
          <a:r>
            <a:rPr lang="ko-KR" altLang="en-US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기준</a:t>
          </a:r>
          <a:r>
            <a:rPr lang="en-US" altLang="ko-KR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)</a:t>
          </a:r>
          <a:endParaRPr lang="ko-KR" altLang="en-US" sz="1600" kern="1200" dirty="0">
            <a:latin typeface="나눔고딕 ExtraBold" panose="020D0904000000000000" pitchFamily="50" charset="-127"/>
            <a:ea typeface="나눔고딕 ExtraBold" panose="020D0904000000000000" pitchFamily="50" charset="-127"/>
          </a:endParaRPr>
        </a:p>
      </dsp:txBody>
      <dsp:txXfrm>
        <a:off x="3317487" y="2090573"/>
        <a:ext cx="2982706" cy="1789623"/>
      </dsp:txXfrm>
    </dsp:sp>
    <dsp:sp modelId="{8036CA72-8C67-46BD-8F21-8D5EB033C2E5}">
      <dsp:nvSpPr>
        <dsp:cNvPr id="0" name=""/>
        <dsp:cNvSpPr/>
      </dsp:nvSpPr>
      <dsp:spPr>
        <a:xfrm>
          <a:off x="36510" y="4178468"/>
          <a:ext cx="2982706" cy="1789623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latin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000" b="1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고딕 ExtraBold" panose="020D0904000000000000" pitchFamily="50" charset="-127"/>
              <a:ea typeface="나눔고딕 ExtraBold" panose="020D0904000000000000" pitchFamily="50" charset="-127"/>
            </a:rPr>
            <a:t>중도인출</a:t>
          </a:r>
          <a:endParaRPr lang="en-US" altLang="ko-KR" sz="2000" b="1" kern="1200" dirty="0" smtClean="0">
            <a:solidFill>
              <a:srgbClr val="FFFF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나눔고딕 ExtraBold" panose="020D0904000000000000" pitchFamily="50" charset="-127"/>
            <a:ea typeface="나눔고딕 ExtraBold" panose="020D0904000000000000" pitchFamily="50" charset="-127"/>
          </a:endParaRPr>
        </a:p>
        <a:p>
          <a:pPr lvl="0" algn="ctr" defTabSz="889000" latin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600" b="1" kern="1200" dirty="0" err="1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납입완료</a:t>
          </a:r>
          <a:r>
            <a:rPr lang="ko-KR" altLang="en-US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 후 </a:t>
          </a:r>
          <a:r>
            <a:rPr lang="ko-KR" altLang="en-US" sz="1600" b="1" kern="1200" dirty="0" err="1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주계약</a:t>
          </a:r>
          <a:endParaRPr lang="en-US" altLang="ko-KR" sz="1600" b="1" kern="1200" dirty="0" smtClean="0">
            <a:latin typeface="나눔고딕 ExtraBold" panose="020D0904000000000000" pitchFamily="50" charset="-127"/>
            <a:ea typeface="나눔고딕 ExtraBold" panose="020D0904000000000000" pitchFamily="50" charset="-127"/>
          </a:endParaRPr>
        </a:p>
        <a:p>
          <a:pPr lvl="0" algn="ctr" defTabSz="889000" latin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중도인출 가능</a:t>
          </a:r>
          <a:endParaRPr lang="ko-KR" altLang="en-US" sz="1600" kern="1200" dirty="0">
            <a:latin typeface="나눔고딕 ExtraBold" panose="020D0904000000000000" pitchFamily="50" charset="-127"/>
            <a:ea typeface="나눔고딕 ExtraBold" panose="020D0904000000000000" pitchFamily="50" charset="-127"/>
          </a:endParaRPr>
        </a:p>
      </dsp:txBody>
      <dsp:txXfrm>
        <a:off x="36510" y="4178468"/>
        <a:ext cx="2982706" cy="1789623"/>
      </dsp:txXfrm>
    </dsp:sp>
    <dsp:sp modelId="{6C9F8125-E400-4E9E-AC15-42387EB92059}">
      <dsp:nvSpPr>
        <dsp:cNvPr id="0" name=""/>
        <dsp:cNvSpPr/>
      </dsp:nvSpPr>
      <dsp:spPr>
        <a:xfrm>
          <a:off x="3317487" y="4178468"/>
          <a:ext cx="2982706" cy="1789623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latin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2000" b="1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고딕 ExtraBold" panose="020D0904000000000000" pitchFamily="50" charset="-127"/>
              <a:ea typeface="나눔고딕 ExtraBold" panose="020D0904000000000000" pitchFamily="50" charset="-127"/>
            </a:rPr>
            <a:t>헬스케어서비스</a:t>
          </a:r>
          <a:endParaRPr lang="en-US" altLang="ko-KR" sz="2000" b="1" kern="1200" dirty="0" smtClean="0">
            <a:solidFill>
              <a:srgbClr val="FFFF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나눔고딕 ExtraBold" panose="020D0904000000000000" pitchFamily="50" charset="-127"/>
            <a:ea typeface="나눔고딕 ExtraBold" panose="020D0904000000000000" pitchFamily="50" charset="-127"/>
          </a:endParaRPr>
        </a:p>
        <a:p>
          <a:pPr lvl="0" algn="ctr" defTabSz="889000" latin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600" b="1" kern="1200" dirty="0" err="1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주계약</a:t>
          </a:r>
          <a:r>
            <a:rPr lang="en-US" altLang="ko-KR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+</a:t>
          </a:r>
          <a:r>
            <a:rPr lang="ko-KR" altLang="en-US" sz="1600" b="1" kern="1200" dirty="0" err="1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체증형사망보장특약</a:t>
          </a:r>
          <a:endParaRPr lang="en-US" altLang="ko-KR" sz="1600" b="1" kern="1200" dirty="0" smtClean="0">
            <a:latin typeface="나눔고딕 ExtraBold" panose="020D0904000000000000" pitchFamily="50" charset="-127"/>
            <a:ea typeface="나눔고딕 ExtraBold" panose="020D0904000000000000" pitchFamily="50" charset="-127"/>
          </a:endParaRPr>
        </a:p>
        <a:p>
          <a:pPr lvl="0" algn="ctr" defTabSz="889000" latin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합산 </a:t>
          </a:r>
          <a:r>
            <a:rPr lang="en-US" altLang="ko-KR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1</a:t>
          </a:r>
          <a:r>
            <a:rPr lang="ko-KR" altLang="en-US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억</a:t>
          </a:r>
          <a:r>
            <a:rPr lang="en-US" altLang="ko-KR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(</a:t>
          </a:r>
          <a:r>
            <a:rPr lang="ko-KR" altLang="en-US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각 </a:t>
          </a:r>
          <a:r>
            <a:rPr lang="en-US" altLang="ko-KR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5</a:t>
          </a:r>
          <a:r>
            <a:rPr lang="ko-KR" altLang="en-US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천만</a:t>
          </a:r>
          <a:r>
            <a:rPr lang="en-US" altLang="ko-KR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)</a:t>
          </a:r>
        </a:p>
        <a:p>
          <a:pPr lvl="0" algn="ctr" defTabSz="889000" latinLnBrk="1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altLang="ko-KR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(</a:t>
          </a:r>
          <a:r>
            <a:rPr lang="ko-KR" altLang="en-US" sz="1600" b="1" kern="1200" dirty="0" err="1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직계존비속</a:t>
          </a:r>
          <a:r>
            <a:rPr lang="en-US" altLang="ko-KR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, 70</a:t>
          </a:r>
          <a:r>
            <a:rPr lang="ko-KR" altLang="en-US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세</a:t>
          </a:r>
          <a:r>
            <a:rPr lang="en-US" altLang="ko-KR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or20</a:t>
          </a:r>
          <a:r>
            <a:rPr lang="ko-KR" altLang="en-US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년</a:t>
          </a:r>
          <a:r>
            <a:rPr lang="en-US" altLang="ko-KR" sz="1600" b="1" kern="12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rPr>
            <a:t>)</a:t>
          </a:r>
          <a:endParaRPr lang="ko-KR" altLang="en-US" sz="1600" kern="1200" dirty="0">
            <a:latin typeface="나눔고딕 ExtraBold" panose="020D0904000000000000" pitchFamily="50" charset="-127"/>
            <a:ea typeface="나눔고딕 ExtraBold" panose="020D0904000000000000" pitchFamily="50" charset="-127"/>
          </a:endParaRPr>
        </a:p>
      </dsp:txBody>
      <dsp:txXfrm>
        <a:off x="3317487" y="4178468"/>
        <a:ext cx="2982706" cy="178962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EFEEE3-B796-45FD-9CD3-D4378B05B6A1}">
      <dsp:nvSpPr>
        <dsp:cNvPr id="0" name=""/>
        <dsp:cNvSpPr/>
      </dsp:nvSpPr>
      <dsp:spPr>
        <a:xfrm>
          <a:off x="3348" y="211642"/>
          <a:ext cx="1188705" cy="1188705"/>
        </a:xfrm>
        <a:prstGeom prst="ellipse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600" kern="1200" dirty="0" smtClean="0">
              <a:latin typeface="나눔고딕" panose="020D0604000000000000" pitchFamily="50" charset="-127"/>
              <a:ea typeface="나눔고딕" panose="020D0604000000000000" pitchFamily="50" charset="-127"/>
            </a:rPr>
            <a:t>취업지원 </a:t>
          </a:r>
          <a:r>
            <a:rPr lang="en-US" altLang="ko-KR" sz="1600" b="1" kern="1200" dirty="0" smtClean="0">
              <a:solidFill>
                <a:srgbClr val="0000FF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5</a:t>
          </a:r>
          <a:r>
            <a:rPr lang="ko-KR" altLang="en-US" sz="1600" b="1" kern="1200" dirty="0" smtClean="0">
              <a:solidFill>
                <a:srgbClr val="0000FF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천만원</a:t>
          </a:r>
          <a:endParaRPr lang="ko-KR" altLang="en-US" sz="1600" b="1" kern="1200" dirty="0">
            <a:solidFill>
              <a:srgbClr val="0000FF"/>
            </a:solidFill>
            <a:latin typeface="나눔고딕" panose="020D0604000000000000" pitchFamily="50" charset="-127"/>
            <a:ea typeface="나눔고딕" panose="020D0604000000000000" pitchFamily="50" charset="-127"/>
          </a:endParaRPr>
        </a:p>
      </dsp:txBody>
      <dsp:txXfrm>
        <a:off x="177430" y="385724"/>
        <a:ext cx="840541" cy="840541"/>
      </dsp:txXfrm>
    </dsp:sp>
    <dsp:sp modelId="{2BB1053D-6595-405C-BE1C-CFB29C784E79}">
      <dsp:nvSpPr>
        <dsp:cNvPr id="0" name=""/>
        <dsp:cNvSpPr/>
      </dsp:nvSpPr>
      <dsp:spPr>
        <a:xfrm>
          <a:off x="252976" y="1496870"/>
          <a:ext cx="689449" cy="689449"/>
        </a:xfrm>
        <a:prstGeom prst="mathPlus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900" kern="1200">
            <a:latin typeface="나눔고딕" panose="020D0604000000000000" pitchFamily="50" charset="-127"/>
            <a:ea typeface="나눔고딕" panose="020D0604000000000000" pitchFamily="50" charset="-127"/>
          </a:endParaRPr>
        </a:p>
      </dsp:txBody>
      <dsp:txXfrm>
        <a:off x="344362" y="1760515"/>
        <a:ext cx="506677" cy="162159"/>
      </dsp:txXfrm>
    </dsp:sp>
    <dsp:sp modelId="{90712962-60B3-4F11-A1C3-8E3722FC14B6}">
      <dsp:nvSpPr>
        <dsp:cNvPr id="0" name=""/>
        <dsp:cNvSpPr/>
      </dsp:nvSpPr>
      <dsp:spPr>
        <a:xfrm>
          <a:off x="3348" y="2282843"/>
          <a:ext cx="1188705" cy="1188705"/>
        </a:xfrm>
        <a:prstGeom prst="ellipse">
          <a:avLst/>
        </a:prstGeom>
        <a:gradFill rotWithShape="0">
          <a:gsLst>
            <a:gs pos="0">
              <a:schemeClr val="accent3">
                <a:hueOff val="5625132"/>
                <a:satOff val="-8440"/>
                <a:lumOff val="-1373"/>
                <a:alphaOff val="0"/>
                <a:shade val="51000"/>
                <a:satMod val="130000"/>
              </a:schemeClr>
            </a:gs>
            <a:gs pos="80000">
              <a:schemeClr val="accent3">
                <a:hueOff val="5625132"/>
                <a:satOff val="-8440"/>
                <a:lumOff val="-1373"/>
                <a:alphaOff val="0"/>
                <a:shade val="93000"/>
                <a:satMod val="130000"/>
              </a:schemeClr>
            </a:gs>
            <a:gs pos="100000">
              <a:schemeClr val="accent3">
                <a:hueOff val="5625132"/>
                <a:satOff val="-8440"/>
                <a:lumOff val="-1373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600" kern="1200" dirty="0" err="1" smtClean="0">
              <a:latin typeface="나눔고딕" panose="020D0604000000000000" pitchFamily="50" charset="-127"/>
              <a:ea typeface="나눔고딕" panose="020D0604000000000000" pitchFamily="50" charset="-127"/>
            </a:rPr>
            <a:t>결혼지원</a:t>
          </a:r>
          <a:r>
            <a:rPr lang="ko-KR" altLang="en-US" sz="1600" kern="1200" dirty="0" smtClean="0">
              <a:latin typeface="나눔고딕" panose="020D0604000000000000" pitchFamily="50" charset="-127"/>
              <a:ea typeface="나눔고딕" panose="020D0604000000000000" pitchFamily="50" charset="-127"/>
            </a:rPr>
            <a:t> </a:t>
          </a:r>
          <a:r>
            <a:rPr lang="en-US" altLang="ko-KR" sz="1600" b="1" kern="1200" dirty="0" smtClean="0">
              <a:solidFill>
                <a:srgbClr val="0000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고딕" panose="020D0604000000000000" pitchFamily="50" charset="-127"/>
              <a:ea typeface="나눔고딕" panose="020D0604000000000000" pitchFamily="50" charset="-127"/>
            </a:rPr>
            <a:t>1</a:t>
          </a:r>
          <a:r>
            <a:rPr lang="ko-KR" altLang="en-US" sz="1600" b="1" kern="1200" dirty="0" smtClean="0">
              <a:solidFill>
                <a:srgbClr val="0000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고딕" panose="020D0604000000000000" pitchFamily="50" charset="-127"/>
              <a:ea typeface="나눔고딕" panose="020D0604000000000000" pitchFamily="50" charset="-127"/>
            </a:rPr>
            <a:t>억원</a:t>
          </a:r>
          <a:endParaRPr lang="ko-KR" altLang="en-US" sz="1600" b="1" kern="1200" dirty="0">
            <a:solidFill>
              <a:srgbClr val="0000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나눔고딕" panose="020D0604000000000000" pitchFamily="50" charset="-127"/>
            <a:ea typeface="나눔고딕" panose="020D0604000000000000" pitchFamily="50" charset="-127"/>
          </a:endParaRPr>
        </a:p>
      </dsp:txBody>
      <dsp:txXfrm>
        <a:off x="177430" y="2456925"/>
        <a:ext cx="840541" cy="840541"/>
      </dsp:txXfrm>
    </dsp:sp>
    <dsp:sp modelId="{38686DE2-9A43-42DD-8126-C931073F845E}">
      <dsp:nvSpPr>
        <dsp:cNvPr id="0" name=""/>
        <dsp:cNvSpPr/>
      </dsp:nvSpPr>
      <dsp:spPr>
        <a:xfrm>
          <a:off x="1370360" y="1620496"/>
          <a:ext cx="378008" cy="442198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3">
                <a:hueOff val="11250264"/>
                <a:satOff val="-16880"/>
                <a:lumOff val="-2745"/>
                <a:alphaOff val="0"/>
                <a:shade val="51000"/>
                <a:satMod val="130000"/>
              </a:schemeClr>
            </a:gs>
            <a:gs pos="80000">
              <a:schemeClr val="accent3">
                <a:hueOff val="11250264"/>
                <a:satOff val="-16880"/>
                <a:lumOff val="-2745"/>
                <a:alphaOff val="0"/>
                <a:shade val="93000"/>
                <a:satMod val="130000"/>
              </a:schemeClr>
            </a:gs>
            <a:gs pos="100000">
              <a:schemeClr val="accent3">
                <a:hueOff val="11250264"/>
                <a:satOff val="-16880"/>
                <a:lumOff val="-274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7785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ko-KR" altLang="en-US" sz="1300" kern="1200">
            <a:latin typeface="나눔고딕" panose="020D0604000000000000" pitchFamily="50" charset="-127"/>
            <a:ea typeface="나눔고딕" panose="020D0604000000000000" pitchFamily="50" charset="-127"/>
          </a:endParaRPr>
        </a:p>
      </dsp:txBody>
      <dsp:txXfrm>
        <a:off x="1370360" y="1708936"/>
        <a:ext cx="264606" cy="265318"/>
      </dsp:txXfrm>
    </dsp:sp>
    <dsp:sp modelId="{1BC62077-727E-4E31-8A93-E0504FE900BD}">
      <dsp:nvSpPr>
        <dsp:cNvPr id="0" name=""/>
        <dsp:cNvSpPr/>
      </dsp:nvSpPr>
      <dsp:spPr>
        <a:xfrm>
          <a:off x="1905277" y="652889"/>
          <a:ext cx="2377411" cy="2377411"/>
        </a:xfrm>
        <a:prstGeom prst="ellipse">
          <a:avLst/>
        </a:prstGeom>
        <a:gradFill rotWithShape="0">
          <a:gsLst>
            <a:gs pos="0">
              <a:schemeClr val="accent3">
                <a:hueOff val="11250264"/>
                <a:satOff val="-16880"/>
                <a:lumOff val="-2745"/>
                <a:alphaOff val="0"/>
                <a:shade val="51000"/>
                <a:satMod val="130000"/>
              </a:schemeClr>
            </a:gs>
            <a:gs pos="80000">
              <a:schemeClr val="accent3">
                <a:hueOff val="11250264"/>
                <a:satOff val="-16880"/>
                <a:lumOff val="-2745"/>
                <a:alphaOff val="0"/>
                <a:shade val="93000"/>
                <a:satMod val="130000"/>
              </a:schemeClr>
            </a:gs>
            <a:gs pos="100000">
              <a:schemeClr val="accent3">
                <a:hueOff val="11250264"/>
                <a:satOff val="-16880"/>
                <a:lumOff val="-274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b="1" kern="1200" dirty="0" smtClean="0">
              <a:solidFill>
                <a:srgbClr val="FFFF00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총 </a:t>
          </a:r>
          <a:r>
            <a:rPr lang="en-US" altLang="ko-KR" sz="1800" b="1" kern="1200" dirty="0" smtClean="0">
              <a:solidFill>
                <a:srgbClr val="FFFF00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1</a:t>
          </a:r>
          <a:r>
            <a:rPr lang="ko-KR" altLang="en-US" sz="1800" b="1" kern="1200" dirty="0" smtClean="0">
              <a:solidFill>
                <a:srgbClr val="FFFF00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억 </a:t>
          </a:r>
          <a:r>
            <a:rPr lang="en-US" altLang="ko-KR" sz="1800" b="1" kern="1200" dirty="0" smtClean="0">
              <a:solidFill>
                <a:srgbClr val="FFFF00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5</a:t>
          </a:r>
          <a:r>
            <a:rPr lang="ko-KR" altLang="en-US" sz="1800" b="1" kern="1200" dirty="0" smtClean="0">
              <a:solidFill>
                <a:srgbClr val="FFFF00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천만원</a:t>
          </a:r>
          <a:endParaRPr lang="en-US" altLang="ko-KR" sz="1800" b="1" kern="1200" dirty="0" smtClean="0">
            <a:solidFill>
              <a:srgbClr val="FFFF00"/>
            </a:solidFill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b="1" kern="1200" dirty="0" smtClean="0">
              <a:solidFill>
                <a:srgbClr val="FFFF00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증여</a:t>
          </a:r>
          <a:r>
            <a:rPr lang="en-US" altLang="ko-KR" sz="1800" b="1" kern="1200" dirty="0" smtClean="0">
              <a:solidFill>
                <a:srgbClr val="FFFF00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(</a:t>
          </a:r>
          <a:r>
            <a:rPr lang="ko-KR" altLang="en-US" sz="1800" b="1" kern="1200" dirty="0" smtClean="0">
              <a:solidFill>
                <a:srgbClr val="FFFF00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비과세</a:t>
          </a:r>
          <a:r>
            <a:rPr lang="en-US" altLang="ko-KR" sz="1800" b="1" kern="1200" dirty="0" smtClean="0">
              <a:solidFill>
                <a:srgbClr val="FFFF00"/>
              </a:solidFill>
              <a:latin typeface="나눔고딕" panose="020D0604000000000000" pitchFamily="50" charset="-127"/>
              <a:ea typeface="나눔고딕" panose="020D0604000000000000" pitchFamily="50" charset="-127"/>
            </a:rPr>
            <a:t>)</a:t>
          </a:r>
          <a:r>
            <a:rPr lang="ko-KR" altLang="en-US" sz="1800" kern="1200" dirty="0" smtClean="0">
              <a:latin typeface="나눔고딕" panose="020D0604000000000000" pitchFamily="50" charset="-127"/>
              <a:ea typeface="나눔고딕" panose="020D0604000000000000" pitchFamily="50" charset="-127"/>
            </a:rPr>
            <a:t>를 </a:t>
          </a:r>
          <a:endParaRPr lang="en-US" altLang="ko-KR" sz="1800" kern="1200" dirty="0" smtClean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kern="1200" dirty="0" smtClean="0">
              <a:latin typeface="나눔고딕" panose="020D0604000000000000" pitchFamily="50" charset="-127"/>
              <a:ea typeface="나눔고딕" panose="020D0604000000000000" pitchFamily="50" charset="-127"/>
            </a:rPr>
            <a:t>통한 결혼자금 및 </a:t>
          </a:r>
          <a:endParaRPr lang="en-US" altLang="ko-KR" sz="1800" kern="1200" dirty="0" smtClean="0">
            <a:latin typeface="나눔고딕" panose="020D0604000000000000" pitchFamily="50" charset="-127"/>
            <a:ea typeface="나눔고딕" panose="020D0604000000000000" pitchFamily="50" charset="-127"/>
          </a:endParaRPr>
        </a:p>
        <a:p>
          <a:pPr lvl="0" algn="ctr" defTabSz="800100" latinLnBrk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ko-KR" altLang="en-US" sz="1800" kern="1200" dirty="0" smtClean="0">
              <a:latin typeface="나눔고딕" panose="020D0604000000000000" pitchFamily="50" charset="-127"/>
              <a:ea typeface="나눔고딕" panose="020D0604000000000000" pitchFamily="50" charset="-127"/>
            </a:rPr>
            <a:t>목적자금 준비</a:t>
          </a:r>
          <a:endParaRPr lang="ko-KR" altLang="en-US" sz="1800" kern="1200" dirty="0">
            <a:latin typeface="나눔고딕" panose="020D0604000000000000" pitchFamily="50" charset="-127"/>
            <a:ea typeface="나눔고딕" panose="020D0604000000000000" pitchFamily="50" charset="-127"/>
          </a:endParaRPr>
        </a:p>
      </dsp:txBody>
      <dsp:txXfrm>
        <a:off x="2253441" y="1001053"/>
        <a:ext cx="1681083" cy="168108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equation2">
  <dgm:title val=""/>
  <dgm:desc val=""/>
  <dgm:catLst>
    <dgm:cat type="relationship" pri="18000"/>
    <dgm:cat type="process" pri="26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>
          <dgm:param type="linDir" val="fromL"/>
          <dgm:param type="fallback" val="2D"/>
        </dgm:alg>
      </dgm:if>
      <dgm:else name="Name3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ch" ptType="node" func="cnt" op="gte" val="3">
        <dgm:constrLst>
          <dgm:constr type="h" for="des" forName="node" refType="w" fact="0.5"/>
          <dgm:constr type="w" for="ch" forName="lastNode" refType="w"/>
          <dgm:constr type="w" for="des" forName="node" refType="h" refFor="des" refForName="node"/>
          <dgm:constr type="w" for="ch" forName="sibTransLast" refType="h" refFor="des" refForName="node" fact="0.6"/>
          <dgm:constr type="h" for="des" forName="sibTrans" refType="h" refFor="des" refForName="node" op="equ" fact="0.58"/>
          <dgm:constr type="w" for="des" forName="sibTrans" refType="h" refFor="des" refForName="sibTrans" op="equ"/>
          <dgm:constr type="primFontSz" for="ch" forName="lastNode" op="equ" val="65"/>
          <dgm:constr type="primFontSz" for="des" forName="node" op="equ" val="65"/>
          <dgm:constr type="primFontSz" for="des" forName="sibTrans" val="55"/>
          <dgm:constr type="primFontSz" for="des" forName="sibTrans" refType="primFontSz" refFor="des" refForName="node" op="lte" fact="0.8"/>
          <dgm:constr type="primFontSz" for="des" forName="connectorText" refType="primFontSz" refFor="des" refForName="node" op="lte" fact="0.8"/>
          <dgm:constr type="primFontSz" for="des" forName="connectorText" refType="primFontSz" refFor="des" refForName="sibTrans" op="equ"/>
          <dgm:constr type="h" for="des" forName="spacerT" refType="h" refFor="des" refForName="sibTrans" fact="0.14"/>
          <dgm:constr type="h" for="des" forName="spacerB" refType="h" refFor="des" refForName="sibTrans" fact="0.14"/>
        </dgm:constrLst>
      </dgm:if>
      <dgm:else name="Name6">
        <dgm:constrLst>
          <dgm:constr type="h" for="des" forName="node" refType="w"/>
          <dgm:constr type="w" for="ch" forName="lastNode" refType="w"/>
          <dgm:constr type="w" for="des" forName="node" refType="h" refFor="des" refForName="node"/>
          <dgm:constr type="w" for="ch" forName="sibTransLast" refType="h" refFor="des" refForName="node" fact="0.6"/>
          <dgm:constr type="h" for="des" forName="sibTrans" refType="h" refFor="des" refForName="node" op="equ" fact="0.58"/>
          <dgm:constr type="w" for="des" forName="sibTrans" refType="h" refFor="des" refForName="sibTrans" op="equ"/>
          <dgm:constr type="primFontSz" for="des" forName="node" val="65"/>
          <dgm:constr type="primFontSz" for="ch" forName="lastNode" refType="primFontSz" refFor="des" refForName="node" op="equ"/>
          <dgm:constr type="primFontSz" for="des" forName="sibTrans" val="55"/>
          <dgm:constr type="primFontSz" for="des" forName="connectorText" refType="primFontSz" refFor="des" refForName="node" op="lte" fact="0.8"/>
          <dgm:constr type="primFontSz" for="des" forName="connectorText" refType="primFontSz" refFor="des" refForName="sibTrans" op="equ"/>
          <dgm:constr type="h" for="des" forName="spacerT" refType="h" refFor="des" refForName="sibTrans" fact="0.14"/>
          <dgm:constr type="h" for="des" forName="spacerB" refType="h" refFor="des" refForName="sibTrans" fact="0.14"/>
        </dgm:constrLst>
      </dgm:else>
    </dgm:choose>
    <dgm:ruleLst/>
    <dgm:choose name="Name7">
      <dgm:if name="Name8" axis="ch" ptType="node" func="cnt" op="gte" val="1">
        <dgm:layoutNode name="vNodes">
          <dgm:alg type="lin">
            <dgm:param type="linDir" val="fromT"/>
            <dgm:param type="fallback" val="2D"/>
          </dgm:alg>
          <dgm:shape xmlns:r="http://schemas.openxmlformats.org/officeDocument/2006/relationships" r:blip="">
            <dgm:adjLst/>
          </dgm:shape>
          <dgm:presOf/>
          <dgm:constrLst/>
          <dgm:ruleLst/>
          <dgm:forEach name="Name9" axis="ch" ptType="node">
            <dgm:choose name="Name10">
              <dgm:if name="Name11" axis="self" func="revPos" op="neq" val="1">
                <dgm:layoutNode name="node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  <dgm:choose name="Name12">
                  <dgm:if name="Name13" axis="self" ptType="node" func="revPos" op="gt" val="2">
                    <dgm:forEach name="sibTransForEach" axis="followSib" ptType="sibTrans" cnt="1">
                      <dgm:layoutNode name="spacerT">
                        <dgm:alg type="sp"/>
                        <dgm:shape xmlns:r="http://schemas.openxmlformats.org/officeDocument/2006/relationships" r:blip="">
                          <dgm:adjLst/>
                        </dgm:shape>
                        <dgm:presOf axis="self"/>
                        <dgm:constrLst/>
                        <dgm:ruleLst/>
                      </dgm:layoutNode>
                      <dgm:layoutNode name="sibTrans">
                        <dgm:alg type="tx"/>
                        <dgm:shape xmlns:r="http://schemas.openxmlformats.org/officeDocument/2006/relationships" type="mathPlus" r:blip="">
                          <dgm:adjLst/>
                        </dgm:shape>
                        <dgm:presOf axis="self"/>
                        <dgm:constrLst>
                          <dgm:constr type="h" refType="w"/>
                          <dgm:constr type="lMarg"/>
                          <dgm:constr type="rMarg"/>
                          <dgm:constr type="tMarg"/>
                          <dgm:constr type="bMarg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spacerB">
                        <dgm:alg type="sp"/>
                        <dgm:shape xmlns:r="http://schemas.openxmlformats.org/officeDocument/2006/relationships" r:blip="">
                          <dgm:adjLst/>
                        </dgm:shape>
                        <dgm:presOf axis="self"/>
                        <dgm:constrLst/>
                        <dgm:ruleLst/>
                      </dgm:layoutNode>
                    </dgm:forEach>
                  </dgm:if>
                  <dgm:else name="Name14"/>
                </dgm:choose>
              </dgm:if>
              <dgm:else name="Name15"/>
            </dgm:choose>
          </dgm:forEach>
        </dgm:layoutNode>
        <dgm:choose name="Name16">
          <dgm:if name="Name17" axis="ch" ptType="node" func="cnt" op="gt" val="1">
            <dgm:layoutNode name="sibTransLast">
              <dgm:alg type="conn">
                <dgm:param type="begPts" val="auto"/>
                <dgm:param type="endPts" val="auto"/>
                <dgm:param type="srcNode" val="vNodes"/>
                <dgm:param type="dstNode" val="lastNode"/>
              </dgm:alg>
              <dgm:shape xmlns:r="http://schemas.openxmlformats.org/officeDocument/2006/relationships" type="conn" r:blip="">
                <dgm:adjLst/>
              </dgm:shape>
              <dgm:presOf axis="ch" ptType="sibTrans" st="-1" cnt="1"/>
              <dgm:constrLst>
                <dgm:constr type="h" refType="w" fact="0.62"/>
                <dgm:constr type="connDist"/>
                <dgm:constr type="begPad" refType="connDist" fact="0.25"/>
                <dgm:constr type="endPad" refType="connDist" fact="0.22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ch desOrSelf" ptType="sibTrans sibTrans" st="-1 1" cnt="1 0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if>
          <dgm:else name="Name18"/>
        </dgm:choose>
        <dgm:layoutNode name="lastNode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ellipse" r:blip="">
            <dgm:adjLst/>
          </dgm:shape>
          <dgm:presOf axis="ch desOrSelf" ptType="node node" st="-1 1" cnt="1 0"/>
          <dgm:constrLst>
            <dgm:constr type="h" refType="w"/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</dgm:if>
      <dgm:else name="Name19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5" y="1"/>
            <a:ext cx="4307359" cy="339922"/>
          </a:xfrm>
          <a:prstGeom prst="rect">
            <a:avLst/>
          </a:prstGeom>
        </p:spPr>
        <p:txBody>
          <a:bodyPr vert="horz" lIns="92350" tIns="46173" rIns="92350" bIns="46173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5629635" y="1"/>
            <a:ext cx="4307359" cy="339922"/>
          </a:xfrm>
          <a:prstGeom prst="rect">
            <a:avLst/>
          </a:prstGeom>
        </p:spPr>
        <p:txBody>
          <a:bodyPr vert="horz" lIns="92350" tIns="46173" rIns="92350" bIns="46173" rtlCol="0"/>
          <a:lstStyle>
            <a:lvl1pPr algn="r">
              <a:defRPr sz="1200"/>
            </a:lvl1pPr>
          </a:lstStyle>
          <a:p>
            <a:fld id="{CD764D22-D37C-4217-AF19-8BAB3AE02577}" type="datetimeFigureOut">
              <a:rPr lang="ko-KR" altLang="en-US" smtClean="0"/>
              <a:pPr/>
              <a:t>2023-09-25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5" y="6466184"/>
            <a:ext cx="4307359" cy="339922"/>
          </a:xfrm>
          <a:prstGeom prst="rect">
            <a:avLst/>
          </a:prstGeom>
        </p:spPr>
        <p:txBody>
          <a:bodyPr vert="horz" lIns="92350" tIns="46173" rIns="92350" bIns="46173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5629635" y="6466184"/>
            <a:ext cx="4307359" cy="339922"/>
          </a:xfrm>
          <a:prstGeom prst="rect">
            <a:avLst/>
          </a:prstGeom>
        </p:spPr>
        <p:txBody>
          <a:bodyPr vert="horz" lIns="92350" tIns="46173" rIns="92350" bIns="46173" rtlCol="0" anchor="b"/>
          <a:lstStyle>
            <a:lvl1pPr algn="r">
              <a:defRPr sz="1200"/>
            </a:lvl1pPr>
          </a:lstStyle>
          <a:p>
            <a:fld id="{91FF3999-A82C-4BC2-89F5-7C8E69AA5F95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6" y="0"/>
            <a:ext cx="4307046" cy="340360"/>
          </a:xfrm>
          <a:prstGeom prst="rect">
            <a:avLst/>
          </a:prstGeom>
        </p:spPr>
        <p:txBody>
          <a:bodyPr vert="horz" lIns="91508" tIns="45755" rIns="91508" bIns="45755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5629997" y="0"/>
            <a:ext cx="4307046" cy="340360"/>
          </a:xfrm>
          <a:prstGeom prst="rect">
            <a:avLst/>
          </a:prstGeom>
        </p:spPr>
        <p:txBody>
          <a:bodyPr vert="horz" lIns="91508" tIns="45755" rIns="91508" bIns="45755" rtlCol="0"/>
          <a:lstStyle>
            <a:lvl1pPr algn="r">
              <a:defRPr sz="1200"/>
            </a:lvl1pPr>
          </a:lstStyle>
          <a:p>
            <a:fld id="{2238F9FE-B7C8-4DA9-8FCF-98066BBF9BDF}" type="datetimeFigureOut">
              <a:rPr lang="ko-KR" altLang="en-US" smtClean="0"/>
              <a:pPr/>
              <a:t>2023-09-25</a:t>
            </a:fld>
            <a:endParaRPr lang="ko-KR" altLang="en-US" dirty="0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3143250" y="509588"/>
            <a:ext cx="3652838" cy="25527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08" tIns="45755" rIns="91508" bIns="45755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993935" y="3233422"/>
            <a:ext cx="7951470" cy="3063240"/>
          </a:xfrm>
          <a:prstGeom prst="rect">
            <a:avLst/>
          </a:prstGeom>
        </p:spPr>
        <p:txBody>
          <a:bodyPr vert="horz" lIns="91508" tIns="45755" rIns="91508" bIns="45755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6" y="6465659"/>
            <a:ext cx="4307046" cy="340360"/>
          </a:xfrm>
          <a:prstGeom prst="rect">
            <a:avLst/>
          </a:prstGeom>
        </p:spPr>
        <p:txBody>
          <a:bodyPr vert="horz" lIns="91508" tIns="45755" rIns="91508" bIns="45755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5629997" y="6465659"/>
            <a:ext cx="4307046" cy="340360"/>
          </a:xfrm>
          <a:prstGeom prst="rect">
            <a:avLst/>
          </a:prstGeom>
        </p:spPr>
        <p:txBody>
          <a:bodyPr vert="horz" lIns="91508" tIns="45755" rIns="91508" bIns="45755" rtlCol="0" anchor="b"/>
          <a:lstStyle>
            <a:lvl1pPr algn="r">
              <a:defRPr sz="1200"/>
            </a:lvl1pPr>
          </a:lstStyle>
          <a:p>
            <a:fld id="{C6CB923E-6B6B-4F2F-8C4D-DF54F834EC33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005234" rtl="0" eaLnBrk="1" latinLnBrk="1" hangingPunct="1">
      <a:defRPr sz="1323" kern="1200">
        <a:solidFill>
          <a:schemeClr val="tx1"/>
        </a:solidFill>
        <a:latin typeface="+mn-lt"/>
        <a:ea typeface="+mn-ea"/>
        <a:cs typeface="+mn-cs"/>
      </a:defRPr>
    </a:lvl1pPr>
    <a:lvl2pPr marL="502612" algn="l" defTabSz="1005234" rtl="0" eaLnBrk="1" latinLnBrk="1" hangingPunct="1">
      <a:defRPr sz="1323" kern="1200">
        <a:solidFill>
          <a:schemeClr val="tx1"/>
        </a:solidFill>
        <a:latin typeface="+mn-lt"/>
        <a:ea typeface="+mn-ea"/>
        <a:cs typeface="+mn-cs"/>
      </a:defRPr>
    </a:lvl2pPr>
    <a:lvl3pPr marL="1005234" algn="l" defTabSz="1005234" rtl="0" eaLnBrk="1" latinLnBrk="1" hangingPunct="1">
      <a:defRPr sz="1323" kern="1200">
        <a:solidFill>
          <a:schemeClr val="tx1"/>
        </a:solidFill>
        <a:latin typeface="+mn-lt"/>
        <a:ea typeface="+mn-ea"/>
        <a:cs typeface="+mn-cs"/>
      </a:defRPr>
    </a:lvl3pPr>
    <a:lvl4pPr marL="1507851" algn="l" defTabSz="1005234" rtl="0" eaLnBrk="1" latinLnBrk="1" hangingPunct="1">
      <a:defRPr sz="1323" kern="1200">
        <a:solidFill>
          <a:schemeClr val="tx1"/>
        </a:solidFill>
        <a:latin typeface="+mn-lt"/>
        <a:ea typeface="+mn-ea"/>
        <a:cs typeface="+mn-cs"/>
      </a:defRPr>
    </a:lvl4pPr>
    <a:lvl5pPr marL="2010467" algn="l" defTabSz="1005234" rtl="0" eaLnBrk="1" latinLnBrk="1" hangingPunct="1">
      <a:defRPr sz="1323" kern="1200">
        <a:solidFill>
          <a:schemeClr val="tx1"/>
        </a:solidFill>
        <a:latin typeface="+mn-lt"/>
        <a:ea typeface="+mn-ea"/>
        <a:cs typeface="+mn-cs"/>
      </a:defRPr>
    </a:lvl5pPr>
    <a:lvl6pPr marL="2513084" algn="l" defTabSz="1005234" rtl="0" eaLnBrk="1" latinLnBrk="1" hangingPunct="1">
      <a:defRPr sz="1323" kern="1200">
        <a:solidFill>
          <a:schemeClr val="tx1"/>
        </a:solidFill>
        <a:latin typeface="+mn-lt"/>
        <a:ea typeface="+mn-ea"/>
        <a:cs typeface="+mn-cs"/>
      </a:defRPr>
    </a:lvl6pPr>
    <a:lvl7pPr marL="3015701" algn="l" defTabSz="1005234" rtl="0" eaLnBrk="1" latinLnBrk="1" hangingPunct="1">
      <a:defRPr sz="1323" kern="1200">
        <a:solidFill>
          <a:schemeClr val="tx1"/>
        </a:solidFill>
        <a:latin typeface="+mn-lt"/>
        <a:ea typeface="+mn-ea"/>
        <a:cs typeface="+mn-cs"/>
      </a:defRPr>
    </a:lvl7pPr>
    <a:lvl8pPr marL="3518317" algn="l" defTabSz="1005234" rtl="0" eaLnBrk="1" latinLnBrk="1" hangingPunct="1">
      <a:defRPr sz="1323" kern="1200">
        <a:solidFill>
          <a:schemeClr val="tx1"/>
        </a:solidFill>
        <a:latin typeface="+mn-lt"/>
        <a:ea typeface="+mn-ea"/>
        <a:cs typeface="+mn-cs"/>
      </a:defRPr>
    </a:lvl8pPr>
    <a:lvl9pPr marL="4020934" algn="l" defTabSz="1005234" rtl="0" eaLnBrk="1" latinLnBrk="1" hangingPunct="1">
      <a:defRPr sz="132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3192463" y="509588"/>
            <a:ext cx="3654425" cy="25527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EA049F-1CA3-446E-872D-0EEB428B0F8A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100523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10926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3143250" y="509588"/>
            <a:ext cx="3652838" cy="25527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smtClean="0"/>
              <a:t>3</a:t>
            </a:r>
            <a:r>
              <a:rPr lang="ko-KR" altLang="en-US" smtClean="0"/>
              <a:t>요에서 볼 수 있는 것</a:t>
            </a:r>
            <a:endParaRPr lang="en-US" altLang="ko-KR" smtClean="0"/>
          </a:p>
          <a:p>
            <a:r>
              <a:rPr lang="ko-KR" altLang="en-US" smtClean="0"/>
              <a:t>해당 업무의 목적</a:t>
            </a:r>
            <a:r>
              <a:rPr lang="en-US" altLang="ko-KR" smtClean="0"/>
              <a:t>, </a:t>
            </a:r>
            <a:r>
              <a:rPr lang="ko-KR" altLang="en-US" smtClean="0"/>
              <a:t>성과</a:t>
            </a:r>
            <a:r>
              <a:rPr lang="en-US" altLang="ko-KR" smtClean="0"/>
              <a:t>, </a:t>
            </a:r>
            <a:r>
              <a:rPr lang="ko-KR" altLang="en-US" smtClean="0"/>
              <a:t>필요성을 이해시켜줘야</a:t>
            </a:r>
            <a:endParaRPr lang="en-US" altLang="ko-KR" smtClean="0"/>
          </a:p>
          <a:p>
            <a:r>
              <a:rPr lang="ko-KR" altLang="en-US" smtClean="0"/>
              <a:t>업무를 진행시키고</a:t>
            </a:r>
            <a:r>
              <a:rPr lang="en-US" altLang="ko-KR" smtClean="0"/>
              <a:t>, </a:t>
            </a:r>
            <a:r>
              <a:rPr lang="ko-KR" altLang="en-US" smtClean="0"/>
              <a:t>업무를 설득시킬 수 있다</a:t>
            </a:r>
            <a:r>
              <a:rPr lang="en-US" altLang="ko-KR" smtClean="0"/>
              <a:t>.</a:t>
            </a:r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9644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0CF102-2622-4675-8702-963BB037D619}" type="slidenum">
              <a:rPr kumimoji="0" lang="ko-KR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9644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90289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3143250" y="509588"/>
            <a:ext cx="3652838" cy="25527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smtClean="0"/>
              <a:t>3</a:t>
            </a:r>
            <a:r>
              <a:rPr lang="ko-KR" altLang="en-US" smtClean="0"/>
              <a:t>요에서 볼 수 있는 것</a:t>
            </a:r>
            <a:endParaRPr lang="en-US" altLang="ko-KR" smtClean="0"/>
          </a:p>
          <a:p>
            <a:r>
              <a:rPr lang="ko-KR" altLang="en-US" smtClean="0"/>
              <a:t>해당 업무의 목적</a:t>
            </a:r>
            <a:r>
              <a:rPr lang="en-US" altLang="ko-KR" smtClean="0"/>
              <a:t>, </a:t>
            </a:r>
            <a:r>
              <a:rPr lang="ko-KR" altLang="en-US" smtClean="0"/>
              <a:t>성과</a:t>
            </a:r>
            <a:r>
              <a:rPr lang="en-US" altLang="ko-KR" smtClean="0"/>
              <a:t>, </a:t>
            </a:r>
            <a:r>
              <a:rPr lang="ko-KR" altLang="en-US" smtClean="0"/>
              <a:t>필요성을 이해시켜줘야</a:t>
            </a:r>
            <a:endParaRPr lang="en-US" altLang="ko-KR" smtClean="0"/>
          </a:p>
          <a:p>
            <a:r>
              <a:rPr lang="ko-KR" altLang="en-US" smtClean="0"/>
              <a:t>업무를 진행시키고</a:t>
            </a:r>
            <a:r>
              <a:rPr lang="en-US" altLang="ko-KR" smtClean="0"/>
              <a:t>, </a:t>
            </a:r>
            <a:r>
              <a:rPr lang="ko-KR" altLang="en-US" smtClean="0"/>
              <a:t>업무를 설득시킬 수 있다</a:t>
            </a:r>
            <a:r>
              <a:rPr lang="en-US" altLang="ko-KR" smtClean="0"/>
              <a:t>.</a:t>
            </a:r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9644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0CF102-2622-4675-8702-963BB037D619}" type="slidenum">
              <a:rPr kumimoji="0" lang="ko-KR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9644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7765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3143250" y="509588"/>
            <a:ext cx="3652838" cy="25527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smtClean="0"/>
              <a:t>3</a:t>
            </a:r>
            <a:r>
              <a:rPr lang="ko-KR" altLang="en-US" smtClean="0"/>
              <a:t>요에서 볼 수 있는 것</a:t>
            </a:r>
            <a:endParaRPr lang="en-US" altLang="ko-KR" smtClean="0"/>
          </a:p>
          <a:p>
            <a:r>
              <a:rPr lang="ko-KR" altLang="en-US" smtClean="0"/>
              <a:t>해당 업무의 목적</a:t>
            </a:r>
            <a:r>
              <a:rPr lang="en-US" altLang="ko-KR" smtClean="0"/>
              <a:t>, </a:t>
            </a:r>
            <a:r>
              <a:rPr lang="ko-KR" altLang="en-US" smtClean="0"/>
              <a:t>성과</a:t>
            </a:r>
            <a:r>
              <a:rPr lang="en-US" altLang="ko-KR" smtClean="0"/>
              <a:t>, </a:t>
            </a:r>
            <a:r>
              <a:rPr lang="ko-KR" altLang="en-US" smtClean="0"/>
              <a:t>필요성을 이해시켜줘야</a:t>
            </a:r>
            <a:endParaRPr lang="en-US" altLang="ko-KR" smtClean="0"/>
          </a:p>
          <a:p>
            <a:r>
              <a:rPr lang="ko-KR" altLang="en-US" smtClean="0"/>
              <a:t>업무를 진행시키고</a:t>
            </a:r>
            <a:r>
              <a:rPr lang="en-US" altLang="ko-KR" smtClean="0"/>
              <a:t>, </a:t>
            </a:r>
            <a:r>
              <a:rPr lang="ko-KR" altLang="en-US" smtClean="0"/>
              <a:t>업무를 설득시킬 수 있다</a:t>
            </a:r>
            <a:r>
              <a:rPr lang="en-US" altLang="ko-KR" smtClean="0"/>
              <a:t>.</a:t>
            </a:r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9644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0CF102-2622-4675-8702-963BB037D619}" type="slidenum">
              <a:rPr kumimoji="0" lang="ko-KR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9644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62271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3143250" y="509588"/>
            <a:ext cx="3652838" cy="25527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smtClean="0"/>
              <a:t>3</a:t>
            </a:r>
            <a:r>
              <a:rPr lang="ko-KR" altLang="en-US" smtClean="0"/>
              <a:t>요에서 볼 수 있는 것</a:t>
            </a:r>
            <a:endParaRPr lang="en-US" altLang="ko-KR" smtClean="0"/>
          </a:p>
          <a:p>
            <a:r>
              <a:rPr lang="ko-KR" altLang="en-US" smtClean="0"/>
              <a:t>해당 업무의 목적</a:t>
            </a:r>
            <a:r>
              <a:rPr lang="en-US" altLang="ko-KR" smtClean="0"/>
              <a:t>, </a:t>
            </a:r>
            <a:r>
              <a:rPr lang="ko-KR" altLang="en-US" smtClean="0"/>
              <a:t>성과</a:t>
            </a:r>
            <a:r>
              <a:rPr lang="en-US" altLang="ko-KR" smtClean="0"/>
              <a:t>, </a:t>
            </a:r>
            <a:r>
              <a:rPr lang="ko-KR" altLang="en-US" smtClean="0"/>
              <a:t>필요성을 이해시켜줘야</a:t>
            </a:r>
            <a:endParaRPr lang="en-US" altLang="ko-KR" smtClean="0"/>
          </a:p>
          <a:p>
            <a:r>
              <a:rPr lang="ko-KR" altLang="en-US" smtClean="0"/>
              <a:t>업무를 진행시키고</a:t>
            </a:r>
            <a:r>
              <a:rPr lang="en-US" altLang="ko-KR" smtClean="0"/>
              <a:t>, </a:t>
            </a:r>
            <a:r>
              <a:rPr lang="ko-KR" altLang="en-US" smtClean="0"/>
              <a:t>업무를 설득시킬 수 있다</a:t>
            </a:r>
            <a:r>
              <a:rPr lang="en-US" altLang="ko-KR" smtClean="0"/>
              <a:t>.</a:t>
            </a:r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9644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0CF102-2622-4675-8702-963BB037D619}" type="slidenum">
              <a:rPr kumimoji="0" lang="ko-KR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9644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87414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baseline="0" dirty="0" smtClean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19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B85449-F30C-4024-A045-D0CAEB019C60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191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18281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baseline="0" dirty="0" smtClean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19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B85449-F30C-4024-A045-D0CAEB019C60}" type="slidenum">
              <a:rPr kumimoji="0" lang="ko-K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14191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95509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baseline="0" dirty="0" smtClean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262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F603D96-6B25-49C4-84ED-57620FC95000}" type="slidenum">
              <a:rPr kumimoji="0" lang="ko-KR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2623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18799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baseline="0" dirty="0" smtClean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362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F603D96-6B25-49C4-84ED-57620FC95000}" type="slidenum">
              <a:rPr kumimoji="0" lang="ko-KR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3623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80141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ko-KR" baseline="0" dirty="0" smtClean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362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F603D96-6B25-49C4-84ED-57620FC95000}" type="slidenum">
              <a:rPr kumimoji="0" lang="ko-KR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F0502020204030204"/>
                <a:ea typeface="맑은 고딕" panose="020B0503020000020004" pitchFamily="50" charset="-127"/>
                <a:cs typeface="+mn-cs"/>
              </a:rPr>
              <a:pPr marL="0" marR="0" lvl="0" indent="0" algn="r" defTabSz="913623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F0502020204030204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645501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3143250" y="509588"/>
            <a:ext cx="3652838" cy="25527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smtClean="0"/>
              <a:t>3</a:t>
            </a:r>
            <a:r>
              <a:rPr lang="ko-KR" altLang="en-US" smtClean="0"/>
              <a:t>요에서 볼 수 있는 것</a:t>
            </a:r>
            <a:endParaRPr lang="en-US" altLang="ko-KR" smtClean="0"/>
          </a:p>
          <a:p>
            <a:r>
              <a:rPr lang="ko-KR" altLang="en-US" smtClean="0"/>
              <a:t>해당 업무의 목적</a:t>
            </a:r>
            <a:r>
              <a:rPr lang="en-US" altLang="ko-KR" smtClean="0"/>
              <a:t>, </a:t>
            </a:r>
            <a:r>
              <a:rPr lang="ko-KR" altLang="en-US" smtClean="0"/>
              <a:t>성과</a:t>
            </a:r>
            <a:r>
              <a:rPr lang="en-US" altLang="ko-KR" smtClean="0"/>
              <a:t>, </a:t>
            </a:r>
            <a:r>
              <a:rPr lang="ko-KR" altLang="en-US" smtClean="0"/>
              <a:t>필요성을 이해시켜줘야</a:t>
            </a:r>
            <a:endParaRPr lang="en-US" altLang="ko-KR" smtClean="0"/>
          </a:p>
          <a:p>
            <a:r>
              <a:rPr lang="ko-KR" altLang="en-US" smtClean="0"/>
              <a:t>업무를 진행시키고</a:t>
            </a:r>
            <a:r>
              <a:rPr lang="en-US" altLang="ko-KR" smtClean="0"/>
              <a:t>, </a:t>
            </a:r>
            <a:r>
              <a:rPr lang="ko-KR" altLang="en-US" smtClean="0"/>
              <a:t>업무를 설득시킬 수 있다</a:t>
            </a:r>
            <a:r>
              <a:rPr lang="en-US" altLang="ko-KR" smtClean="0"/>
              <a:t>.</a:t>
            </a:r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9644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0CF102-2622-4675-8702-963BB037D619}" type="slidenum">
              <a:rPr kumimoji="0" lang="ko-KR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99644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ko-K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68095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1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2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emf"/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2.xml"/><Relationship Id="rId4" Type="http://schemas.openxmlformats.org/officeDocument/2006/relationships/image" Target="../media/image65.png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2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2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2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3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23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2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3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3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3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23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23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3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2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23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3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jpeg"/><Relationship Id="rId1" Type="http://schemas.openxmlformats.org/officeDocument/2006/relationships/slideMaster" Target="../slideMasters/slideMaster23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Master" Target="../slideMasters/slideMaster23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78.emf"/><Relationship Id="rId4" Type="http://schemas.openxmlformats.org/officeDocument/2006/relationships/oleObject" Target="../embeddings/oleObject1.bin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jpeg"/><Relationship Id="rId1" Type="http://schemas.openxmlformats.org/officeDocument/2006/relationships/slideMaster" Target="../slideMasters/slideMaster2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jpeg"/><Relationship Id="rId1" Type="http://schemas.openxmlformats.org/officeDocument/2006/relationships/slideMaster" Target="../slideMasters/slideMaster23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jpeg"/><Relationship Id="rId1" Type="http://schemas.openxmlformats.org/officeDocument/2006/relationships/slideMaster" Target="../slideMasters/slideMaster2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Master" Target="../slideMasters/slideMaster2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81.png"/><Relationship Id="rId1" Type="http://schemas.openxmlformats.org/officeDocument/2006/relationships/slideMaster" Target="../slideMasters/slideMaster23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3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23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23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23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23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23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23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23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23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23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2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jpeg"/><Relationship Id="rId1" Type="http://schemas.openxmlformats.org/officeDocument/2006/relationships/slideMaster" Target="../slideMasters/slideMaster23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3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3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gif"/><Relationship Id="rId1" Type="http://schemas.openxmlformats.org/officeDocument/2006/relationships/slideMaster" Target="../slideMasters/slideMaster23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gif"/><Relationship Id="rId1" Type="http://schemas.openxmlformats.org/officeDocument/2006/relationships/slideMaster" Target="../slideMasters/slideMaster23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61.gif"/><Relationship Id="rId1" Type="http://schemas.openxmlformats.org/officeDocument/2006/relationships/slideMaster" Target="../slideMasters/slideMaster23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61.gif"/><Relationship Id="rId1" Type="http://schemas.openxmlformats.org/officeDocument/2006/relationships/slideMaster" Target="../slideMasters/slideMaster23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61.gif"/><Relationship Id="rId1" Type="http://schemas.openxmlformats.org/officeDocument/2006/relationships/slideMaster" Target="../slideMasters/slideMaster23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61.gif"/><Relationship Id="rId1" Type="http://schemas.openxmlformats.org/officeDocument/2006/relationships/slideMaster" Target="../slideMasters/slideMaster23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61.gif"/><Relationship Id="rId1" Type="http://schemas.openxmlformats.org/officeDocument/2006/relationships/slideMaster" Target="../slideMasters/slideMaster2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61.gif"/><Relationship Id="rId1" Type="http://schemas.openxmlformats.org/officeDocument/2006/relationships/slideMaster" Target="../slideMasters/slideMaster23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61.gif"/><Relationship Id="rId1" Type="http://schemas.openxmlformats.org/officeDocument/2006/relationships/slideMaster" Target="../slideMasters/slideMaster23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61.gif"/><Relationship Id="rId1" Type="http://schemas.openxmlformats.org/officeDocument/2006/relationships/slideMaster" Target="../slideMasters/slideMaster23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61.gif"/><Relationship Id="rId1" Type="http://schemas.openxmlformats.org/officeDocument/2006/relationships/slideMaster" Target="../slideMasters/slideMaster23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61.gif"/><Relationship Id="rId1" Type="http://schemas.openxmlformats.org/officeDocument/2006/relationships/slideMaster" Target="../slideMasters/slideMaster23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61.gif"/><Relationship Id="rId1" Type="http://schemas.openxmlformats.org/officeDocument/2006/relationships/slideMaster" Target="../slideMasters/slideMaster23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61.gif"/><Relationship Id="rId1" Type="http://schemas.openxmlformats.org/officeDocument/2006/relationships/slideMaster" Target="../slideMasters/slideMaster23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3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jpeg"/><Relationship Id="rId1" Type="http://schemas.openxmlformats.org/officeDocument/2006/relationships/slideMaster" Target="../slideMasters/slideMaster23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23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23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23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23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23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23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23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2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png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23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23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23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23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23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23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23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23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23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3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3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3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3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3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3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23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23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23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2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23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23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23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23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23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23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23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23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23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.png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3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3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23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23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23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23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23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3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3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3.png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3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3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3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3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3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3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3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3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3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2.png"/><Relationship Id="rId4" Type="http://schemas.openxmlformats.org/officeDocument/2006/relationships/image" Target="../media/image25.png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23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23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23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23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23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23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23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3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3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0.png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Master" Target="../slideMasters/slideMaster23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4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4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4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24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png"/><Relationship Id="rId1" Type="http://schemas.openxmlformats.org/officeDocument/2006/relationships/slideMaster" Target="../slideMasters/slideMaster2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png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24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Master" Target="../slideMasters/slideMaster24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png"/><Relationship Id="rId1" Type="http://schemas.openxmlformats.org/officeDocument/2006/relationships/slideMaster" Target="../slideMasters/slideMaster25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Master" Target="../slideMasters/slideMaster25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5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5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Master" Target="../slideMasters/slideMaster25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5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6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2.png"/><Relationship Id="rId4" Type="http://schemas.openxmlformats.org/officeDocument/2006/relationships/image" Target="../media/image25.png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93.png"/><Relationship Id="rId1" Type="http://schemas.openxmlformats.org/officeDocument/2006/relationships/slideMaster" Target="../slideMasters/slideMaster26.xml"/><Relationship Id="rId5" Type="http://schemas.openxmlformats.org/officeDocument/2006/relationships/image" Target="../media/image65.png"/><Relationship Id="rId4" Type="http://schemas.openxmlformats.org/officeDocument/2006/relationships/image" Target="../media/image64.emf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94.png"/><Relationship Id="rId1" Type="http://schemas.openxmlformats.org/officeDocument/2006/relationships/slideMaster" Target="../slideMasters/slideMaster26.xml"/><Relationship Id="rId4" Type="http://schemas.openxmlformats.org/officeDocument/2006/relationships/image" Target="../media/image31.png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6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6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6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7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7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7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7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0.png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8.xml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8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8.xml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8.xml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png"/><Relationship Id="rId1" Type="http://schemas.openxmlformats.org/officeDocument/2006/relationships/slideMaster" Target="../slideMasters/slideMaster29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Master" Target="../slideMasters/slideMaster29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9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9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Master" Target="../slideMasters/slideMaster29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9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9.jpeg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9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Master" Target="../slideMasters/slideMaster30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0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Master" Target="../slideMasters/slideMaster30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Master" Target="../slideMasters/slideMaster30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0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png"/><Relationship Id="rId1" Type="http://schemas.openxmlformats.org/officeDocument/2006/relationships/slideMaster" Target="../slideMasters/slideMaster30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png"/><Relationship Id="rId1" Type="http://schemas.openxmlformats.org/officeDocument/2006/relationships/slideMaster" Target="../slideMasters/slideMaster31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Master" Target="../slideMasters/slideMaster3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8.png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1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1.xml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Master" Target="../slideMasters/slideMaster31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1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1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2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7" Type="http://schemas.openxmlformats.org/officeDocument/2006/relationships/image" Target="../media/image103.emf"/><Relationship Id="rId2" Type="http://schemas.openxmlformats.org/officeDocument/2006/relationships/image" Target="../media/image100.png"/><Relationship Id="rId1" Type="http://schemas.openxmlformats.org/officeDocument/2006/relationships/slideMaster" Target="../slideMasters/slideMaster32.xml"/><Relationship Id="rId6" Type="http://schemas.openxmlformats.org/officeDocument/2006/relationships/image" Target="../media/image102.png"/><Relationship Id="rId5" Type="http://schemas.openxmlformats.org/officeDocument/2006/relationships/image" Target="../media/image101.png"/><Relationship Id="rId4" Type="http://schemas.openxmlformats.org/officeDocument/2006/relationships/image" Target="../media/image64.emf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2.xml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30.png"/><Relationship Id="rId4" Type="http://schemas.openxmlformats.org/officeDocument/2006/relationships/image" Target="../media/image2.png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2.xml"/></Relationships>
</file>

<file path=ppt/slideLayouts/_rels/slideLayout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2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jpg"/><Relationship Id="rId1" Type="http://schemas.openxmlformats.org/officeDocument/2006/relationships/slideMaster" Target="../slideMasters/slideMaster32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3.xml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7" Type="http://schemas.openxmlformats.org/officeDocument/2006/relationships/image" Target="../media/image103.emf"/><Relationship Id="rId2" Type="http://schemas.openxmlformats.org/officeDocument/2006/relationships/image" Target="../media/image100.png"/><Relationship Id="rId1" Type="http://schemas.openxmlformats.org/officeDocument/2006/relationships/slideMaster" Target="../slideMasters/slideMaster33.xml"/><Relationship Id="rId6" Type="http://schemas.openxmlformats.org/officeDocument/2006/relationships/image" Target="../media/image102.png"/><Relationship Id="rId5" Type="http://schemas.openxmlformats.org/officeDocument/2006/relationships/image" Target="../media/image101.png"/><Relationship Id="rId4" Type="http://schemas.openxmlformats.org/officeDocument/2006/relationships/image" Target="../media/image64.emf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3.xml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3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3.xml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9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jpg"/><Relationship Id="rId1" Type="http://schemas.openxmlformats.org/officeDocument/2006/relationships/slideMaster" Target="../slideMasters/slideMaster33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4.xml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105.png"/><Relationship Id="rId1" Type="http://schemas.openxmlformats.org/officeDocument/2006/relationships/slideMaster" Target="../slideMasters/slideMaster34.xml"/><Relationship Id="rId4" Type="http://schemas.openxmlformats.org/officeDocument/2006/relationships/image" Target="../media/image64.emf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4.xml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4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4.xml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4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jpg"/><Relationship Id="rId1" Type="http://schemas.openxmlformats.org/officeDocument/2006/relationships/slideMaster" Target="../slideMasters/slideMaster34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5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1.png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105.png"/><Relationship Id="rId1" Type="http://schemas.openxmlformats.org/officeDocument/2006/relationships/slideMaster" Target="../slideMasters/slideMaster35.xml"/><Relationship Id="rId4" Type="http://schemas.openxmlformats.org/officeDocument/2006/relationships/image" Target="../media/image64.emf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5.xml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5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5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5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jpg"/><Relationship Id="rId1" Type="http://schemas.openxmlformats.org/officeDocument/2006/relationships/slideMaster" Target="../slideMasters/slideMaster35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6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6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Master" Target="../slideMasters/slideMaster36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7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7.xml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Master" Target="../slideMasters/slideMaster37.xml"/></Relationships>
</file>

<file path=ppt/slideLayouts/_rels/slideLayout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png"/><Relationship Id="rId1" Type="http://schemas.openxmlformats.org/officeDocument/2006/relationships/slideMaster" Target="../slideMasters/slideMaster38.xml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8.xml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8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8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Master" Target="../slideMasters/slideMaster38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8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8.pn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0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0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0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0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jpg"/><Relationship Id="rId1" Type="http://schemas.openxmlformats.org/officeDocument/2006/relationships/slideMaster" Target="../slideMasters/slideMaster1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jpg"/><Relationship Id="rId1" Type="http://schemas.openxmlformats.org/officeDocument/2006/relationships/slideMaster" Target="../slideMasters/slideMaster1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4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4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10" Type="http://schemas.openxmlformats.org/officeDocument/2006/relationships/image" Target="../media/image50.png"/><Relationship Id="rId4" Type="http://schemas.openxmlformats.org/officeDocument/2006/relationships/image" Target="../media/image44.png"/><Relationship Id="rId9" Type="http://schemas.openxmlformats.org/officeDocument/2006/relationships/image" Target="../media/image49.pn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5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5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10" Type="http://schemas.openxmlformats.org/officeDocument/2006/relationships/image" Target="../media/image50.png"/><Relationship Id="rId4" Type="http://schemas.openxmlformats.org/officeDocument/2006/relationships/image" Target="../media/image44.png"/><Relationship Id="rId9" Type="http://schemas.openxmlformats.org/officeDocument/2006/relationships/image" Target="../media/image49.png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6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6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10" Type="http://schemas.openxmlformats.org/officeDocument/2006/relationships/image" Target="../media/image50.png"/><Relationship Id="rId4" Type="http://schemas.openxmlformats.org/officeDocument/2006/relationships/image" Target="../media/image44.png"/><Relationship Id="rId9" Type="http://schemas.openxmlformats.org/officeDocument/2006/relationships/image" Target="../media/image49.png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6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23.png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24.png"/><Relationship Id="rId7" Type="http://schemas.openxmlformats.org/officeDocument/2006/relationships/image" Target="../media/image5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7.xml"/><Relationship Id="rId6" Type="http://schemas.openxmlformats.org/officeDocument/2006/relationships/image" Target="../media/image52.emf"/><Relationship Id="rId5" Type="http://schemas.openxmlformats.org/officeDocument/2006/relationships/image" Target="../media/image2.png"/><Relationship Id="rId4" Type="http://schemas.openxmlformats.org/officeDocument/2006/relationships/image" Target="../media/image25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7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23.png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24.png"/><Relationship Id="rId7" Type="http://schemas.openxmlformats.org/officeDocument/2006/relationships/image" Target="../media/image5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8.xml"/><Relationship Id="rId6" Type="http://schemas.openxmlformats.org/officeDocument/2006/relationships/image" Target="../media/image52.emf"/><Relationship Id="rId5" Type="http://schemas.openxmlformats.org/officeDocument/2006/relationships/image" Target="../media/image2.png"/><Relationship Id="rId4" Type="http://schemas.openxmlformats.org/officeDocument/2006/relationships/image" Target="../media/image25.png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8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8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8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23.png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24.png"/><Relationship Id="rId7" Type="http://schemas.openxmlformats.org/officeDocument/2006/relationships/image" Target="../media/image5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9.xml"/><Relationship Id="rId6" Type="http://schemas.openxmlformats.org/officeDocument/2006/relationships/image" Target="../media/image52.emf"/><Relationship Id="rId5" Type="http://schemas.openxmlformats.org/officeDocument/2006/relationships/image" Target="../media/image2.png"/><Relationship Id="rId4" Type="http://schemas.openxmlformats.org/officeDocument/2006/relationships/image" Target="../media/image25.png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9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9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9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0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30.pn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0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0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0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g"/><Relationship Id="rId1" Type="http://schemas.openxmlformats.org/officeDocument/2006/relationships/slideMaster" Target="../slideMasters/slideMaster21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g"/><Relationship Id="rId1" Type="http://schemas.openxmlformats.org/officeDocument/2006/relationships/slideMaster" Target="../slideMasters/slideMaster2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g"/><Relationship Id="rId1" Type="http://schemas.openxmlformats.org/officeDocument/2006/relationships/slideMaster" Target="../slideMasters/slideMaster21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g"/><Relationship Id="rId1" Type="http://schemas.openxmlformats.org/officeDocument/2006/relationships/slideMaster" Target="../slideMasters/slideMaster21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gif"/><Relationship Id="rId1" Type="http://schemas.openxmlformats.org/officeDocument/2006/relationships/slideMaster" Target="../slideMasters/slideMaster21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gif"/><Relationship Id="rId1" Type="http://schemas.openxmlformats.org/officeDocument/2006/relationships/slideMaster" Target="../slideMasters/slideMaster21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1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2688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0709" y="2950316"/>
            <a:ext cx="9414679" cy="203576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61416" y="5381800"/>
            <a:ext cx="7753265" cy="2427085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472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44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16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88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360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83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304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77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54843"/>
            <a:endParaRPr lang="en-US" sz="1919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54843"/>
            <a:endParaRPr lang="en-US" sz="1919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54843"/>
            <a:fld id="{B1393E5F-521B-4CAD-9D3A-AE923D912DCE}" type="slidenum">
              <a:rPr lang="en-US" sz="1919" smtClean="0">
                <a:solidFill>
                  <a:prstClr val="black"/>
                </a:solidFill>
              </a:rPr>
              <a:pPr defTabSz="954843"/>
              <a:t>‹#›</a:t>
            </a:fld>
            <a:endParaRPr lang="en-US" sz="1919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730684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192658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353"/>
          <a:stretch>
            <a:fillRect/>
          </a:stretch>
        </p:blipFill>
        <p:spPr bwMode="auto">
          <a:xfrm>
            <a:off x="-3173" y="-44970"/>
            <a:ext cx="10387013" cy="665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5"/>
          <p:cNvSpPr>
            <a:spLocks noChangeArrowheads="1"/>
          </p:cNvSpPr>
          <p:nvPr userDrawn="1"/>
        </p:nvSpPr>
        <p:spPr bwMode="auto">
          <a:xfrm>
            <a:off x="5911850" y="7011990"/>
            <a:ext cx="44719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275" tIns="47139" rIns="94275" bIns="47139"/>
          <a:lstStyle>
            <a:lvl1pPr defTabSz="954088">
              <a:defRPr sz="1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defTabSz="954088">
              <a:defRPr sz="1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defTabSz="954088">
              <a:defRPr sz="1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defTabSz="954088">
              <a:defRPr sz="1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defTabSz="954088">
              <a:defRPr sz="1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466975" indent="-180975" defTabSz="9540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24175" indent="-180975" defTabSz="9540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381375" indent="-180975" defTabSz="9540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38575" indent="-180975" defTabSz="9540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marL="0" marR="0" lvl="0" indent="0" algn="r" defTabSz="91544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88" b="1" i="0" u="none" strike="noStrike" kern="1200" cap="none" spc="0" normalizeH="0" baseline="0" noProof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FP </a:t>
            </a:r>
            <a:r>
              <a:rPr kumimoji="0" lang="ko-KR" altLang="en-US" sz="988" b="1" i="0" u="none" strike="noStrike" kern="1200" cap="none" spc="0" normalizeH="0" baseline="0" noProof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교육용 자료로 고객에게 제시할 수 없습니다</a:t>
            </a:r>
            <a:endParaRPr kumimoji="0" lang="en-US" altLang="ko-KR" sz="988" b="1" i="0" u="none" strike="noStrike" kern="120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교보서체 Bold" panose="020B0600000101010101" pitchFamily="50" charset="-127"/>
              <a:ea typeface="교보서체 Bold" panose="020B0600000101010101" pitchFamily="50" charset="-127"/>
              <a:cs typeface="+mn-cs"/>
            </a:endParaRPr>
          </a:p>
        </p:txBody>
      </p:sp>
      <p:sp>
        <p:nvSpPr>
          <p:cNvPr id="5" name="Rectangle 5"/>
          <p:cNvSpPr>
            <a:spLocks noChangeArrowheads="1"/>
          </p:cNvSpPr>
          <p:nvPr userDrawn="1"/>
        </p:nvSpPr>
        <p:spPr bwMode="auto">
          <a:xfrm>
            <a:off x="5911850" y="42866"/>
            <a:ext cx="4471988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4275" tIns="47139" rIns="94275" bIns="47139"/>
          <a:lstStyle/>
          <a:p>
            <a:pPr marL="0" marR="0" lvl="0" indent="0" algn="r" defTabSz="94335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328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교보서체 Regular"/>
                <a:ea typeface="교보서체 Regular"/>
                <a:cs typeface="+mn-cs"/>
              </a:rPr>
              <a:t>FP </a:t>
            </a:r>
            <a:r>
              <a:rPr kumimoji="0" lang="ko-KR" altLang="en-US" sz="1328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교보서체 Regular"/>
                <a:ea typeface="교보서체 Regular"/>
                <a:cs typeface="+mn-cs"/>
              </a:rPr>
              <a:t>교육용</a:t>
            </a:r>
            <a:endParaRPr kumimoji="0" lang="en-US" altLang="ko-KR" sz="1328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교보서체 Regular"/>
              <a:ea typeface="교보서체 Regular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12566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1" y="6"/>
            <a:ext cx="10383125" cy="72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15436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" y="754"/>
            <a:ext cx="10384834" cy="7254123"/>
          </a:xfrm>
          <a:prstGeom prst="rect">
            <a:avLst/>
          </a:prstGeom>
        </p:spPr>
      </p:pic>
      <p:sp>
        <p:nvSpPr>
          <p:cNvPr id="6" name="직사각형 5"/>
          <p:cNvSpPr/>
          <p:nvPr userDrawn="1"/>
        </p:nvSpPr>
        <p:spPr>
          <a:xfrm>
            <a:off x="7500778" y="6437277"/>
            <a:ext cx="2641471" cy="6673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7472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51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5" name="그림 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23165" y="6621850"/>
            <a:ext cx="2589228" cy="455878"/>
          </a:xfrm>
          <a:prstGeom prst="rect">
            <a:avLst/>
          </a:prstGeom>
        </p:spPr>
      </p:pic>
      <p:pic>
        <p:nvPicPr>
          <p:cNvPr id="4" name="그림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4443" y="1035094"/>
            <a:ext cx="7617339" cy="2372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36519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196682" y="816468"/>
            <a:ext cx="931285" cy="576374"/>
          </a:xfrm>
          <a:prstGeom prst="rect">
            <a:avLst/>
          </a:prstGeom>
        </p:spPr>
      </p:pic>
      <p:pic>
        <p:nvPicPr>
          <p:cNvPr id="3" name="그림 2" descr="B_대외용_일반간지라인.png"/>
          <p:cNvPicPr>
            <a:picLocks noChangeAspect="1"/>
          </p:cNvPicPr>
          <p:nvPr userDrawn="1"/>
        </p:nvPicPr>
        <p:blipFill>
          <a:blip r:embed="rId3" cstate="print"/>
          <a:srcRect t="43753" r="44230" b="41671"/>
          <a:stretch>
            <a:fillRect/>
          </a:stretch>
        </p:blipFill>
        <p:spPr>
          <a:xfrm>
            <a:off x="5" y="1002225"/>
            <a:ext cx="10342075" cy="547912"/>
          </a:xfrm>
          <a:prstGeom prst="rect">
            <a:avLst/>
          </a:prstGeom>
          <a:effectLst/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2FCB20F-B542-E4FA-3ED2-184CBCB82381}"/>
              </a:ext>
            </a:extLst>
          </p:cNvPr>
          <p:cNvSpPr txBox="1"/>
          <p:nvPr userDrawn="1"/>
        </p:nvSpPr>
        <p:spPr>
          <a:xfrm>
            <a:off x="352833" y="238148"/>
            <a:ext cx="3392922" cy="469680"/>
          </a:xfrm>
          <a:prstGeom prst="rect">
            <a:avLst/>
          </a:prstGeom>
          <a:noFill/>
          <a:effectLst>
            <a:reflection blurRad="6350" stA="50000" endA="300" endPos="90000" dir="5400000" sy="-100000" algn="bl" rotWithShape="0"/>
          </a:effectLst>
        </p:spPr>
        <p:txBody>
          <a:bodyPr wrap="square" lIns="0" rtlCol="0">
            <a:spAutoFit/>
          </a:bodyPr>
          <a:lstStyle>
            <a:defPPr>
              <a:defRPr lang="ko-KR"/>
            </a:defPPr>
            <a:lvl1pPr>
              <a:defRPr sz="3200" b="1" spc="-300">
                <a:gradFill flip="none" rotWithShape="1">
                  <a:gsLst>
                    <a:gs pos="31000">
                      <a:srgbClr val="4DB948"/>
                    </a:gs>
                    <a:gs pos="77000">
                      <a:srgbClr val="003975"/>
                    </a:gs>
                  </a:gsLst>
                  <a:lin ang="0" scaled="1"/>
                  <a:tileRect/>
                </a:gradFill>
                <a:latin typeface="Kyobo SemiBold" panose="020B0600000101010101" pitchFamily="34" charset="-127"/>
                <a:ea typeface="Kyobo SemiBold" panose="020B0600000101010101" pitchFamily="34" charset="-127"/>
              </a:defRPr>
            </a:lvl1pPr>
          </a:lstStyle>
          <a:p>
            <a:pPr marL="0" marR="0" lvl="0" indent="0" algn="l" defTabSz="77472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452" b="1" i="0" u="none" strike="noStrike" kern="1200" cap="none" spc="-115" normalizeH="0" baseline="0" noProof="0" dirty="0" smtClean="0">
                <a:ln>
                  <a:noFill/>
                </a:ln>
                <a:gradFill flip="none" rotWithShape="1">
                  <a:gsLst>
                    <a:gs pos="31000">
                      <a:srgbClr val="FD2906"/>
                    </a:gs>
                    <a:gs pos="77000">
                      <a:prstClr val="black"/>
                    </a:gs>
                  </a:gsLst>
                  <a:lin ang="10800000" scaled="1"/>
                  <a:tileRect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Contents</a:t>
            </a:r>
            <a:endParaRPr kumimoji="0" lang="ko-KR" altLang="en-US" sz="2452" b="1" i="0" u="none" strike="noStrike" kern="1200" cap="none" spc="-115" normalizeH="0" baseline="0" noProof="0" dirty="0" smtClean="0">
              <a:ln>
                <a:noFill/>
              </a:ln>
              <a:gradFill flip="none" rotWithShape="1">
                <a:gsLst>
                  <a:gs pos="31000">
                    <a:srgbClr val="FD2906"/>
                  </a:gs>
                  <a:gs pos="77000">
                    <a:prstClr val="black"/>
                  </a:gs>
                </a:gsLst>
                <a:lin ang="10800000" scaled="1"/>
                <a:tileRect/>
              </a:gra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" name="직사각형 3"/>
          <p:cNvSpPr/>
          <p:nvPr userDrawn="1"/>
        </p:nvSpPr>
        <p:spPr>
          <a:xfrm>
            <a:off x="138192" y="6866201"/>
            <a:ext cx="5243634" cy="2956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7472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52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85732" y="6961564"/>
            <a:ext cx="10194249" cy="2111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74288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772" b="1" i="0" u="none" strike="noStrike" kern="1200" cap="none" spc="0" normalizeH="0" baseline="0" noProof="0" dirty="0" smtClean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※ </a:t>
            </a:r>
            <a:r>
              <a:rPr kumimoji="0" lang="ko-KR" altLang="en-US" sz="772" b="1" i="0" u="none" strike="noStrike" kern="1200" cap="none" spc="0" normalizeH="0" baseline="0" noProof="0" dirty="0" smtClean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본 자료는 컨설턴트 교육용으로 </a:t>
            </a:r>
            <a:r>
              <a:rPr kumimoji="0" lang="ko-KR" altLang="en-US" sz="772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환급금</a:t>
            </a:r>
            <a:r>
              <a:rPr kumimoji="0" lang="ko-KR" altLang="en-US" sz="772" b="1" i="0" u="none" strike="noStrike" kern="1200" cap="none" spc="0" normalizeH="0" baseline="0" noProof="0" dirty="0" smtClean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및 보험금 지급의 근거가 될 수 없으며 고객안내자료로 활용할 수 없습니다</a:t>
            </a:r>
            <a:r>
              <a:rPr kumimoji="0" lang="en-US" altLang="ko-KR" sz="772" b="1" i="0" u="none" strike="noStrike" kern="1200" cap="none" spc="0" normalizeH="0" baseline="0" noProof="0" dirty="0" smtClean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772" b="1" i="0" u="none" strike="noStrike" kern="1200" cap="none" spc="0" normalizeH="0" baseline="0" noProof="0" dirty="0">
              <a:ln>
                <a:noFill/>
              </a:ln>
              <a:solidFill>
                <a:srgbClr val="14145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9735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그림 10" descr="B_대외용_일반간지라인.png"/>
          <p:cNvPicPr>
            <a:picLocks noChangeAspect="1"/>
          </p:cNvPicPr>
          <p:nvPr userDrawn="1"/>
        </p:nvPicPr>
        <p:blipFill>
          <a:blip r:embed="rId2" cstate="print"/>
          <a:srcRect t="43753" r="44230" b="41671"/>
          <a:stretch>
            <a:fillRect/>
          </a:stretch>
        </p:blipFill>
        <p:spPr>
          <a:xfrm>
            <a:off x="162054" y="530540"/>
            <a:ext cx="10221784" cy="547912"/>
          </a:xfrm>
          <a:prstGeom prst="rect">
            <a:avLst/>
          </a:prstGeom>
          <a:effectLst/>
        </p:spPr>
      </p:pic>
      <p:sp>
        <p:nvSpPr>
          <p:cNvPr id="2" name="직사각형 1"/>
          <p:cNvSpPr/>
          <p:nvPr userDrawn="1"/>
        </p:nvSpPr>
        <p:spPr>
          <a:xfrm>
            <a:off x="9252303" y="449290"/>
            <a:ext cx="945568" cy="20727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7472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51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4" name="그림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19168" y="658252"/>
            <a:ext cx="778703" cy="481941"/>
          </a:xfrm>
          <a:prstGeom prst="rect">
            <a:avLst/>
          </a:prstGeom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9530410" y="421803"/>
            <a:ext cx="611838" cy="2347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4258" tIns="37130" rIns="74258" bIns="37130"/>
          <a:lstStyle/>
          <a:p>
            <a:pPr marL="0" marR="0" lvl="0" indent="0" algn="r" defTabSz="74302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73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fld id="{16B1565D-7790-4B20-9C8C-6E71895AF331}" type="slidenum">
              <a:rPr kumimoji="0" lang="ko-KR" altLang="en-US" sz="1073" b="1" i="0" u="none" strike="noStrike" kern="1200" cap="none" spc="0" normalizeH="0" baseline="0" noProof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pPr marL="0" marR="0" lvl="0" indent="0" algn="r" defTabSz="74302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073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932730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3649" userDrawn="1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1" y="6"/>
            <a:ext cx="10383125" cy="7255815"/>
          </a:xfrm>
          <a:prstGeom prst="rect">
            <a:avLst/>
          </a:prstGeom>
        </p:spPr>
      </p:pic>
      <p:sp>
        <p:nvSpPr>
          <p:cNvPr id="9" name="Rounded Rectangle 2"/>
          <p:cNvSpPr/>
          <p:nvPr userDrawn="1"/>
        </p:nvSpPr>
        <p:spPr>
          <a:xfrm>
            <a:off x="321693" y="933705"/>
            <a:ext cx="9750680" cy="462179"/>
          </a:xfrm>
          <a:prstGeom prst="roundRect">
            <a:avLst>
              <a:gd name="adj" fmla="val 3968"/>
            </a:avLst>
          </a:prstGeom>
          <a:solidFill>
            <a:srgbClr val="28B432">
              <a:alpha val="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062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0" name="사다리꼴 9"/>
          <p:cNvSpPr/>
          <p:nvPr userDrawn="1"/>
        </p:nvSpPr>
        <p:spPr>
          <a:xfrm rot="10800000" flipV="1">
            <a:off x="184258" y="1395882"/>
            <a:ext cx="10015465" cy="179696"/>
          </a:xfrm>
          <a:prstGeom prst="trapezoid">
            <a:avLst>
              <a:gd name="adj" fmla="val 33955"/>
            </a:avLst>
          </a:prstGeom>
          <a:solidFill>
            <a:srgbClr val="141450">
              <a:alpha val="5000"/>
            </a:srgbClr>
          </a:solidFill>
          <a:ln w="2540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7472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52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1" name="직사각형 10"/>
          <p:cNvSpPr/>
          <p:nvPr userDrawn="1"/>
        </p:nvSpPr>
        <p:spPr>
          <a:xfrm>
            <a:off x="184261" y="1579215"/>
            <a:ext cx="10015465" cy="5337352"/>
          </a:xfrm>
          <a:prstGeom prst="rect">
            <a:avLst/>
          </a:prstGeom>
          <a:noFill/>
          <a:ln w="6350">
            <a:solidFill>
              <a:srgbClr val="141450">
                <a:alpha val="50000"/>
              </a:srgb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7472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52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2" name="Rounded Rectangle 3"/>
          <p:cNvSpPr/>
          <p:nvPr userDrawn="1"/>
        </p:nvSpPr>
        <p:spPr>
          <a:xfrm>
            <a:off x="321694" y="1272957"/>
            <a:ext cx="134470" cy="126565"/>
          </a:xfrm>
          <a:prstGeom prst="roundRect">
            <a:avLst>
              <a:gd name="adj" fmla="val 50000"/>
            </a:avLst>
          </a:prstGeom>
          <a:solidFill>
            <a:sysClr val="window" lastClr="FFFFFF">
              <a:alpha val="41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062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44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3" name="Half Frame 4"/>
          <p:cNvSpPr/>
          <p:nvPr userDrawn="1"/>
        </p:nvSpPr>
        <p:spPr>
          <a:xfrm rot="5400000">
            <a:off x="9561934" y="1143373"/>
            <a:ext cx="658058" cy="529234"/>
          </a:xfrm>
          <a:prstGeom prst="halfFrame">
            <a:avLst>
              <a:gd name="adj1" fmla="val 23728"/>
              <a:gd name="adj2" fmla="val 24642"/>
            </a:avLst>
          </a:prstGeom>
          <a:solidFill>
            <a:sysClr val="window" lastClr="FFFFFF">
              <a:alpha val="23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062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44" b="0" i="0" u="none" strike="noStrike" kern="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96873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75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</p:bld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1" y="6"/>
            <a:ext cx="10383125" cy="7255815"/>
          </a:xfrm>
          <a:prstGeom prst="rect">
            <a:avLst/>
          </a:prstGeom>
        </p:spPr>
      </p:pic>
      <p:sp>
        <p:nvSpPr>
          <p:cNvPr id="9" name="Rounded Rectangle 2"/>
          <p:cNvSpPr/>
          <p:nvPr userDrawn="1"/>
        </p:nvSpPr>
        <p:spPr>
          <a:xfrm>
            <a:off x="184260" y="1065797"/>
            <a:ext cx="2962944" cy="5772213"/>
          </a:xfrm>
          <a:prstGeom prst="roundRect">
            <a:avLst>
              <a:gd name="adj" fmla="val 3968"/>
            </a:avLst>
          </a:prstGeom>
          <a:solidFill>
            <a:srgbClr val="28B432">
              <a:alpha val="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062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0" name="사다리꼴 9"/>
          <p:cNvSpPr/>
          <p:nvPr userDrawn="1"/>
        </p:nvSpPr>
        <p:spPr>
          <a:xfrm rot="5400000" flipV="1">
            <a:off x="296054" y="3796643"/>
            <a:ext cx="5971077" cy="268776"/>
          </a:xfrm>
          <a:prstGeom prst="trapezoid">
            <a:avLst>
              <a:gd name="adj" fmla="val 33955"/>
            </a:avLst>
          </a:prstGeom>
          <a:solidFill>
            <a:srgbClr val="141450">
              <a:alpha val="5000"/>
            </a:srgbClr>
          </a:solidFill>
          <a:ln w="2540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7472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52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1" name="직사각형 10"/>
          <p:cNvSpPr/>
          <p:nvPr userDrawn="1"/>
        </p:nvSpPr>
        <p:spPr>
          <a:xfrm>
            <a:off x="3415979" y="945491"/>
            <a:ext cx="6783747" cy="5971076"/>
          </a:xfrm>
          <a:prstGeom prst="rect">
            <a:avLst/>
          </a:prstGeom>
          <a:noFill/>
          <a:ln w="6350">
            <a:solidFill>
              <a:srgbClr val="141450">
                <a:alpha val="50000"/>
              </a:srgb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7472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52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2" name="Rounded Rectangle 3"/>
          <p:cNvSpPr/>
          <p:nvPr userDrawn="1"/>
        </p:nvSpPr>
        <p:spPr>
          <a:xfrm>
            <a:off x="321694" y="1272955"/>
            <a:ext cx="118853" cy="5358348"/>
          </a:xfrm>
          <a:prstGeom prst="roundRect">
            <a:avLst>
              <a:gd name="adj" fmla="val 50000"/>
            </a:avLst>
          </a:prstGeom>
          <a:solidFill>
            <a:sysClr val="window" lastClr="FFFFFF">
              <a:alpha val="41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062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44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3" name="Half Frame 4"/>
          <p:cNvSpPr/>
          <p:nvPr userDrawn="1"/>
        </p:nvSpPr>
        <p:spPr>
          <a:xfrm rot="5400000">
            <a:off x="2420040" y="1269054"/>
            <a:ext cx="658058" cy="529234"/>
          </a:xfrm>
          <a:prstGeom prst="halfFrame">
            <a:avLst>
              <a:gd name="adj1" fmla="val 23728"/>
              <a:gd name="adj2" fmla="val 24642"/>
            </a:avLst>
          </a:prstGeom>
          <a:solidFill>
            <a:sysClr val="window" lastClr="FFFFFF">
              <a:alpha val="23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062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44" b="0" i="0" u="none" strike="noStrike" kern="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480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1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500"/>
                            </p:stCondLst>
                            <p:childTnLst>
                              <p:par>
                                <p:cTn id="1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" y="693"/>
            <a:ext cx="10387754" cy="7257341"/>
          </a:xfrm>
          <a:prstGeom prst="rect">
            <a:avLst/>
          </a:prstGeom>
        </p:spPr>
      </p:pic>
      <p:sp>
        <p:nvSpPr>
          <p:cNvPr id="4" name="타원 3"/>
          <p:cNvSpPr/>
          <p:nvPr userDrawn="1"/>
        </p:nvSpPr>
        <p:spPr>
          <a:xfrm>
            <a:off x="7494790" y="636461"/>
            <a:ext cx="2830694" cy="285625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>
            <a:outerShdw blurRad="342900" dist="482600" dir="5400000" sx="90000" sy="90000" algn="t" rotWithShape="0">
              <a:prstClr val="black">
                <a:alpha val="20000"/>
              </a:prstClr>
            </a:outerShdw>
          </a:effectLst>
        </p:spPr>
        <p:txBody>
          <a:bodyPr lIns="86918" tIns="43457" rIns="86918" bIns="43457" rtlCol="0" anchor="ctr"/>
          <a:lstStyle/>
          <a:p>
            <a:pPr algn="ctr" defTabSz="869148">
              <a:defRPr/>
            </a:pPr>
            <a:endParaRPr lang="ko-KR" altLang="en-US" sz="1200" kern="0" dirty="0">
              <a:solidFill>
                <a:srgbClr val="FFFFFF"/>
              </a:solidFill>
              <a:ea typeface="나눔고딕" panose="020D0604000000000000" pitchFamily="50" charset="-127"/>
            </a:endParaRPr>
          </a:p>
        </p:txBody>
      </p:sp>
      <p:sp>
        <p:nvSpPr>
          <p:cNvPr id="6" name="타원 5"/>
          <p:cNvSpPr/>
          <p:nvPr userDrawn="1"/>
        </p:nvSpPr>
        <p:spPr>
          <a:xfrm>
            <a:off x="8194762" y="3933618"/>
            <a:ext cx="2130741" cy="2149978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>
            <a:outerShdw blurRad="381000" dist="419100" dir="5400000" sx="90000" sy="90000" algn="t" rotWithShape="0">
              <a:prstClr val="black">
                <a:alpha val="20000"/>
              </a:prstClr>
            </a:outerShdw>
          </a:effectLst>
        </p:spPr>
        <p:txBody>
          <a:bodyPr lIns="86918" tIns="43457" rIns="86918" bIns="43457" rtlCol="0" anchor="ctr"/>
          <a:lstStyle/>
          <a:p>
            <a:pPr algn="ctr" defTabSz="869148">
              <a:defRPr/>
            </a:pPr>
            <a:endParaRPr lang="ko-KR" altLang="en-US" sz="1200" kern="0" dirty="0">
              <a:solidFill>
                <a:srgbClr val="FFFFFF"/>
              </a:solidFill>
              <a:ea typeface="나눔고딕" panose="020D0604000000000000" pitchFamily="50" charset="-127"/>
            </a:endParaRPr>
          </a:p>
        </p:txBody>
      </p:sp>
      <p:sp>
        <p:nvSpPr>
          <p:cNvPr id="8" name="타원 7"/>
          <p:cNvSpPr/>
          <p:nvPr userDrawn="1"/>
        </p:nvSpPr>
        <p:spPr>
          <a:xfrm>
            <a:off x="5775811" y="5245596"/>
            <a:ext cx="494227" cy="498689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>
            <a:outerShdw blurRad="177800" dist="127000" dir="5400000" algn="t" rotWithShape="0">
              <a:prstClr val="black">
                <a:alpha val="17000"/>
              </a:prstClr>
            </a:outerShdw>
          </a:effectLst>
        </p:spPr>
        <p:txBody>
          <a:bodyPr lIns="86918" tIns="43457" rIns="86918" bIns="43457" rtlCol="0" anchor="ctr"/>
          <a:lstStyle/>
          <a:p>
            <a:pPr algn="ctr" defTabSz="869148">
              <a:defRPr/>
            </a:pPr>
            <a:endParaRPr lang="ko-KR" altLang="en-US" sz="1200" kern="0" dirty="0">
              <a:solidFill>
                <a:srgbClr val="FFFFFF"/>
              </a:solidFill>
              <a:ea typeface="나눔고딕" panose="020D0604000000000000" pitchFamily="50" charset="-127"/>
            </a:endParaRPr>
          </a:p>
        </p:txBody>
      </p:sp>
      <p:sp>
        <p:nvSpPr>
          <p:cNvPr id="9" name="타원 8"/>
          <p:cNvSpPr/>
          <p:nvPr userDrawn="1"/>
        </p:nvSpPr>
        <p:spPr>
          <a:xfrm>
            <a:off x="4381583" y="5451916"/>
            <a:ext cx="1513570" cy="1527236"/>
          </a:xfrm>
          <a:prstGeom prst="ellipse">
            <a:avLst/>
          </a:prstGeom>
          <a:solidFill>
            <a:srgbClr val="99FF99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txBody>
          <a:bodyPr vert="horz" lIns="86918" tIns="43457" rIns="86918" bIns="43457" rtlCol="0" anchor="ctr">
            <a:normAutofit/>
          </a:bodyPr>
          <a:lstStyle/>
          <a:p>
            <a:pPr algn="ctr" defTabSz="869148">
              <a:lnSpc>
                <a:spcPct val="90000"/>
              </a:lnSpc>
              <a:spcBef>
                <a:spcPts val="955"/>
              </a:spcBef>
              <a:defRPr/>
            </a:pPr>
            <a:endParaRPr lang="ko-KR" altLang="en-US" sz="1200" kern="0" dirty="0">
              <a:solidFill>
                <a:srgbClr val="FFFFFF"/>
              </a:solidFill>
              <a:ea typeface="나눔고딕" panose="020D0604000000000000" pitchFamily="50" charset="-127"/>
            </a:endParaRPr>
          </a:p>
        </p:txBody>
      </p:sp>
      <p:sp>
        <p:nvSpPr>
          <p:cNvPr id="10" name="그림 개체 틀 56"/>
          <p:cNvSpPr txBox="1">
            <a:spLocks/>
          </p:cNvSpPr>
          <p:nvPr userDrawn="1"/>
        </p:nvSpPr>
        <p:spPr>
          <a:xfrm>
            <a:off x="8553608" y="1820758"/>
            <a:ext cx="1449315" cy="146240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 w="25400" cap="flat" cmpd="sng" algn="ctr">
            <a:noFill/>
            <a:prstDash val="solid"/>
            <a:miter lim="800000"/>
          </a:ln>
          <a:effectLst>
            <a:outerShdw blurRad="393700" dist="177800" dir="5400000" algn="t" rotWithShape="0">
              <a:prstClr val="black">
                <a:alpha val="23000"/>
              </a:prstClr>
            </a:outerShdw>
          </a:effectLst>
        </p:spPr>
        <p:txBody>
          <a:bodyPr vert="horz" lIns="87032" tIns="43518" rIns="87032" bIns="43518" rtlCol="0" anchor="ctr">
            <a:normAutofit/>
          </a:bodyPr>
          <a:lstStyle>
            <a:lvl1pPr marL="0" indent="0" algn="l" defTabSz="913424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ko-KR" altLang="en-US" sz="800" kern="1200" dirty="0">
                <a:solidFill>
                  <a:srgbClr val="B05989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defRPr>
            </a:lvl1pPr>
            <a:lvl2pPr marL="685067" indent="-228355" algn="l" defTabSz="913424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1778" indent="-228355" algn="l" defTabSz="913424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98488" indent="-228355" algn="l" defTabSz="913424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5200" indent="-228355" algn="l" defTabSz="913424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1912" indent="-228355" algn="l" defTabSz="913424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68622" indent="-228355" algn="l" defTabSz="913424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5333" indent="-228355" algn="l" defTabSz="913424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2043" indent="-228355" algn="l" defTabSz="913424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sz="800"/>
          </a:p>
        </p:txBody>
      </p:sp>
      <p:sp>
        <p:nvSpPr>
          <p:cNvPr id="11" name="타원 10"/>
          <p:cNvSpPr/>
          <p:nvPr userDrawn="1"/>
        </p:nvSpPr>
        <p:spPr>
          <a:xfrm>
            <a:off x="4842257" y="1624665"/>
            <a:ext cx="4076652" cy="4037283"/>
          </a:xfrm>
          <a:prstGeom prst="ellipse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131" tIns="43562" rIns="87131" bIns="43562" rtlCol="0" anchor="ctr"/>
          <a:lstStyle/>
          <a:p>
            <a:pPr algn="ctr" defTabSz="871242"/>
            <a:endParaRPr lang="ko-KR" altLang="en-US" sz="1984" dirty="0">
              <a:solidFill>
                <a:prstClr val="white"/>
              </a:solidFill>
            </a:endParaRPr>
          </a:p>
        </p:txBody>
      </p:sp>
      <p:sp>
        <p:nvSpPr>
          <p:cNvPr id="13" name="직사각형 12"/>
          <p:cNvSpPr/>
          <p:nvPr userDrawn="1"/>
        </p:nvSpPr>
        <p:spPr>
          <a:xfrm>
            <a:off x="9079046" y="29012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algn="ctr"/>
            <a:r>
              <a:rPr lang="ko-KR" altLang="en-US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나눔고딕" pitchFamily="50" charset="-127"/>
                <a:ea typeface="나눔고딕" pitchFamily="50" charset="-127"/>
              </a:rPr>
              <a:t>사내교육용</a:t>
            </a:r>
            <a:r>
              <a:rPr lang="en-US" altLang="ko-KR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나눔고딕" pitchFamily="50" charset="-127"/>
                <a:ea typeface="나눔고딕" pitchFamily="50" charset="-127"/>
              </a:rPr>
              <a:t>(</a:t>
            </a:r>
            <a:r>
              <a:rPr lang="ko-KR" altLang="en-US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나눔고딕" pitchFamily="50" charset="-127"/>
                <a:ea typeface="나눔고딕" pitchFamily="50" charset="-127"/>
              </a:rPr>
              <a:t>대외비</a:t>
            </a:r>
            <a:r>
              <a:rPr lang="en-US" altLang="ko-KR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나눔고딕" pitchFamily="50" charset="-127"/>
                <a:ea typeface="나눔고딕" pitchFamily="50" charset="-127"/>
              </a:rPr>
              <a:t>)</a:t>
            </a:r>
            <a:r>
              <a:rPr lang="ko-KR" altLang="en-US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나눔고딕" pitchFamily="50" charset="-127"/>
                <a:ea typeface="나눔고딕" pitchFamily="50" charset="-127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864904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6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3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  <p:bldP spid="8" grpId="0" animBg="1"/>
      <p:bldP spid="9" grpId="0" animBg="1"/>
      <p:bldP spid="10" grpId="0" animBg="1"/>
    </p:bld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1" y="6"/>
            <a:ext cx="10383125" cy="72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20080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 userDrawn="1"/>
        </p:nvSpPr>
        <p:spPr>
          <a:xfrm>
            <a:off x="1" y="2"/>
            <a:ext cx="4255815" cy="6751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0303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36756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그림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" y="-44971"/>
            <a:ext cx="10387752" cy="7060395"/>
          </a:xfrm>
          <a:prstGeom prst="rect">
            <a:avLst/>
          </a:prstGeom>
        </p:spPr>
      </p:pic>
      <p:sp>
        <p:nvSpPr>
          <p:cNvPr id="4" name="직사각형 3"/>
          <p:cNvSpPr/>
          <p:nvPr userDrawn="1"/>
        </p:nvSpPr>
        <p:spPr>
          <a:xfrm>
            <a:off x="9079072" y="29012"/>
            <a:ext cx="1277157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827" tIns="35827" rIns="35827" bIns="35827" anchor="ctr" anchorCtr="0">
            <a:noAutofit/>
          </a:bodyPr>
          <a:lstStyle/>
          <a:p>
            <a:pPr marL="0" marR="0" lvl="0" indent="0" algn="ctr" defTabSz="100303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5722492" y="6990854"/>
            <a:ext cx="4598588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56993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1" lang="ko-KR" altLang="ko-KR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사내교육용</a:t>
            </a:r>
            <a:r>
              <a:rPr kumimoji="1" lang="ko-KR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1" lang="ko-KR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자료</a:t>
            </a:r>
            <a:r>
              <a:rPr kumimoji="1" lang="ko-KR" alt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로서 </a:t>
            </a:r>
            <a:r>
              <a:rPr kumimoji="1" lang="ko-KR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고객 </a:t>
            </a:r>
            <a:r>
              <a:rPr kumimoji="1" lang="ko-KR" altLang="ko-KR" sz="10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제안용</a:t>
            </a:r>
            <a:r>
              <a:rPr kumimoji="1" lang="en-US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1" lang="ko-KR" alt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및</a:t>
            </a:r>
            <a:r>
              <a:rPr kumimoji="1" lang="en-US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1" lang="ko-KR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카페</a:t>
            </a:r>
            <a:r>
              <a:rPr kumimoji="1" lang="en-US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,</a:t>
            </a:r>
            <a:r>
              <a:rPr kumimoji="1" lang="ko-KR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블로그 등</a:t>
            </a:r>
            <a:r>
              <a:rPr kumimoji="1" lang="ko-KR" alt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의</a:t>
            </a:r>
            <a:r>
              <a:rPr kumimoji="1" lang="ko-KR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1" lang="ko-KR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인터넷 게시물로 등재 불가</a:t>
            </a:r>
            <a:endParaRPr kumimoji="1" lang="ko-KR" altLang="ko-KR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09191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/>
          <p:cNvSpPr/>
          <p:nvPr userDrawn="1"/>
        </p:nvSpPr>
        <p:spPr>
          <a:xfrm>
            <a:off x="-5358" y="1591"/>
            <a:ext cx="10403252" cy="725328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0303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7" name="그룹 1001"/>
          <p:cNvGrpSpPr/>
          <p:nvPr userDrawn="1"/>
        </p:nvGrpSpPr>
        <p:grpSpPr>
          <a:xfrm>
            <a:off x="70843" y="387079"/>
            <a:ext cx="10155558" cy="6784673"/>
            <a:chOff x="689983" y="1602755"/>
            <a:chExt cx="16505749" cy="8511531"/>
          </a:xfrm>
        </p:grpSpPr>
        <p:pic>
          <p:nvPicPr>
            <p:cNvPr id="8" name="Object 2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89983" y="1602755"/>
              <a:ext cx="16505749" cy="8511531"/>
            </a:xfrm>
            <a:prstGeom prst="rect">
              <a:avLst/>
            </a:prstGeom>
          </p:spPr>
        </p:pic>
      </p:grpSp>
      <p:sp>
        <p:nvSpPr>
          <p:cNvPr id="9" name="직사각형 8"/>
          <p:cNvSpPr/>
          <p:nvPr userDrawn="1"/>
        </p:nvSpPr>
        <p:spPr>
          <a:xfrm>
            <a:off x="134515" y="99045"/>
            <a:ext cx="10156668" cy="6823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0303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9207524" y="171053"/>
            <a:ext cx="879308" cy="253916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58474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05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사내교육용</a:t>
            </a:r>
            <a:endParaRPr kumimoji="1" lang="ko-KR" altLang="en-US" sz="105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나눔고딕 ExtraBold" panose="020D0904000000000000" pitchFamily="50" charset="-127"/>
              <a:ea typeface="나눔고딕 ExtraBold" panose="020D0904000000000000" pitchFamily="50" charset="-127"/>
              <a:cs typeface="+mn-cs"/>
            </a:endParaRPr>
          </a:p>
        </p:txBody>
      </p:sp>
      <p:sp>
        <p:nvSpPr>
          <p:cNvPr id="13" name="직사각형 12"/>
          <p:cNvSpPr/>
          <p:nvPr userDrawn="1"/>
        </p:nvSpPr>
        <p:spPr>
          <a:xfrm>
            <a:off x="134515" y="6922127"/>
            <a:ext cx="10156667" cy="178157"/>
          </a:xfrm>
          <a:prstGeom prst="rect">
            <a:avLst/>
          </a:prstGeom>
          <a:solidFill>
            <a:srgbClr val="F3F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0303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5722492" y="6867799"/>
            <a:ext cx="4598588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56993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1" lang="ko-KR" altLang="ko-KR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사내교육용</a:t>
            </a:r>
            <a:r>
              <a:rPr kumimoji="1" lang="ko-KR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1" lang="ko-KR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자료</a:t>
            </a:r>
            <a:r>
              <a:rPr kumimoji="1" lang="ko-KR" alt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로서 </a:t>
            </a:r>
            <a:r>
              <a:rPr kumimoji="1" lang="ko-KR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고객 </a:t>
            </a:r>
            <a:r>
              <a:rPr kumimoji="1" lang="ko-KR" altLang="ko-KR" sz="10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제안용</a:t>
            </a:r>
            <a:r>
              <a:rPr kumimoji="1" lang="en-US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1" lang="ko-KR" alt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및</a:t>
            </a:r>
            <a:r>
              <a:rPr kumimoji="1" lang="en-US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1" lang="ko-KR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카페</a:t>
            </a:r>
            <a:r>
              <a:rPr kumimoji="1" lang="en-US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,</a:t>
            </a:r>
            <a:r>
              <a:rPr kumimoji="1" lang="ko-KR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블로그 등</a:t>
            </a:r>
            <a:r>
              <a:rPr kumimoji="1" lang="ko-KR" alt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의</a:t>
            </a:r>
            <a:r>
              <a:rPr kumimoji="1" lang="ko-KR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1" lang="ko-KR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인터넷 게시물로 등재 불가</a:t>
            </a:r>
            <a:endParaRPr kumimoji="1" lang="ko-KR" altLang="ko-KR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40064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" y="688"/>
            <a:ext cx="10387751" cy="7257341"/>
          </a:xfrm>
          <a:prstGeom prst="rect">
            <a:avLst/>
          </a:prstGeom>
        </p:spPr>
      </p:pic>
      <p:sp>
        <p:nvSpPr>
          <p:cNvPr id="4" name="직사각형 3"/>
          <p:cNvSpPr/>
          <p:nvPr userDrawn="1"/>
        </p:nvSpPr>
        <p:spPr>
          <a:xfrm>
            <a:off x="9079046" y="29012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5722492" y="6990854"/>
            <a:ext cx="4598588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56993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1" lang="ko-KR" altLang="ko-KR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사내교육용</a:t>
            </a:r>
            <a:r>
              <a:rPr kumimoji="1" lang="ko-KR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1" lang="ko-KR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자료</a:t>
            </a:r>
            <a:r>
              <a:rPr kumimoji="1" lang="ko-KR" alt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로서 </a:t>
            </a:r>
            <a:r>
              <a:rPr kumimoji="1" lang="ko-KR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고객 </a:t>
            </a:r>
            <a:r>
              <a:rPr kumimoji="1" lang="ko-KR" altLang="ko-KR" sz="10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제안용</a:t>
            </a:r>
            <a:r>
              <a:rPr kumimoji="1" lang="en-US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1" lang="ko-KR" alt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및</a:t>
            </a:r>
            <a:r>
              <a:rPr kumimoji="1" lang="en-US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1" lang="ko-KR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카페</a:t>
            </a:r>
            <a:r>
              <a:rPr kumimoji="1" lang="en-US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,</a:t>
            </a:r>
            <a:r>
              <a:rPr kumimoji="1" lang="ko-KR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블로그 등</a:t>
            </a:r>
            <a:r>
              <a:rPr kumimoji="1" lang="ko-KR" alt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의</a:t>
            </a:r>
            <a:r>
              <a:rPr kumimoji="1" lang="ko-KR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1" lang="ko-KR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인터넷 게시물로 등재 불가</a:t>
            </a:r>
            <a:endParaRPr kumimoji="1" lang="ko-KR" altLang="ko-KR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66813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슬라이드 번호 개체 틀 2"/>
          <p:cNvSpPr txBox="1">
            <a:spLocks/>
          </p:cNvSpPr>
          <p:nvPr userDrawn="1"/>
        </p:nvSpPr>
        <p:spPr>
          <a:xfrm>
            <a:off x="9691481" y="6967999"/>
            <a:ext cx="631527" cy="322319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91202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0" lang="en-US" altLang="ko-KR" sz="1200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912025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2855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" y="688"/>
            <a:ext cx="10387752" cy="7257341"/>
          </a:xfrm>
          <a:prstGeom prst="rect">
            <a:avLst/>
          </a:prstGeom>
        </p:spPr>
      </p:pic>
      <p:sp>
        <p:nvSpPr>
          <p:cNvPr id="4" name="직사각형 3"/>
          <p:cNvSpPr/>
          <p:nvPr userDrawn="1"/>
        </p:nvSpPr>
        <p:spPr>
          <a:xfrm>
            <a:off x="9079046" y="29012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  <p:sp>
        <p:nvSpPr>
          <p:cNvPr id="6" name="슬라이드 번호 개체 틀 2"/>
          <p:cNvSpPr txBox="1">
            <a:spLocks/>
          </p:cNvSpPr>
          <p:nvPr userDrawn="1"/>
        </p:nvSpPr>
        <p:spPr>
          <a:xfrm>
            <a:off x="9691481" y="6967999"/>
            <a:ext cx="631527" cy="322319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91202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0" lang="en-US" altLang="ko-KR" sz="1200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912025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83831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/>
          <p:cNvSpPr/>
          <p:nvPr userDrawn="1"/>
        </p:nvSpPr>
        <p:spPr>
          <a:xfrm>
            <a:off x="9079046" y="29012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699462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 userDrawn="1"/>
        </p:nvSpPr>
        <p:spPr>
          <a:xfrm>
            <a:off x="9079046" y="29012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800345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388744" cy="72582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슬라이드 번호 개체 틀 5"/>
          <p:cNvSpPr txBox="1">
            <a:spLocks noChangeAspect="1"/>
          </p:cNvSpPr>
          <p:nvPr userDrawn="1"/>
        </p:nvSpPr>
        <p:spPr>
          <a:xfrm>
            <a:off x="9673040" y="6930854"/>
            <a:ext cx="749459" cy="379537"/>
          </a:xfrm>
          <a:prstGeom prst="rect">
            <a:avLst/>
          </a:prstGeom>
        </p:spPr>
        <p:txBody>
          <a:bodyPr lIns="92123" tIns="46061" rIns="92123" bIns="46061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2124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36B23E-0D7D-4474-99A0-8847B099930A}" type="slidenum">
              <a:rPr kumimoji="0" lang="ko-KR" altLang="en-US" sz="1133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92124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1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40879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 descr="img_university_program_03.jpg"/>
          <p:cNvPicPr>
            <a:picLocks noChangeAspect="1"/>
          </p:cNvPicPr>
          <p:nvPr userDrawn="1"/>
        </p:nvPicPr>
        <p:blipFill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lum brigh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3616661"/>
            <a:ext cx="10383839" cy="3671027"/>
          </a:xfrm>
          <a:prstGeom prst="rect">
            <a:avLst/>
          </a:prstGeom>
        </p:spPr>
      </p:pic>
      <p:sp>
        <p:nvSpPr>
          <p:cNvPr id="4" name="직사각형 3"/>
          <p:cNvSpPr/>
          <p:nvPr userDrawn="1"/>
        </p:nvSpPr>
        <p:spPr>
          <a:xfrm>
            <a:off x="2" y="3"/>
            <a:ext cx="10383838" cy="37655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076" tIns="40037" rIns="80076" bIns="40037" rtlCol="0" anchor="ctr"/>
          <a:lstStyle/>
          <a:p>
            <a:pPr algn="ctr" defTabSz="913573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984" dirty="0">
              <a:solidFill>
                <a:prstClr val="white"/>
              </a:solidFill>
            </a:endParaRPr>
          </a:p>
        </p:txBody>
      </p:sp>
      <p:cxnSp>
        <p:nvCxnSpPr>
          <p:cNvPr id="7" name="직선 연결선 6"/>
          <p:cNvCxnSpPr/>
          <p:nvPr userDrawn="1"/>
        </p:nvCxnSpPr>
        <p:spPr>
          <a:xfrm flipH="1">
            <a:off x="296565" y="2246214"/>
            <a:ext cx="6380792" cy="0"/>
          </a:xfrm>
          <a:prstGeom prst="line">
            <a:avLst/>
          </a:prstGeom>
          <a:ln>
            <a:solidFill>
              <a:srgbClr val="002060"/>
            </a:solidFill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4308" y="4594303"/>
            <a:ext cx="675296" cy="1041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직사각형 7"/>
          <p:cNvSpPr/>
          <p:nvPr userDrawn="1"/>
        </p:nvSpPr>
        <p:spPr>
          <a:xfrm>
            <a:off x="9079046" y="29012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algn="ctr"/>
            <a:r>
              <a:rPr lang="ko-KR" altLang="en-US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나눔고딕" pitchFamily="50" charset="-127"/>
                <a:ea typeface="나눔고딕" pitchFamily="50" charset="-127"/>
              </a:rPr>
              <a:t>사내교육용</a:t>
            </a:r>
            <a:r>
              <a:rPr lang="en-US" altLang="ko-KR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나눔고딕" pitchFamily="50" charset="-127"/>
                <a:ea typeface="나눔고딕" pitchFamily="50" charset="-127"/>
              </a:rPr>
              <a:t>(</a:t>
            </a:r>
            <a:r>
              <a:rPr lang="ko-KR" altLang="en-US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나눔고딕" pitchFamily="50" charset="-127"/>
                <a:ea typeface="나눔고딕" pitchFamily="50" charset="-127"/>
              </a:rPr>
              <a:t>대외비</a:t>
            </a:r>
            <a:r>
              <a:rPr lang="en-US" altLang="ko-KR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나눔고딕" pitchFamily="50" charset="-127"/>
                <a:ea typeface="나눔고딕" pitchFamily="50" charset="-127"/>
              </a:rPr>
              <a:t>)</a:t>
            </a:r>
            <a:r>
              <a:rPr lang="ko-KR" altLang="en-US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나눔고딕" pitchFamily="50" charset="-127"/>
                <a:ea typeface="나눔고딕" pitchFamily="50" charset="-127"/>
              </a:rPr>
              <a:t> </a:t>
            </a:r>
          </a:p>
        </p:txBody>
      </p:sp>
      <p:sp>
        <p:nvSpPr>
          <p:cNvPr id="9" name="슬라이드 번호 개체 틀 2"/>
          <p:cNvSpPr txBox="1">
            <a:spLocks/>
          </p:cNvSpPr>
          <p:nvPr userDrawn="1"/>
        </p:nvSpPr>
        <p:spPr>
          <a:xfrm>
            <a:off x="9691481" y="6967999"/>
            <a:ext cx="631527" cy="322319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algn="r">
              <a:defRPr/>
            </a:pPr>
            <a:fld id="{C518B652-5059-46A7-89D9-3F882A9610B1}" type="slidenum">
              <a:rPr lang="en-US" altLang="ko-KR" sz="1200" b="1" smtClean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나눔고딕" pitchFamily="50" charset="-127"/>
                <a:ea typeface="나눔고딕" pitchFamily="50" charset="-127"/>
              </a:rPr>
              <a:pPr algn="r">
                <a:defRPr/>
              </a:pPr>
              <a:t>‹#›</a:t>
            </a:fld>
            <a:endParaRPr lang="en-US" altLang="ko-KR" sz="1200" b="1" dirty="0">
              <a:solidFill>
                <a:sysClr val="windowText" lastClr="000000">
                  <a:lumMod val="65000"/>
                  <a:lumOff val="35000"/>
                </a:sysClr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" y="28"/>
            <a:ext cx="10388744" cy="72582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1757543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" y="689"/>
            <a:ext cx="10387751" cy="7257341"/>
          </a:xfrm>
          <a:prstGeom prst="rect">
            <a:avLst/>
          </a:prstGeom>
        </p:spPr>
      </p:pic>
      <p:sp>
        <p:nvSpPr>
          <p:cNvPr id="6" name="슬라이드 번호 개체 틀 2"/>
          <p:cNvSpPr txBox="1">
            <a:spLocks/>
          </p:cNvSpPr>
          <p:nvPr userDrawn="1"/>
        </p:nvSpPr>
        <p:spPr>
          <a:xfrm>
            <a:off x="9691481" y="6968000"/>
            <a:ext cx="631527" cy="322319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90116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0" lang="en-US" altLang="ko-KR" sz="1186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901165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186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  <p:sp>
        <p:nvSpPr>
          <p:cNvPr id="4" name="직사각형 3"/>
          <p:cNvSpPr/>
          <p:nvPr userDrawn="1"/>
        </p:nvSpPr>
        <p:spPr>
          <a:xfrm>
            <a:off x="9079046" y="29012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478" tIns="35478" rIns="35478" bIns="35478" anchor="ctr" anchorCtr="0">
            <a:noAutofit/>
          </a:bodyPr>
          <a:lstStyle/>
          <a:p>
            <a:pPr marL="0" marR="0" lvl="0" indent="0" algn="ctr" defTabSz="95484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8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98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98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98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98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6157506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" y="689"/>
            <a:ext cx="10387751" cy="7257341"/>
          </a:xfrm>
          <a:prstGeom prst="rect">
            <a:avLst/>
          </a:prstGeom>
        </p:spPr>
      </p:pic>
      <p:sp>
        <p:nvSpPr>
          <p:cNvPr id="6" name="슬라이드 번호 개체 틀 2"/>
          <p:cNvSpPr txBox="1">
            <a:spLocks/>
          </p:cNvSpPr>
          <p:nvPr userDrawn="1"/>
        </p:nvSpPr>
        <p:spPr>
          <a:xfrm>
            <a:off x="9691481" y="6968000"/>
            <a:ext cx="631527" cy="322319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90116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0" lang="en-US" altLang="ko-KR" sz="1186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901165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186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  <p:sp>
        <p:nvSpPr>
          <p:cNvPr id="4" name="직사각형 3"/>
          <p:cNvSpPr/>
          <p:nvPr userDrawn="1"/>
        </p:nvSpPr>
        <p:spPr>
          <a:xfrm>
            <a:off x="9079046" y="29012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478" tIns="35478" rIns="35478" bIns="35478" anchor="ctr" anchorCtr="0">
            <a:noAutofit/>
          </a:bodyPr>
          <a:lstStyle/>
          <a:p>
            <a:pPr marL="0" marR="0" lvl="0" indent="0" algn="ctr" defTabSz="95484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8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98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98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98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98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  <p:sp>
        <p:nvSpPr>
          <p:cNvPr id="7" name="직사각형 6"/>
          <p:cNvSpPr/>
          <p:nvPr userDrawn="1"/>
        </p:nvSpPr>
        <p:spPr>
          <a:xfrm>
            <a:off x="9079046" y="349232"/>
            <a:ext cx="1277156" cy="265902"/>
          </a:xfrm>
          <a:prstGeom prst="rect">
            <a:avLst/>
          </a:prstGeom>
          <a:ln w="19050">
            <a:solidFill>
              <a:srgbClr val="FF0000"/>
            </a:solidFill>
          </a:ln>
        </p:spPr>
        <p:txBody>
          <a:bodyPr wrap="square" lIns="35478" tIns="35478" rIns="35478" bIns="35478" anchor="ctr" anchorCtr="0">
            <a:noAutofit/>
          </a:bodyPr>
          <a:lstStyle/>
          <a:p>
            <a:pPr marL="0" marR="0" lvl="0" indent="0" algn="ctr" defTabSz="95484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88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슬라이드 노트 참고 </a:t>
            </a:r>
          </a:p>
        </p:txBody>
      </p:sp>
    </p:spTree>
    <p:extLst>
      <p:ext uri="{BB962C8B-B14F-4D97-AF65-F5344CB8AC3E}">
        <p14:creationId xmlns:p14="http://schemas.microsoft.com/office/powerpoint/2010/main" val="71751229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" y="689"/>
            <a:ext cx="10387752" cy="7257341"/>
          </a:xfrm>
          <a:prstGeom prst="rect">
            <a:avLst/>
          </a:prstGeom>
        </p:spPr>
      </p:pic>
      <p:sp>
        <p:nvSpPr>
          <p:cNvPr id="4" name="직사각형 3"/>
          <p:cNvSpPr/>
          <p:nvPr userDrawn="1"/>
        </p:nvSpPr>
        <p:spPr>
          <a:xfrm>
            <a:off x="9079046" y="29012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478" tIns="35478" rIns="35478" bIns="35478" anchor="ctr" anchorCtr="0">
            <a:noAutofit/>
          </a:bodyPr>
          <a:lstStyle/>
          <a:p>
            <a:pPr marL="0" marR="0" lvl="0" indent="0" algn="ctr" defTabSz="95484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8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98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98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98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98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  <p:sp>
        <p:nvSpPr>
          <p:cNvPr id="6" name="슬라이드 번호 개체 틀 2"/>
          <p:cNvSpPr txBox="1">
            <a:spLocks/>
          </p:cNvSpPr>
          <p:nvPr userDrawn="1"/>
        </p:nvSpPr>
        <p:spPr>
          <a:xfrm>
            <a:off x="9691481" y="6968000"/>
            <a:ext cx="631527" cy="322319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90116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0" lang="en-US" altLang="ko-KR" sz="1186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901165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186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271305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/>
          <p:cNvSpPr/>
          <p:nvPr userDrawn="1"/>
        </p:nvSpPr>
        <p:spPr>
          <a:xfrm>
            <a:off x="9079046" y="29012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478" tIns="35478" rIns="35478" bIns="35478" anchor="ctr" anchorCtr="0">
            <a:noAutofit/>
          </a:bodyPr>
          <a:lstStyle/>
          <a:p>
            <a:pPr marL="0" marR="0" lvl="0" indent="0" algn="ctr" defTabSz="95484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8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98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98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98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98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3201966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 userDrawn="1"/>
        </p:nvSpPr>
        <p:spPr>
          <a:xfrm>
            <a:off x="9079046" y="29012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478" tIns="35478" rIns="35478" bIns="35478" anchor="ctr" anchorCtr="0">
            <a:noAutofit/>
          </a:bodyPr>
          <a:lstStyle/>
          <a:p>
            <a:pPr marL="0" marR="0" lvl="0" indent="0" algn="ctr" defTabSz="95484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8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98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98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98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98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5971476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5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44971"/>
            <a:ext cx="10388744" cy="72582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5341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ANSOO\Dropbox\@_Fineart HD\기획팀\모영철 Pro\교보생명 FP브랜딩_PPT서식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2"/>
            <a:ext cx="10383293" cy="7254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1452928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2"/>
          <p:cNvSpPr/>
          <p:nvPr userDrawn="1"/>
        </p:nvSpPr>
        <p:spPr>
          <a:xfrm>
            <a:off x="0" y="0"/>
            <a:ext cx="10383838" cy="58365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5484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6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4" name="그림 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1878" y="1"/>
            <a:ext cx="9901965" cy="3703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49386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ANSOO\Dropbox\@_Fineart HD\기획팀\모영철 Pro\교보생명 FP브랜딩_PPT서식2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383838" cy="7255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46286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ANSOO\Dropbox\@_Fineart HD\기획팀\모영철 Pro\교보생명 FP브랜딩_PPT서식3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383838" cy="7255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39815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 userDrawn="1"/>
        </p:nvSpPr>
        <p:spPr>
          <a:xfrm>
            <a:off x="8278227" y="6448778"/>
            <a:ext cx="1901760" cy="6827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5484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6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3" name="Picture 2" descr="C:\Users\ANSOO\Dropbox\@_Fineart HD\기획팀\모영철 Pro\교보생명 FP브랜딩_PPT서식4.pn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9289" b="2563"/>
          <a:stretch/>
        </p:blipFill>
        <p:spPr bwMode="auto">
          <a:xfrm>
            <a:off x="0" y="6663737"/>
            <a:ext cx="10383838" cy="591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직사각형 3"/>
          <p:cNvSpPr/>
          <p:nvPr userDrawn="1"/>
        </p:nvSpPr>
        <p:spPr>
          <a:xfrm>
            <a:off x="8401471" y="6663742"/>
            <a:ext cx="1856505" cy="5667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5484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6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9" name="직사각형 8"/>
          <p:cNvSpPr/>
          <p:nvPr userDrawn="1"/>
        </p:nvSpPr>
        <p:spPr>
          <a:xfrm>
            <a:off x="410512" y="889751"/>
            <a:ext cx="9541034" cy="2037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5484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6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모서리가 둥근 직사각형 5"/>
          <p:cNvSpPr/>
          <p:nvPr userDrawn="1"/>
        </p:nvSpPr>
        <p:spPr>
          <a:xfrm>
            <a:off x="9045591" y="783747"/>
            <a:ext cx="1186726" cy="194298"/>
          </a:xfrm>
          <a:prstGeom prst="roundRect">
            <a:avLst/>
          </a:prstGeom>
          <a:solidFill>
            <a:srgbClr val="52AD3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6618" rIns="0" bIns="16618" rtlCol="0" anchor="ctr">
            <a:spAutoFit/>
          </a:bodyPr>
          <a:lstStyle/>
          <a:p>
            <a:pPr marL="0" marR="0" lvl="0" indent="0" algn="ctr" defTabSz="95484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23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GA</a:t>
            </a:r>
            <a:r>
              <a:rPr kumimoji="0" lang="ko-KR" altLang="en-US" sz="923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교육용자료</a:t>
            </a:r>
            <a:endParaRPr kumimoji="0" lang="ko-KR" altLang="en-US" sz="923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교보서체 Bold" panose="020B0600000101010101" pitchFamily="50" charset="-127"/>
              <a:ea typeface="교보서체 Bold" panose="020B0600000101010101" pitchFamily="50" charset="-127"/>
              <a:cs typeface="+mn-cs"/>
            </a:endParaRPr>
          </a:p>
        </p:txBody>
      </p:sp>
      <p:pic>
        <p:nvPicPr>
          <p:cNvPr id="8" name="그림 7"/>
          <p:cNvPicPr preferRelativeResize="0">
            <a:picLocks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837766"/>
            <a:ext cx="8883867" cy="76166"/>
          </a:xfrm>
          <a:prstGeom prst="round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106545" y="7050173"/>
            <a:ext cx="8236229" cy="14202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73669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2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※ </a:t>
            </a:r>
            <a:r>
              <a:rPr kumimoji="0" lang="ko-KR" altLang="en-US" sz="92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본 자료는 컨설턴트 교육용으로 고객제안</a:t>
            </a:r>
            <a:r>
              <a:rPr kumimoji="0" lang="en-US" altLang="ko-KR" sz="92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, </a:t>
            </a:r>
            <a:r>
              <a:rPr kumimoji="0" lang="ko-KR" altLang="en-US" sz="92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온라인게시용으로 사용할 수 없으며</a:t>
            </a:r>
            <a:r>
              <a:rPr kumimoji="0" lang="en-US" altLang="ko-KR" sz="92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, </a:t>
            </a:r>
            <a:r>
              <a:rPr kumimoji="0" lang="ko-KR" altLang="en-US" sz="92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환급금 및 보험금 지급의 근거가 될 수 없습니다</a:t>
            </a:r>
            <a:r>
              <a:rPr kumimoji="0" lang="en-US" altLang="ko-KR" sz="92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.(</a:t>
            </a:r>
            <a:r>
              <a:rPr kumimoji="0" lang="ko-KR" altLang="en-US" sz="92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금융소비자보호법 제 </a:t>
            </a:r>
            <a:r>
              <a:rPr kumimoji="0" lang="en-US" altLang="ko-KR" sz="92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22</a:t>
            </a:r>
            <a:r>
              <a:rPr kumimoji="0" lang="ko-KR" altLang="en-US" sz="92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조 참조</a:t>
            </a:r>
            <a:r>
              <a:rPr kumimoji="0" lang="en-US" altLang="ko-KR" sz="92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)</a:t>
            </a:r>
            <a:endParaRPr kumimoji="0" lang="ko-KR" altLang="en-US" sz="92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교보서체 Regular" panose="020B0600000101010101" pitchFamily="50" charset="-127"/>
              <a:ea typeface="교보서체 Regular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81039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사용자 지정 레이아웃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텍스트 개체 틀 10"/>
          <p:cNvSpPr>
            <a:spLocks noGrp="1"/>
          </p:cNvSpPr>
          <p:nvPr>
            <p:ph type="body" sz="quarter" idx="10"/>
          </p:nvPr>
        </p:nvSpPr>
        <p:spPr>
          <a:xfrm>
            <a:off x="367762" y="428346"/>
            <a:ext cx="4824158" cy="4567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28">
                <a:solidFill>
                  <a:srgbClr val="32B432"/>
                </a:solidFill>
                <a:latin typeface="교보서체 Light" panose="020B0600000101010101" pitchFamily="50" charset="-127"/>
                <a:ea typeface="교보서체 Light" panose="020B0600000101010101" pitchFamily="50" charset="-127"/>
              </a:defRPr>
            </a:lvl1pPr>
            <a:lvl2pPr>
              <a:defRPr sz="2328">
                <a:solidFill>
                  <a:srgbClr val="32B432"/>
                </a:solidFill>
                <a:latin typeface="교보서체 Light" panose="020B0600000101010101" pitchFamily="50" charset="-127"/>
                <a:ea typeface="교보서체 Light" panose="020B0600000101010101" pitchFamily="50" charset="-127"/>
              </a:defRPr>
            </a:lvl2pPr>
            <a:lvl3pPr>
              <a:defRPr sz="2328">
                <a:solidFill>
                  <a:srgbClr val="32B432"/>
                </a:solidFill>
                <a:latin typeface="교보서체 Light" panose="020B0600000101010101" pitchFamily="50" charset="-127"/>
                <a:ea typeface="교보서체 Light" panose="020B0600000101010101" pitchFamily="50" charset="-127"/>
              </a:defRPr>
            </a:lvl3pPr>
            <a:lvl4pPr>
              <a:defRPr sz="2328">
                <a:solidFill>
                  <a:srgbClr val="32B432"/>
                </a:solidFill>
                <a:latin typeface="교보서체 Light" panose="020B0600000101010101" pitchFamily="50" charset="-127"/>
                <a:ea typeface="교보서체 Light" panose="020B0600000101010101" pitchFamily="50" charset="-127"/>
              </a:defRPr>
            </a:lvl4pPr>
            <a:lvl5pPr>
              <a:defRPr sz="2328">
                <a:solidFill>
                  <a:srgbClr val="32B432"/>
                </a:solidFill>
                <a:latin typeface="교보서체 Light" panose="020B0600000101010101" pitchFamily="50" charset="-127"/>
                <a:ea typeface="교보서체 Light" panose="020B0600000101010101" pitchFamily="50" charset="-127"/>
              </a:defRPr>
            </a:lvl5pPr>
          </a:lstStyle>
          <a:p>
            <a:pPr lvl="0"/>
            <a:endParaRPr lang="ko-KR" altLang="en-US" dirty="0"/>
          </a:p>
        </p:txBody>
      </p:sp>
      <p:sp>
        <p:nvSpPr>
          <p:cNvPr id="13" name="텍스트 개체 틀 12"/>
          <p:cNvSpPr>
            <a:spLocks noGrp="1"/>
          </p:cNvSpPr>
          <p:nvPr>
            <p:ph type="body" sz="quarter" idx="11"/>
          </p:nvPr>
        </p:nvSpPr>
        <p:spPr>
          <a:xfrm>
            <a:off x="367762" y="1266011"/>
            <a:ext cx="2698717" cy="7607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98">
                <a:latin typeface="교보서체 SemiBold" panose="020B0600000101010101" pitchFamily="50" charset="-127"/>
                <a:ea typeface="교보서체 SemiBold" panose="020B0600000101010101" pitchFamily="50" charset="-127"/>
              </a:defRPr>
            </a:lvl1pPr>
            <a:lvl2pPr>
              <a:defRPr sz="1798">
                <a:latin typeface="교보서체 SemiBold" panose="020B0600000101010101" pitchFamily="50" charset="-127"/>
                <a:ea typeface="교보서체 SemiBold" panose="020B0600000101010101" pitchFamily="50" charset="-127"/>
              </a:defRPr>
            </a:lvl2pPr>
            <a:lvl3pPr>
              <a:defRPr sz="1798">
                <a:latin typeface="교보서체 SemiBold" panose="020B0600000101010101" pitchFamily="50" charset="-127"/>
                <a:ea typeface="교보서체 SemiBold" panose="020B0600000101010101" pitchFamily="50" charset="-127"/>
              </a:defRPr>
            </a:lvl3pPr>
            <a:lvl4pPr>
              <a:defRPr sz="1798">
                <a:latin typeface="교보서체 SemiBold" panose="020B0600000101010101" pitchFamily="50" charset="-127"/>
                <a:ea typeface="교보서체 SemiBold" panose="020B0600000101010101" pitchFamily="50" charset="-127"/>
              </a:defRPr>
            </a:lvl4pPr>
            <a:lvl5pPr>
              <a:defRPr sz="1798">
                <a:latin typeface="교보서체 SemiBold" panose="020B0600000101010101" pitchFamily="50" charset="-127"/>
                <a:ea typeface="교보서체 SemiBold" panose="020B0600000101010101" pitchFamily="50" charset="-127"/>
              </a:defRPr>
            </a:lvl5pPr>
          </a:lstStyle>
          <a:p>
            <a:pPr lvl="0"/>
            <a:endParaRPr lang="ko-KR" altLang="en-US" dirty="0"/>
          </a:p>
        </p:txBody>
      </p:sp>
      <p:sp>
        <p:nvSpPr>
          <p:cNvPr id="15" name="텍스트 개체 틀 14"/>
          <p:cNvSpPr>
            <a:spLocks noGrp="1"/>
          </p:cNvSpPr>
          <p:nvPr>
            <p:ph type="body" sz="quarter" idx="12"/>
          </p:nvPr>
        </p:nvSpPr>
        <p:spPr>
          <a:xfrm>
            <a:off x="3311652" y="1266011"/>
            <a:ext cx="5314506" cy="7607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8">
                <a:latin typeface="교보서체 SemiBold" panose="020B0600000101010101" pitchFamily="50" charset="-127"/>
                <a:ea typeface="교보서체 SemiBold" panose="020B0600000101010101" pitchFamily="50" charset="-127"/>
              </a:defRPr>
            </a:lvl1pPr>
            <a:lvl2pPr>
              <a:defRPr sz="1058">
                <a:latin typeface="교보서체 SemiBold" panose="020B0600000101010101" pitchFamily="50" charset="-127"/>
                <a:ea typeface="교보서체 SemiBold" panose="020B0600000101010101" pitchFamily="50" charset="-127"/>
              </a:defRPr>
            </a:lvl2pPr>
            <a:lvl3pPr>
              <a:defRPr sz="1058">
                <a:latin typeface="교보서체 SemiBold" panose="020B0600000101010101" pitchFamily="50" charset="-127"/>
                <a:ea typeface="교보서체 SemiBold" panose="020B0600000101010101" pitchFamily="50" charset="-127"/>
              </a:defRPr>
            </a:lvl3pPr>
            <a:lvl4pPr>
              <a:defRPr sz="1058">
                <a:latin typeface="교보서체 SemiBold" panose="020B0600000101010101" pitchFamily="50" charset="-127"/>
                <a:ea typeface="교보서체 SemiBold" panose="020B0600000101010101" pitchFamily="50" charset="-127"/>
              </a:defRPr>
            </a:lvl4pPr>
            <a:lvl5pPr>
              <a:defRPr sz="1058">
                <a:latin typeface="교보서체 SemiBold" panose="020B0600000101010101" pitchFamily="50" charset="-127"/>
                <a:ea typeface="교보서체 SemiBold" panose="020B0600000101010101" pitchFamily="50" charset="-127"/>
              </a:defRPr>
            </a:lvl5pPr>
          </a:lstStyle>
          <a:p>
            <a:pPr lvl="0"/>
            <a:endParaRPr lang="ko-KR" altLang="en-US" dirty="0"/>
          </a:p>
        </p:txBody>
      </p:sp>
      <p:sp>
        <p:nvSpPr>
          <p:cNvPr id="2" name="직사각형 1"/>
          <p:cNvSpPr/>
          <p:nvPr userDrawn="1"/>
        </p:nvSpPr>
        <p:spPr>
          <a:xfrm>
            <a:off x="8462784" y="6369745"/>
            <a:ext cx="1678442" cy="7178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5484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11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6" name="그림 5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08097" y="6738149"/>
            <a:ext cx="1471888" cy="408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54455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388600" cy="725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1222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및 타이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4" name="개체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33092" y="269432"/>
            <a:ext cx="7578993" cy="448920"/>
          </a:xfrm>
          <a:prstGeom prst="rect">
            <a:avLst/>
          </a:prstGeom>
        </p:spPr>
        <p:txBody>
          <a:bodyPr/>
          <a:lstStyle>
            <a:lvl1pPr>
              <a:defRPr sz="2248" baseline="0">
                <a:latin typeface="나눔고딕" panose="020D0604000000000000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10"/>
          </p:nvPr>
        </p:nvSpPr>
        <p:spPr>
          <a:xfrm>
            <a:off x="323513" y="885770"/>
            <a:ext cx="9736821" cy="399033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0"/>
              </a:spcBef>
              <a:defRPr b="1" baseline="0">
                <a:latin typeface="나눔고딕" panose="020D0604000000000000" pitchFamily="50" charset="-127"/>
              </a:defRPr>
            </a:lvl1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7442201" y="6724652"/>
            <a:ext cx="2422525" cy="3857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r" defTabSz="907612">
              <a:defRPr/>
            </a:pPr>
            <a:fld id="{42FF5367-8D23-44B2-9D9F-AC89FCDE9E6D}" type="slidenum">
              <a:rPr lang="ko-KR" altLang="en-US" sz="1094" smtClean="0">
                <a:solidFill>
                  <a:prstClr val="black">
                    <a:tint val="75000"/>
                  </a:prstClr>
                </a:solidFill>
                <a:latin typeface="나눔고딕" pitchFamily="50" charset="-127"/>
                <a:ea typeface="나눔고딕" pitchFamily="50" charset="-127"/>
              </a:rPr>
              <a:pPr algn="r" defTabSz="907612">
                <a:defRPr/>
              </a:pPr>
              <a:t>‹#›</a:t>
            </a:fld>
            <a:endParaRPr lang="en-US" altLang="ko-KR" sz="1094" dirty="0">
              <a:solidFill>
                <a:prstClr val="black">
                  <a:tint val="75000"/>
                </a:prstClr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4870398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1" y="0"/>
          <a:ext cx="10374313" cy="72596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74313">
                  <a:extLst>
                    <a:ext uri="{9D8B030D-6E8A-4147-A177-3AD203B41FA5}">
                      <a16:colId xmlns:a16="http://schemas.microsoft.com/office/drawing/2014/main" val="130425677"/>
                    </a:ext>
                  </a:extLst>
                </a:gridCol>
              </a:tblGrid>
              <a:tr h="829135">
                <a:tc>
                  <a:txBody>
                    <a:bodyPr/>
                    <a:lstStyle/>
                    <a:p>
                      <a:pPr latinLnBrk="1"/>
                      <a:endParaRPr lang="ko-KR" altLang="en-US" sz="1100" dirty="0"/>
                    </a:p>
                  </a:txBody>
                  <a:tcPr marL="92876" marR="92876" marT="45610" marB="4561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solidFill>
                      <a:srgbClr val="F3FF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8049073"/>
                  </a:ext>
                </a:extLst>
              </a:tr>
              <a:tr h="5693795">
                <a:tc>
                  <a:txBody>
                    <a:bodyPr/>
                    <a:lstStyle/>
                    <a:p>
                      <a:pPr latinLnBrk="1"/>
                      <a:endParaRPr lang="ko-KR" altLang="en-US" sz="1100" dirty="0"/>
                    </a:p>
                  </a:txBody>
                  <a:tcPr marL="92876" marR="92876" marT="45610" marB="4561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6726205"/>
                  </a:ext>
                </a:extLst>
              </a:tr>
              <a:tr h="736708">
                <a:tc>
                  <a:txBody>
                    <a:bodyPr/>
                    <a:lstStyle/>
                    <a:p>
                      <a:pPr latinLnBrk="1"/>
                      <a:endParaRPr lang="ko-KR" altLang="en-US" sz="1100" dirty="0"/>
                    </a:p>
                  </a:txBody>
                  <a:tcPr marL="92876" marR="92876" marT="45610" marB="45610">
                    <a:lnT w="38100" cmpd="sng">
                      <a:noFill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513903443"/>
                  </a:ext>
                </a:extLst>
              </a:tr>
            </a:tbl>
          </a:graphicData>
        </a:graphic>
      </p:graphicFrame>
      <p:pic>
        <p:nvPicPr>
          <p:cNvPr id="3" name="그림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3174" y="0"/>
            <a:ext cx="10387013" cy="7256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Group 180">
            <a:extLst>
              <a:ext uri="{FF2B5EF4-FFF2-40B4-BE49-F238E27FC236}">
                <a16:creationId xmlns:a16="http://schemas.microsoft.com/office/drawing/2014/main" id="{C24C5551-EFAC-4A4C-A5CA-C25B8CA3462E}"/>
              </a:ext>
            </a:extLst>
          </p:cNvPr>
          <p:cNvGrpSpPr/>
          <p:nvPr userDrawn="1"/>
        </p:nvGrpSpPr>
        <p:grpSpPr>
          <a:xfrm flipH="1">
            <a:off x="252817" y="123382"/>
            <a:ext cx="501069" cy="685576"/>
            <a:chOff x="10073923" y="4329846"/>
            <a:chExt cx="1822803" cy="2460131"/>
          </a:xfrm>
          <a:solidFill>
            <a:schemeClr val="accent3"/>
          </a:solidFill>
        </p:grpSpPr>
        <p:sp>
          <p:nvSpPr>
            <p:cNvPr id="5" name="Freeform: Shape 181">
              <a:extLst>
                <a:ext uri="{FF2B5EF4-FFF2-40B4-BE49-F238E27FC236}">
                  <a16:creationId xmlns:a16="http://schemas.microsoft.com/office/drawing/2014/main" id="{BFAEFB09-9C06-4120-8044-E87138DFDB3C}"/>
                </a:ext>
              </a:extLst>
            </p:cNvPr>
            <p:cNvSpPr/>
            <p:nvPr/>
          </p:nvSpPr>
          <p:spPr>
            <a:xfrm>
              <a:off x="10073923" y="4329846"/>
              <a:ext cx="1385397" cy="2351375"/>
            </a:xfrm>
            <a:custGeom>
              <a:avLst/>
              <a:gdLst>
                <a:gd name="connsiteX0" fmla="*/ 789622 w 1385397"/>
                <a:gd name="connsiteY0" fmla="*/ 0 h 2351375"/>
                <a:gd name="connsiteX1" fmla="*/ 865822 w 1385397"/>
                <a:gd name="connsiteY1" fmla="*/ 0 h 2351375"/>
                <a:gd name="connsiteX2" fmla="*/ 954405 w 1385397"/>
                <a:gd name="connsiteY2" fmla="*/ 58102 h 2351375"/>
                <a:gd name="connsiteX3" fmla="*/ 1050607 w 1385397"/>
                <a:gd name="connsiteY3" fmla="*/ 123825 h 2351375"/>
                <a:gd name="connsiteX4" fmla="*/ 1062990 w 1385397"/>
                <a:gd name="connsiteY4" fmla="*/ 136207 h 2351375"/>
                <a:gd name="connsiteX5" fmla="*/ 1102995 w 1385397"/>
                <a:gd name="connsiteY5" fmla="*/ 269557 h 2351375"/>
                <a:gd name="connsiteX6" fmla="*/ 1099185 w 1385397"/>
                <a:gd name="connsiteY6" fmla="*/ 284797 h 2351375"/>
                <a:gd name="connsiteX7" fmla="*/ 1084897 w 1385397"/>
                <a:gd name="connsiteY7" fmla="*/ 276225 h 2351375"/>
                <a:gd name="connsiteX8" fmla="*/ 1031557 w 1385397"/>
                <a:gd name="connsiteY8" fmla="*/ 202882 h 2351375"/>
                <a:gd name="connsiteX9" fmla="*/ 1015365 w 1385397"/>
                <a:gd name="connsiteY9" fmla="*/ 192405 h 2351375"/>
                <a:gd name="connsiteX10" fmla="*/ 957262 w 1385397"/>
                <a:gd name="connsiteY10" fmla="*/ 158115 h 2351375"/>
                <a:gd name="connsiteX11" fmla="*/ 950595 w 1385397"/>
                <a:gd name="connsiteY11" fmla="*/ 152400 h 2351375"/>
                <a:gd name="connsiteX12" fmla="*/ 934402 w 1385397"/>
                <a:gd name="connsiteY12" fmla="*/ 171450 h 2351375"/>
                <a:gd name="connsiteX13" fmla="*/ 934402 w 1385397"/>
                <a:gd name="connsiteY13" fmla="*/ 175260 h 2351375"/>
                <a:gd name="connsiteX14" fmla="*/ 934402 w 1385397"/>
                <a:gd name="connsiteY14" fmla="*/ 223837 h 2351375"/>
                <a:gd name="connsiteX15" fmla="*/ 901065 w 1385397"/>
                <a:gd name="connsiteY15" fmla="*/ 259080 h 2351375"/>
                <a:gd name="connsiteX16" fmla="*/ 863917 w 1385397"/>
                <a:gd name="connsiteY16" fmla="*/ 273367 h 2351375"/>
                <a:gd name="connsiteX17" fmla="*/ 817245 w 1385397"/>
                <a:gd name="connsiteY17" fmla="*/ 269557 h 2351375"/>
                <a:gd name="connsiteX18" fmla="*/ 842010 w 1385397"/>
                <a:gd name="connsiteY18" fmla="*/ 287655 h 2351375"/>
                <a:gd name="connsiteX19" fmla="*/ 848677 w 1385397"/>
                <a:gd name="connsiteY19" fmla="*/ 324802 h 2351375"/>
                <a:gd name="connsiteX20" fmla="*/ 761047 w 1385397"/>
                <a:gd name="connsiteY20" fmla="*/ 467677 h 2351375"/>
                <a:gd name="connsiteX21" fmla="*/ 752475 w 1385397"/>
                <a:gd name="connsiteY21" fmla="*/ 481965 h 2351375"/>
                <a:gd name="connsiteX22" fmla="*/ 806767 w 1385397"/>
                <a:gd name="connsiteY22" fmla="*/ 450532 h 2351375"/>
                <a:gd name="connsiteX23" fmla="*/ 942975 w 1385397"/>
                <a:gd name="connsiteY23" fmla="*/ 391477 h 2351375"/>
                <a:gd name="connsiteX24" fmla="*/ 1303020 w 1385397"/>
                <a:gd name="connsiteY24" fmla="*/ 489585 h 2351375"/>
                <a:gd name="connsiteX25" fmla="*/ 1372552 w 1385397"/>
                <a:gd name="connsiteY25" fmla="*/ 596265 h 2351375"/>
                <a:gd name="connsiteX26" fmla="*/ 1383030 w 1385397"/>
                <a:gd name="connsiteY26" fmla="*/ 732472 h 2351375"/>
                <a:gd name="connsiteX27" fmla="*/ 1380172 w 1385397"/>
                <a:gd name="connsiteY27" fmla="*/ 796290 h 2351375"/>
                <a:gd name="connsiteX28" fmla="*/ 1376362 w 1385397"/>
                <a:gd name="connsiteY28" fmla="*/ 808672 h 2351375"/>
                <a:gd name="connsiteX29" fmla="*/ 1365885 w 1385397"/>
                <a:gd name="connsiteY29" fmla="*/ 802957 h 2351375"/>
                <a:gd name="connsiteX30" fmla="*/ 1364932 w 1385397"/>
                <a:gd name="connsiteY30" fmla="*/ 802005 h 2351375"/>
                <a:gd name="connsiteX31" fmla="*/ 1263967 w 1385397"/>
                <a:gd name="connsiteY31" fmla="*/ 672465 h 2351375"/>
                <a:gd name="connsiteX32" fmla="*/ 1260157 w 1385397"/>
                <a:gd name="connsiteY32" fmla="*/ 675322 h 2351375"/>
                <a:gd name="connsiteX33" fmla="*/ 1265872 w 1385397"/>
                <a:gd name="connsiteY33" fmla="*/ 710565 h 2351375"/>
                <a:gd name="connsiteX34" fmla="*/ 1254442 w 1385397"/>
                <a:gd name="connsiteY34" fmla="*/ 720090 h 2351375"/>
                <a:gd name="connsiteX35" fmla="*/ 1194435 w 1385397"/>
                <a:gd name="connsiteY35" fmla="*/ 685800 h 2351375"/>
                <a:gd name="connsiteX36" fmla="*/ 1182052 w 1385397"/>
                <a:gd name="connsiteY36" fmla="*/ 677227 h 2351375"/>
                <a:gd name="connsiteX37" fmla="*/ 1148715 w 1385397"/>
                <a:gd name="connsiteY37" fmla="*/ 626745 h 2351375"/>
                <a:gd name="connsiteX38" fmla="*/ 1088707 w 1385397"/>
                <a:gd name="connsiteY38" fmla="*/ 515302 h 2351375"/>
                <a:gd name="connsiteX39" fmla="*/ 1110615 w 1385397"/>
                <a:gd name="connsiteY39" fmla="*/ 598170 h 2351375"/>
                <a:gd name="connsiteX40" fmla="*/ 1114425 w 1385397"/>
                <a:gd name="connsiteY40" fmla="*/ 626745 h 2351375"/>
                <a:gd name="connsiteX41" fmla="*/ 1100137 w 1385397"/>
                <a:gd name="connsiteY41" fmla="*/ 638175 h 2351375"/>
                <a:gd name="connsiteX42" fmla="*/ 1003935 w 1385397"/>
                <a:gd name="connsiteY42" fmla="*/ 612457 h 2351375"/>
                <a:gd name="connsiteX43" fmla="*/ 855345 w 1385397"/>
                <a:gd name="connsiteY43" fmla="*/ 625792 h 2351375"/>
                <a:gd name="connsiteX44" fmla="*/ 833437 w 1385397"/>
                <a:gd name="connsiteY44" fmla="*/ 669607 h 2351375"/>
                <a:gd name="connsiteX45" fmla="*/ 826770 w 1385397"/>
                <a:gd name="connsiteY45" fmla="*/ 765810 h 2351375"/>
                <a:gd name="connsiteX46" fmla="*/ 794385 w 1385397"/>
                <a:gd name="connsiteY46" fmla="*/ 834390 h 2351375"/>
                <a:gd name="connsiteX47" fmla="*/ 788670 w 1385397"/>
                <a:gd name="connsiteY47" fmla="*/ 909637 h 2351375"/>
                <a:gd name="connsiteX48" fmla="*/ 783907 w 1385397"/>
                <a:gd name="connsiteY48" fmla="*/ 929640 h 2351375"/>
                <a:gd name="connsiteX49" fmla="*/ 767715 w 1385397"/>
                <a:gd name="connsiteY49" fmla="*/ 916305 h 2351375"/>
                <a:gd name="connsiteX50" fmla="*/ 705802 w 1385397"/>
                <a:gd name="connsiteY50" fmla="*/ 834390 h 2351375"/>
                <a:gd name="connsiteX51" fmla="*/ 701040 w 1385397"/>
                <a:gd name="connsiteY51" fmla="*/ 807720 h 2351375"/>
                <a:gd name="connsiteX52" fmla="*/ 703897 w 1385397"/>
                <a:gd name="connsiteY52" fmla="*/ 730567 h 2351375"/>
                <a:gd name="connsiteX53" fmla="*/ 698182 w 1385397"/>
                <a:gd name="connsiteY53" fmla="*/ 724852 h 2351375"/>
                <a:gd name="connsiteX54" fmla="*/ 678180 w 1385397"/>
                <a:gd name="connsiteY54" fmla="*/ 767715 h 2351375"/>
                <a:gd name="connsiteX55" fmla="*/ 608647 w 1385397"/>
                <a:gd name="connsiteY55" fmla="*/ 994410 h 2351375"/>
                <a:gd name="connsiteX56" fmla="*/ 536257 w 1385397"/>
                <a:gd name="connsiteY56" fmla="*/ 1337310 h 2351375"/>
                <a:gd name="connsiteX57" fmla="*/ 519112 w 1385397"/>
                <a:gd name="connsiteY57" fmla="*/ 1524952 h 2351375"/>
                <a:gd name="connsiteX58" fmla="*/ 543877 w 1385397"/>
                <a:gd name="connsiteY58" fmla="*/ 1808797 h 2351375"/>
                <a:gd name="connsiteX59" fmla="*/ 629602 w 1385397"/>
                <a:gd name="connsiteY59" fmla="*/ 1998345 h 2351375"/>
                <a:gd name="connsiteX60" fmla="*/ 803910 w 1385397"/>
                <a:gd name="connsiteY60" fmla="*/ 2204085 h 2351375"/>
                <a:gd name="connsiteX61" fmla="*/ 883920 w 1385397"/>
                <a:gd name="connsiteY61" fmla="*/ 2251710 h 2351375"/>
                <a:gd name="connsiteX62" fmla="*/ 902970 w 1385397"/>
                <a:gd name="connsiteY62" fmla="*/ 2253615 h 2351375"/>
                <a:gd name="connsiteX63" fmla="*/ 912996 w 1385397"/>
                <a:gd name="connsiteY63" fmla="*/ 2252226 h 2351375"/>
                <a:gd name="connsiteX64" fmla="*/ 701023 w 1385397"/>
                <a:gd name="connsiteY64" fmla="*/ 2351375 h 2351375"/>
                <a:gd name="connsiteX65" fmla="*/ 696277 w 1385397"/>
                <a:gd name="connsiteY65" fmla="*/ 2346007 h 2351375"/>
                <a:gd name="connsiteX66" fmla="*/ 544830 w 1385397"/>
                <a:gd name="connsiteY66" fmla="*/ 2207895 h 2351375"/>
                <a:gd name="connsiteX67" fmla="*/ 397192 w 1385397"/>
                <a:gd name="connsiteY67" fmla="*/ 1887855 h 2351375"/>
                <a:gd name="connsiteX68" fmla="*/ 368617 w 1385397"/>
                <a:gd name="connsiteY68" fmla="*/ 1643062 h 2351375"/>
                <a:gd name="connsiteX69" fmla="*/ 374332 w 1385397"/>
                <a:gd name="connsiteY69" fmla="*/ 1531620 h 2351375"/>
                <a:gd name="connsiteX70" fmla="*/ 397192 w 1385397"/>
                <a:gd name="connsiteY70" fmla="*/ 1335405 h 2351375"/>
                <a:gd name="connsiteX71" fmla="*/ 459105 w 1385397"/>
                <a:gd name="connsiteY71" fmla="*/ 1087755 h 2351375"/>
                <a:gd name="connsiteX72" fmla="*/ 603885 w 1385397"/>
                <a:gd name="connsiteY72" fmla="*/ 725805 h 2351375"/>
                <a:gd name="connsiteX73" fmla="*/ 620077 w 1385397"/>
                <a:gd name="connsiteY73" fmla="*/ 696277 h 2351375"/>
                <a:gd name="connsiteX74" fmla="*/ 577215 w 1385397"/>
                <a:gd name="connsiteY74" fmla="*/ 716280 h 2351375"/>
                <a:gd name="connsiteX75" fmla="*/ 545782 w 1385397"/>
                <a:gd name="connsiteY75" fmla="*/ 753427 h 2351375"/>
                <a:gd name="connsiteX76" fmla="*/ 490537 w 1385397"/>
                <a:gd name="connsiteY76" fmla="*/ 767715 h 2351375"/>
                <a:gd name="connsiteX77" fmla="*/ 417195 w 1385397"/>
                <a:gd name="connsiteY77" fmla="*/ 742950 h 2351375"/>
                <a:gd name="connsiteX78" fmla="*/ 462915 w 1385397"/>
                <a:gd name="connsiteY78" fmla="*/ 788670 h 2351375"/>
                <a:gd name="connsiteX79" fmla="*/ 466725 w 1385397"/>
                <a:gd name="connsiteY79" fmla="*/ 845820 h 2351375"/>
                <a:gd name="connsiteX80" fmla="*/ 435292 w 1385397"/>
                <a:gd name="connsiteY80" fmla="*/ 854392 h 2351375"/>
                <a:gd name="connsiteX81" fmla="*/ 379095 w 1385397"/>
                <a:gd name="connsiteY81" fmla="*/ 834390 h 2351375"/>
                <a:gd name="connsiteX82" fmla="*/ 421957 w 1385397"/>
                <a:gd name="connsiteY82" fmla="*/ 890587 h 2351375"/>
                <a:gd name="connsiteX83" fmla="*/ 422910 w 1385397"/>
                <a:gd name="connsiteY83" fmla="*/ 915352 h 2351375"/>
                <a:gd name="connsiteX84" fmla="*/ 392430 w 1385397"/>
                <a:gd name="connsiteY84" fmla="*/ 965835 h 2351375"/>
                <a:gd name="connsiteX85" fmla="*/ 346710 w 1385397"/>
                <a:gd name="connsiteY85" fmla="*/ 983932 h 2351375"/>
                <a:gd name="connsiteX86" fmla="*/ 343852 w 1385397"/>
                <a:gd name="connsiteY86" fmla="*/ 984885 h 2351375"/>
                <a:gd name="connsiteX87" fmla="*/ 348615 w 1385397"/>
                <a:gd name="connsiteY87" fmla="*/ 988695 h 2351375"/>
                <a:gd name="connsiteX88" fmla="*/ 361950 w 1385397"/>
                <a:gd name="connsiteY88" fmla="*/ 1034415 h 2351375"/>
                <a:gd name="connsiteX89" fmla="*/ 319087 w 1385397"/>
                <a:gd name="connsiteY89" fmla="*/ 1044892 h 2351375"/>
                <a:gd name="connsiteX90" fmla="*/ 278130 w 1385397"/>
                <a:gd name="connsiteY90" fmla="*/ 1025842 h 2351375"/>
                <a:gd name="connsiteX91" fmla="*/ 343852 w 1385397"/>
                <a:gd name="connsiteY91" fmla="*/ 1088707 h 2351375"/>
                <a:gd name="connsiteX92" fmla="*/ 350520 w 1385397"/>
                <a:gd name="connsiteY92" fmla="*/ 1123950 h 2351375"/>
                <a:gd name="connsiteX93" fmla="*/ 321945 w 1385397"/>
                <a:gd name="connsiteY93" fmla="*/ 1132522 h 2351375"/>
                <a:gd name="connsiteX94" fmla="*/ 303847 w 1385397"/>
                <a:gd name="connsiteY94" fmla="*/ 1126807 h 2351375"/>
                <a:gd name="connsiteX95" fmla="*/ 345757 w 1385397"/>
                <a:gd name="connsiteY95" fmla="*/ 1203007 h 2351375"/>
                <a:gd name="connsiteX96" fmla="*/ 363855 w 1385397"/>
                <a:gd name="connsiteY96" fmla="*/ 1291590 h 2351375"/>
                <a:gd name="connsiteX97" fmla="*/ 362902 w 1385397"/>
                <a:gd name="connsiteY97" fmla="*/ 1301115 h 2351375"/>
                <a:gd name="connsiteX98" fmla="*/ 354330 w 1385397"/>
                <a:gd name="connsiteY98" fmla="*/ 1299210 h 2351375"/>
                <a:gd name="connsiteX99" fmla="*/ 309562 w 1385397"/>
                <a:gd name="connsiteY99" fmla="*/ 1268730 h 2351375"/>
                <a:gd name="connsiteX100" fmla="*/ 228600 w 1385397"/>
                <a:gd name="connsiteY100" fmla="*/ 1180147 h 2351375"/>
                <a:gd name="connsiteX101" fmla="*/ 180975 w 1385397"/>
                <a:gd name="connsiteY101" fmla="*/ 1088707 h 2351375"/>
                <a:gd name="connsiteX102" fmla="*/ 181927 w 1385397"/>
                <a:gd name="connsiteY102" fmla="*/ 1042035 h 2351375"/>
                <a:gd name="connsiteX103" fmla="*/ 179070 w 1385397"/>
                <a:gd name="connsiteY103" fmla="*/ 922972 h 2351375"/>
                <a:gd name="connsiteX104" fmla="*/ 185737 w 1385397"/>
                <a:gd name="connsiteY104" fmla="*/ 900112 h 2351375"/>
                <a:gd name="connsiteX105" fmla="*/ 258127 w 1385397"/>
                <a:gd name="connsiteY105" fmla="*/ 788670 h 2351375"/>
                <a:gd name="connsiteX106" fmla="*/ 340042 w 1385397"/>
                <a:gd name="connsiteY106" fmla="*/ 704850 h 2351375"/>
                <a:gd name="connsiteX107" fmla="*/ 425767 w 1385397"/>
                <a:gd name="connsiteY107" fmla="*/ 656272 h 2351375"/>
                <a:gd name="connsiteX108" fmla="*/ 438150 w 1385397"/>
                <a:gd name="connsiteY108" fmla="*/ 644842 h 2351375"/>
                <a:gd name="connsiteX109" fmla="*/ 275272 w 1385397"/>
                <a:gd name="connsiteY109" fmla="*/ 600075 h 2351375"/>
                <a:gd name="connsiteX110" fmla="*/ 264795 w 1385397"/>
                <a:gd name="connsiteY110" fmla="*/ 594360 h 2351375"/>
                <a:gd name="connsiteX111" fmla="*/ 242887 w 1385397"/>
                <a:gd name="connsiteY111" fmla="*/ 583882 h 2351375"/>
                <a:gd name="connsiteX112" fmla="*/ 336232 w 1385397"/>
                <a:gd name="connsiteY112" fmla="*/ 676275 h 2351375"/>
                <a:gd name="connsiteX113" fmla="*/ 263842 w 1385397"/>
                <a:gd name="connsiteY113" fmla="*/ 700087 h 2351375"/>
                <a:gd name="connsiteX114" fmla="*/ 240030 w 1385397"/>
                <a:gd name="connsiteY114" fmla="*/ 719137 h 2351375"/>
                <a:gd name="connsiteX115" fmla="*/ 160972 w 1385397"/>
                <a:gd name="connsiteY115" fmla="*/ 728662 h 2351375"/>
                <a:gd name="connsiteX116" fmla="*/ 186690 w 1385397"/>
                <a:gd name="connsiteY116" fmla="*/ 762952 h 2351375"/>
                <a:gd name="connsiteX117" fmla="*/ 189547 w 1385397"/>
                <a:gd name="connsiteY117" fmla="*/ 780097 h 2351375"/>
                <a:gd name="connsiteX118" fmla="*/ 160972 w 1385397"/>
                <a:gd name="connsiteY118" fmla="*/ 849630 h 2351375"/>
                <a:gd name="connsiteX119" fmla="*/ 148590 w 1385397"/>
                <a:gd name="connsiteY119" fmla="*/ 880110 h 2351375"/>
                <a:gd name="connsiteX120" fmla="*/ 130492 w 1385397"/>
                <a:gd name="connsiteY120" fmla="*/ 882015 h 2351375"/>
                <a:gd name="connsiteX121" fmla="*/ 121920 w 1385397"/>
                <a:gd name="connsiteY121" fmla="*/ 874395 h 2351375"/>
                <a:gd name="connsiteX122" fmla="*/ 139065 w 1385397"/>
                <a:gd name="connsiteY122" fmla="*/ 917257 h 2351375"/>
                <a:gd name="connsiteX123" fmla="*/ 133350 w 1385397"/>
                <a:gd name="connsiteY123" fmla="*/ 979170 h 2351375"/>
                <a:gd name="connsiteX124" fmla="*/ 122872 w 1385397"/>
                <a:gd name="connsiteY124" fmla="*/ 1010602 h 2351375"/>
                <a:gd name="connsiteX125" fmla="*/ 103822 w 1385397"/>
                <a:gd name="connsiteY125" fmla="*/ 1012507 h 2351375"/>
                <a:gd name="connsiteX126" fmla="*/ 88582 w 1385397"/>
                <a:gd name="connsiteY126" fmla="*/ 986790 h 2351375"/>
                <a:gd name="connsiteX127" fmla="*/ 0 w 1385397"/>
                <a:gd name="connsiteY127" fmla="*/ 771525 h 2351375"/>
                <a:gd name="connsiteX128" fmla="*/ 0 w 1385397"/>
                <a:gd name="connsiteY128" fmla="*/ 714375 h 2351375"/>
                <a:gd name="connsiteX129" fmla="*/ 2857 w 1385397"/>
                <a:gd name="connsiteY129" fmla="*/ 708660 h 2351375"/>
                <a:gd name="connsiteX130" fmla="*/ 195262 w 1385397"/>
                <a:gd name="connsiteY130" fmla="*/ 469582 h 2351375"/>
                <a:gd name="connsiteX131" fmla="*/ 325755 w 1385397"/>
                <a:gd name="connsiteY131" fmla="*/ 436245 h 2351375"/>
                <a:gd name="connsiteX132" fmla="*/ 431482 w 1385397"/>
                <a:gd name="connsiteY132" fmla="*/ 460057 h 2351375"/>
                <a:gd name="connsiteX133" fmla="*/ 560070 w 1385397"/>
                <a:gd name="connsiteY133" fmla="*/ 499110 h 2351375"/>
                <a:gd name="connsiteX134" fmla="*/ 570547 w 1385397"/>
                <a:gd name="connsiteY134" fmla="*/ 490537 h 2351375"/>
                <a:gd name="connsiteX135" fmla="*/ 539115 w 1385397"/>
                <a:gd name="connsiteY135" fmla="*/ 420052 h 2351375"/>
                <a:gd name="connsiteX136" fmla="*/ 437197 w 1385397"/>
                <a:gd name="connsiteY136" fmla="*/ 306705 h 2351375"/>
                <a:gd name="connsiteX137" fmla="*/ 427672 w 1385397"/>
                <a:gd name="connsiteY137" fmla="*/ 284797 h 2351375"/>
                <a:gd name="connsiteX138" fmla="*/ 436245 w 1385397"/>
                <a:gd name="connsiteY138" fmla="*/ 220980 h 2351375"/>
                <a:gd name="connsiteX139" fmla="*/ 410527 w 1385397"/>
                <a:gd name="connsiteY139" fmla="*/ 273367 h 2351375"/>
                <a:gd name="connsiteX140" fmla="*/ 381952 w 1385397"/>
                <a:gd name="connsiteY140" fmla="*/ 288607 h 2351375"/>
                <a:gd name="connsiteX141" fmla="*/ 332422 w 1385397"/>
                <a:gd name="connsiteY141" fmla="*/ 280035 h 2351375"/>
                <a:gd name="connsiteX142" fmla="*/ 301942 w 1385397"/>
                <a:gd name="connsiteY142" fmla="*/ 246697 h 2351375"/>
                <a:gd name="connsiteX143" fmla="*/ 300037 w 1385397"/>
                <a:gd name="connsiteY143" fmla="*/ 243840 h 2351375"/>
                <a:gd name="connsiteX144" fmla="*/ 246697 w 1385397"/>
                <a:gd name="connsiteY144" fmla="*/ 281940 h 2351375"/>
                <a:gd name="connsiteX145" fmla="*/ 185737 w 1385397"/>
                <a:gd name="connsiteY145" fmla="*/ 314325 h 2351375"/>
                <a:gd name="connsiteX146" fmla="*/ 162877 w 1385397"/>
                <a:gd name="connsiteY146" fmla="*/ 311467 h 2351375"/>
                <a:gd name="connsiteX147" fmla="*/ 145732 w 1385397"/>
                <a:gd name="connsiteY147" fmla="*/ 262890 h 2351375"/>
                <a:gd name="connsiteX148" fmla="*/ 145732 w 1385397"/>
                <a:gd name="connsiteY148" fmla="*/ 220027 h 2351375"/>
                <a:gd name="connsiteX149" fmla="*/ 141922 w 1385397"/>
                <a:gd name="connsiteY149" fmla="*/ 229552 h 2351375"/>
                <a:gd name="connsiteX150" fmla="*/ 139065 w 1385397"/>
                <a:gd name="connsiteY150" fmla="*/ 362902 h 2351375"/>
                <a:gd name="connsiteX151" fmla="*/ 120967 w 1385397"/>
                <a:gd name="connsiteY151" fmla="*/ 405765 h 2351375"/>
                <a:gd name="connsiteX152" fmla="*/ 67627 w 1385397"/>
                <a:gd name="connsiteY152" fmla="*/ 398145 h 2351375"/>
                <a:gd name="connsiteX153" fmla="*/ 60007 w 1385397"/>
                <a:gd name="connsiteY153" fmla="*/ 242887 h 2351375"/>
                <a:gd name="connsiteX154" fmla="*/ 61912 w 1385397"/>
                <a:gd name="connsiteY154" fmla="*/ 239077 h 2351375"/>
                <a:gd name="connsiteX155" fmla="*/ 142875 w 1385397"/>
                <a:gd name="connsiteY155" fmla="*/ 88582 h 2351375"/>
                <a:gd name="connsiteX156" fmla="*/ 155257 w 1385397"/>
                <a:gd name="connsiteY156" fmla="*/ 73342 h 2351375"/>
                <a:gd name="connsiteX157" fmla="*/ 322897 w 1385397"/>
                <a:gd name="connsiteY157" fmla="*/ 40005 h 2351375"/>
                <a:gd name="connsiteX158" fmla="*/ 420052 w 1385397"/>
                <a:gd name="connsiteY158" fmla="*/ 60960 h 2351375"/>
                <a:gd name="connsiteX159" fmla="*/ 500062 w 1385397"/>
                <a:gd name="connsiteY159" fmla="*/ 113347 h 2351375"/>
                <a:gd name="connsiteX160" fmla="*/ 562927 w 1385397"/>
                <a:gd name="connsiteY160" fmla="*/ 205740 h 2351375"/>
                <a:gd name="connsiteX161" fmla="*/ 613410 w 1385397"/>
                <a:gd name="connsiteY161" fmla="*/ 316230 h 2351375"/>
                <a:gd name="connsiteX162" fmla="*/ 626745 w 1385397"/>
                <a:gd name="connsiteY162" fmla="*/ 367665 h 2351375"/>
                <a:gd name="connsiteX163" fmla="*/ 678180 w 1385397"/>
                <a:gd name="connsiteY163" fmla="*/ 199072 h 2351375"/>
                <a:gd name="connsiteX164" fmla="*/ 728662 w 1385397"/>
                <a:gd name="connsiteY164" fmla="*/ 156210 h 2351375"/>
                <a:gd name="connsiteX165" fmla="*/ 772477 w 1385397"/>
                <a:gd name="connsiteY165" fmla="*/ 140970 h 2351375"/>
                <a:gd name="connsiteX166" fmla="*/ 741997 w 1385397"/>
                <a:gd name="connsiteY166" fmla="*/ 138112 h 2351375"/>
                <a:gd name="connsiteX167" fmla="*/ 721042 w 1385397"/>
                <a:gd name="connsiteY167" fmla="*/ 90487 h 2351375"/>
                <a:gd name="connsiteX168" fmla="*/ 753427 w 1385397"/>
                <a:gd name="connsiteY168" fmla="*/ 46672 h 2351375"/>
                <a:gd name="connsiteX169" fmla="*/ 778192 w 1385397"/>
                <a:gd name="connsiteY169" fmla="*/ 35242 h 2351375"/>
                <a:gd name="connsiteX170" fmla="*/ 816292 w 1385397"/>
                <a:gd name="connsiteY170" fmla="*/ 40005 h 2351375"/>
                <a:gd name="connsiteX171" fmla="*/ 795337 w 1385397"/>
                <a:gd name="connsiteY171" fmla="*/ 22860 h 2351375"/>
                <a:gd name="connsiteX172" fmla="*/ 789622 w 1385397"/>
                <a:gd name="connsiteY172" fmla="*/ 0 h 2351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</a:cxnLst>
              <a:rect l="l" t="t" r="r" b="b"/>
              <a:pathLst>
                <a:path w="1385397" h="2351375">
                  <a:moveTo>
                    <a:pt x="789622" y="0"/>
                  </a:moveTo>
                  <a:cubicBezTo>
                    <a:pt x="815340" y="0"/>
                    <a:pt x="840105" y="0"/>
                    <a:pt x="865822" y="0"/>
                  </a:cubicBezTo>
                  <a:cubicBezTo>
                    <a:pt x="895350" y="19050"/>
                    <a:pt x="924877" y="38100"/>
                    <a:pt x="954405" y="58102"/>
                  </a:cubicBezTo>
                  <a:cubicBezTo>
                    <a:pt x="986790" y="79057"/>
                    <a:pt x="1019175" y="100965"/>
                    <a:pt x="1050607" y="123825"/>
                  </a:cubicBezTo>
                  <a:cubicBezTo>
                    <a:pt x="1055370" y="127635"/>
                    <a:pt x="1060132" y="131445"/>
                    <a:pt x="1062990" y="136207"/>
                  </a:cubicBezTo>
                  <a:cubicBezTo>
                    <a:pt x="1087755" y="177165"/>
                    <a:pt x="1100137" y="221932"/>
                    <a:pt x="1102995" y="269557"/>
                  </a:cubicBezTo>
                  <a:cubicBezTo>
                    <a:pt x="1102995" y="274320"/>
                    <a:pt x="1105852" y="281940"/>
                    <a:pt x="1099185" y="284797"/>
                  </a:cubicBezTo>
                  <a:cubicBezTo>
                    <a:pt x="1091565" y="287655"/>
                    <a:pt x="1088707" y="280035"/>
                    <a:pt x="1084897" y="276225"/>
                  </a:cubicBezTo>
                  <a:cubicBezTo>
                    <a:pt x="1066800" y="252412"/>
                    <a:pt x="1048702" y="227647"/>
                    <a:pt x="1031557" y="202882"/>
                  </a:cubicBezTo>
                  <a:cubicBezTo>
                    <a:pt x="1027747" y="197167"/>
                    <a:pt x="1023937" y="190500"/>
                    <a:pt x="1015365" y="192405"/>
                  </a:cubicBezTo>
                  <a:cubicBezTo>
                    <a:pt x="986790" y="196215"/>
                    <a:pt x="966787" y="186690"/>
                    <a:pt x="957262" y="158115"/>
                  </a:cubicBezTo>
                  <a:cubicBezTo>
                    <a:pt x="956310" y="155257"/>
                    <a:pt x="954405" y="152400"/>
                    <a:pt x="950595" y="152400"/>
                  </a:cubicBezTo>
                  <a:cubicBezTo>
                    <a:pt x="944880" y="158115"/>
                    <a:pt x="957262" y="180975"/>
                    <a:pt x="934402" y="171450"/>
                  </a:cubicBezTo>
                  <a:cubicBezTo>
                    <a:pt x="934402" y="173355"/>
                    <a:pt x="934402" y="174307"/>
                    <a:pt x="934402" y="175260"/>
                  </a:cubicBezTo>
                  <a:cubicBezTo>
                    <a:pt x="956310" y="196215"/>
                    <a:pt x="956310" y="200977"/>
                    <a:pt x="934402" y="223837"/>
                  </a:cubicBezTo>
                  <a:cubicBezTo>
                    <a:pt x="922972" y="235267"/>
                    <a:pt x="912495" y="247650"/>
                    <a:pt x="901065" y="259080"/>
                  </a:cubicBezTo>
                  <a:cubicBezTo>
                    <a:pt x="890587" y="270510"/>
                    <a:pt x="879157" y="276225"/>
                    <a:pt x="863917" y="273367"/>
                  </a:cubicBezTo>
                  <a:cubicBezTo>
                    <a:pt x="849630" y="270510"/>
                    <a:pt x="835342" y="270510"/>
                    <a:pt x="817245" y="269557"/>
                  </a:cubicBezTo>
                  <a:cubicBezTo>
                    <a:pt x="827722" y="277177"/>
                    <a:pt x="835342" y="281940"/>
                    <a:pt x="842010" y="287655"/>
                  </a:cubicBezTo>
                  <a:cubicBezTo>
                    <a:pt x="856297" y="299085"/>
                    <a:pt x="858202" y="308610"/>
                    <a:pt x="848677" y="324802"/>
                  </a:cubicBezTo>
                  <a:cubicBezTo>
                    <a:pt x="819150" y="372427"/>
                    <a:pt x="790575" y="420052"/>
                    <a:pt x="761047" y="467677"/>
                  </a:cubicBezTo>
                  <a:cubicBezTo>
                    <a:pt x="759142" y="471487"/>
                    <a:pt x="756285" y="475297"/>
                    <a:pt x="752475" y="481965"/>
                  </a:cubicBezTo>
                  <a:cubicBezTo>
                    <a:pt x="773430" y="472440"/>
                    <a:pt x="789622" y="461962"/>
                    <a:pt x="806767" y="450532"/>
                  </a:cubicBezTo>
                  <a:cubicBezTo>
                    <a:pt x="848677" y="421957"/>
                    <a:pt x="892492" y="401955"/>
                    <a:pt x="942975" y="391477"/>
                  </a:cubicBezTo>
                  <a:cubicBezTo>
                    <a:pt x="1080135" y="363855"/>
                    <a:pt x="1200150" y="399097"/>
                    <a:pt x="1303020" y="489585"/>
                  </a:cubicBezTo>
                  <a:cubicBezTo>
                    <a:pt x="1335405" y="518160"/>
                    <a:pt x="1360170" y="554355"/>
                    <a:pt x="1372552" y="596265"/>
                  </a:cubicBezTo>
                  <a:cubicBezTo>
                    <a:pt x="1385887" y="640080"/>
                    <a:pt x="1387792" y="686752"/>
                    <a:pt x="1383030" y="732472"/>
                  </a:cubicBezTo>
                  <a:cubicBezTo>
                    <a:pt x="1381125" y="753427"/>
                    <a:pt x="1382077" y="774382"/>
                    <a:pt x="1380172" y="796290"/>
                  </a:cubicBezTo>
                  <a:cubicBezTo>
                    <a:pt x="1380172" y="801052"/>
                    <a:pt x="1381125" y="806767"/>
                    <a:pt x="1376362" y="808672"/>
                  </a:cubicBezTo>
                  <a:cubicBezTo>
                    <a:pt x="1372552" y="810577"/>
                    <a:pt x="1369695" y="805815"/>
                    <a:pt x="1365885" y="802957"/>
                  </a:cubicBezTo>
                  <a:cubicBezTo>
                    <a:pt x="1365885" y="802957"/>
                    <a:pt x="1364932" y="802005"/>
                    <a:pt x="1364932" y="802005"/>
                  </a:cubicBezTo>
                  <a:cubicBezTo>
                    <a:pt x="1319212" y="768667"/>
                    <a:pt x="1275397" y="733425"/>
                    <a:pt x="1263967" y="672465"/>
                  </a:cubicBezTo>
                  <a:cubicBezTo>
                    <a:pt x="1263015" y="673417"/>
                    <a:pt x="1261110" y="674370"/>
                    <a:pt x="1260157" y="675322"/>
                  </a:cubicBezTo>
                  <a:cubicBezTo>
                    <a:pt x="1262062" y="686752"/>
                    <a:pt x="1263967" y="698182"/>
                    <a:pt x="1265872" y="710565"/>
                  </a:cubicBezTo>
                  <a:cubicBezTo>
                    <a:pt x="1267777" y="720090"/>
                    <a:pt x="1263967" y="722947"/>
                    <a:pt x="1254442" y="720090"/>
                  </a:cubicBezTo>
                  <a:cubicBezTo>
                    <a:pt x="1232535" y="711517"/>
                    <a:pt x="1213485" y="699135"/>
                    <a:pt x="1194435" y="685800"/>
                  </a:cubicBezTo>
                  <a:cubicBezTo>
                    <a:pt x="1190625" y="682942"/>
                    <a:pt x="1186815" y="679132"/>
                    <a:pt x="1182052" y="677227"/>
                  </a:cubicBezTo>
                  <a:cubicBezTo>
                    <a:pt x="1163002" y="665797"/>
                    <a:pt x="1152525" y="650557"/>
                    <a:pt x="1148715" y="626745"/>
                  </a:cubicBezTo>
                  <a:cubicBezTo>
                    <a:pt x="1143000" y="587692"/>
                    <a:pt x="1119187" y="548640"/>
                    <a:pt x="1088707" y="515302"/>
                  </a:cubicBezTo>
                  <a:cubicBezTo>
                    <a:pt x="1097280" y="544830"/>
                    <a:pt x="1106805" y="570547"/>
                    <a:pt x="1110615" y="598170"/>
                  </a:cubicBezTo>
                  <a:cubicBezTo>
                    <a:pt x="1111567" y="607695"/>
                    <a:pt x="1113472" y="617220"/>
                    <a:pt x="1114425" y="626745"/>
                  </a:cubicBezTo>
                  <a:cubicBezTo>
                    <a:pt x="1115377" y="637222"/>
                    <a:pt x="1112520" y="641032"/>
                    <a:pt x="1100137" y="638175"/>
                  </a:cubicBezTo>
                  <a:cubicBezTo>
                    <a:pt x="1067752" y="629602"/>
                    <a:pt x="1036320" y="619125"/>
                    <a:pt x="1003935" y="612457"/>
                  </a:cubicBezTo>
                  <a:cubicBezTo>
                    <a:pt x="952500" y="602932"/>
                    <a:pt x="903922" y="612457"/>
                    <a:pt x="855345" y="625792"/>
                  </a:cubicBezTo>
                  <a:cubicBezTo>
                    <a:pt x="833437" y="631507"/>
                    <a:pt x="824865" y="649605"/>
                    <a:pt x="833437" y="669607"/>
                  </a:cubicBezTo>
                  <a:cubicBezTo>
                    <a:pt x="846772" y="702945"/>
                    <a:pt x="841057" y="734377"/>
                    <a:pt x="826770" y="765810"/>
                  </a:cubicBezTo>
                  <a:cubicBezTo>
                    <a:pt x="816292" y="788670"/>
                    <a:pt x="803910" y="810577"/>
                    <a:pt x="794385" y="834390"/>
                  </a:cubicBezTo>
                  <a:cubicBezTo>
                    <a:pt x="784860" y="859155"/>
                    <a:pt x="789622" y="883920"/>
                    <a:pt x="788670" y="909637"/>
                  </a:cubicBezTo>
                  <a:cubicBezTo>
                    <a:pt x="788670" y="916305"/>
                    <a:pt x="792480" y="926782"/>
                    <a:pt x="783907" y="929640"/>
                  </a:cubicBezTo>
                  <a:cubicBezTo>
                    <a:pt x="775335" y="932497"/>
                    <a:pt x="772477" y="922020"/>
                    <a:pt x="767715" y="916305"/>
                  </a:cubicBezTo>
                  <a:cubicBezTo>
                    <a:pt x="746760" y="888682"/>
                    <a:pt x="726757" y="861060"/>
                    <a:pt x="705802" y="834390"/>
                  </a:cubicBezTo>
                  <a:cubicBezTo>
                    <a:pt x="699135" y="825817"/>
                    <a:pt x="698182" y="818197"/>
                    <a:pt x="701040" y="807720"/>
                  </a:cubicBezTo>
                  <a:cubicBezTo>
                    <a:pt x="708660" y="782002"/>
                    <a:pt x="713422" y="756285"/>
                    <a:pt x="703897" y="730567"/>
                  </a:cubicBezTo>
                  <a:cubicBezTo>
                    <a:pt x="702945" y="728662"/>
                    <a:pt x="701992" y="725805"/>
                    <a:pt x="698182" y="724852"/>
                  </a:cubicBezTo>
                  <a:cubicBezTo>
                    <a:pt x="689610" y="738187"/>
                    <a:pt x="683895" y="752475"/>
                    <a:pt x="678180" y="767715"/>
                  </a:cubicBezTo>
                  <a:cubicBezTo>
                    <a:pt x="647700" y="841057"/>
                    <a:pt x="630555" y="918210"/>
                    <a:pt x="608647" y="994410"/>
                  </a:cubicBezTo>
                  <a:cubicBezTo>
                    <a:pt x="577215" y="1106805"/>
                    <a:pt x="551497" y="1221105"/>
                    <a:pt x="536257" y="1337310"/>
                  </a:cubicBezTo>
                  <a:cubicBezTo>
                    <a:pt x="528637" y="1400175"/>
                    <a:pt x="522922" y="1462087"/>
                    <a:pt x="519112" y="1524952"/>
                  </a:cubicBezTo>
                  <a:cubicBezTo>
                    <a:pt x="512445" y="1621155"/>
                    <a:pt x="525780" y="1715452"/>
                    <a:pt x="543877" y="1808797"/>
                  </a:cubicBezTo>
                  <a:cubicBezTo>
                    <a:pt x="557212" y="1878330"/>
                    <a:pt x="592455" y="1939290"/>
                    <a:pt x="629602" y="1998345"/>
                  </a:cubicBezTo>
                  <a:cubicBezTo>
                    <a:pt x="677227" y="2075497"/>
                    <a:pt x="731520" y="2147887"/>
                    <a:pt x="803910" y="2204085"/>
                  </a:cubicBezTo>
                  <a:cubicBezTo>
                    <a:pt x="828675" y="2223135"/>
                    <a:pt x="856297" y="2238375"/>
                    <a:pt x="883920" y="2251710"/>
                  </a:cubicBezTo>
                  <a:cubicBezTo>
                    <a:pt x="889635" y="2254567"/>
                    <a:pt x="896302" y="2255520"/>
                    <a:pt x="902970" y="2253615"/>
                  </a:cubicBezTo>
                  <a:lnTo>
                    <a:pt x="912996" y="2252226"/>
                  </a:lnTo>
                  <a:lnTo>
                    <a:pt x="701023" y="2351375"/>
                  </a:lnTo>
                  <a:lnTo>
                    <a:pt x="696277" y="2346007"/>
                  </a:lnTo>
                  <a:cubicBezTo>
                    <a:pt x="640080" y="2306002"/>
                    <a:pt x="588645" y="2261235"/>
                    <a:pt x="544830" y="2207895"/>
                  </a:cubicBezTo>
                  <a:cubicBezTo>
                    <a:pt x="468630" y="2113597"/>
                    <a:pt x="415290" y="2009775"/>
                    <a:pt x="397192" y="1887855"/>
                  </a:cubicBezTo>
                  <a:cubicBezTo>
                    <a:pt x="385762" y="1806892"/>
                    <a:pt x="368617" y="1725930"/>
                    <a:pt x="368617" y="1643062"/>
                  </a:cubicBezTo>
                  <a:cubicBezTo>
                    <a:pt x="368617" y="1605915"/>
                    <a:pt x="371475" y="1568767"/>
                    <a:pt x="374332" y="1531620"/>
                  </a:cubicBezTo>
                  <a:cubicBezTo>
                    <a:pt x="379095" y="1465897"/>
                    <a:pt x="387667" y="1400175"/>
                    <a:pt x="397192" y="1335405"/>
                  </a:cubicBezTo>
                  <a:cubicBezTo>
                    <a:pt x="410527" y="1250632"/>
                    <a:pt x="433387" y="1169670"/>
                    <a:pt x="459105" y="1087755"/>
                  </a:cubicBezTo>
                  <a:cubicBezTo>
                    <a:pt x="498157" y="963930"/>
                    <a:pt x="541972" y="841057"/>
                    <a:pt x="603885" y="725805"/>
                  </a:cubicBezTo>
                  <a:cubicBezTo>
                    <a:pt x="608647" y="716280"/>
                    <a:pt x="614362" y="706755"/>
                    <a:pt x="620077" y="696277"/>
                  </a:cubicBezTo>
                  <a:cubicBezTo>
                    <a:pt x="600075" y="694372"/>
                    <a:pt x="588645" y="703897"/>
                    <a:pt x="577215" y="716280"/>
                  </a:cubicBezTo>
                  <a:cubicBezTo>
                    <a:pt x="566737" y="728662"/>
                    <a:pt x="556260" y="741045"/>
                    <a:pt x="545782" y="753427"/>
                  </a:cubicBezTo>
                  <a:cubicBezTo>
                    <a:pt x="530542" y="771525"/>
                    <a:pt x="512445" y="776287"/>
                    <a:pt x="490537" y="767715"/>
                  </a:cubicBezTo>
                  <a:cubicBezTo>
                    <a:pt x="467677" y="759142"/>
                    <a:pt x="443865" y="752475"/>
                    <a:pt x="417195" y="742950"/>
                  </a:cubicBezTo>
                  <a:cubicBezTo>
                    <a:pt x="434340" y="760095"/>
                    <a:pt x="448627" y="773430"/>
                    <a:pt x="462915" y="788670"/>
                  </a:cubicBezTo>
                  <a:cubicBezTo>
                    <a:pt x="492442" y="819150"/>
                    <a:pt x="490537" y="808672"/>
                    <a:pt x="466725" y="845820"/>
                  </a:cubicBezTo>
                  <a:cubicBezTo>
                    <a:pt x="459105" y="857250"/>
                    <a:pt x="448627" y="860107"/>
                    <a:pt x="435292" y="854392"/>
                  </a:cubicBezTo>
                  <a:cubicBezTo>
                    <a:pt x="418147" y="847725"/>
                    <a:pt x="400050" y="842010"/>
                    <a:pt x="379095" y="834390"/>
                  </a:cubicBezTo>
                  <a:cubicBezTo>
                    <a:pt x="395287" y="855345"/>
                    <a:pt x="408622" y="873442"/>
                    <a:pt x="421957" y="890587"/>
                  </a:cubicBezTo>
                  <a:cubicBezTo>
                    <a:pt x="428625" y="899160"/>
                    <a:pt x="428625" y="905827"/>
                    <a:pt x="422910" y="915352"/>
                  </a:cubicBezTo>
                  <a:cubicBezTo>
                    <a:pt x="412432" y="931545"/>
                    <a:pt x="401955" y="948690"/>
                    <a:pt x="392430" y="965835"/>
                  </a:cubicBezTo>
                  <a:cubicBezTo>
                    <a:pt x="376237" y="992505"/>
                    <a:pt x="376237" y="992505"/>
                    <a:pt x="346710" y="983932"/>
                  </a:cubicBezTo>
                  <a:cubicBezTo>
                    <a:pt x="345757" y="983932"/>
                    <a:pt x="343852" y="982027"/>
                    <a:pt x="343852" y="984885"/>
                  </a:cubicBezTo>
                  <a:cubicBezTo>
                    <a:pt x="345757" y="985837"/>
                    <a:pt x="346710" y="986790"/>
                    <a:pt x="348615" y="988695"/>
                  </a:cubicBezTo>
                  <a:cubicBezTo>
                    <a:pt x="366712" y="1002982"/>
                    <a:pt x="370522" y="1018222"/>
                    <a:pt x="361950" y="1034415"/>
                  </a:cubicBezTo>
                  <a:cubicBezTo>
                    <a:pt x="354330" y="1047750"/>
                    <a:pt x="340042" y="1051560"/>
                    <a:pt x="319087" y="1044892"/>
                  </a:cubicBezTo>
                  <a:cubicBezTo>
                    <a:pt x="304800" y="1040130"/>
                    <a:pt x="291465" y="1032510"/>
                    <a:pt x="278130" y="1025842"/>
                  </a:cubicBezTo>
                  <a:cubicBezTo>
                    <a:pt x="299085" y="1047750"/>
                    <a:pt x="319087" y="1070610"/>
                    <a:pt x="343852" y="1088707"/>
                  </a:cubicBezTo>
                  <a:cubicBezTo>
                    <a:pt x="354330" y="1096327"/>
                    <a:pt x="356235" y="1113472"/>
                    <a:pt x="350520" y="1123950"/>
                  </a:cubicBezTo>
                  <a:cubicBezTo>
                    <a:pt x="343852" y="1135380"/>
                    <a:pt x="333375" y="1136332"/>
                    <a:pt x="321945" y="1132522"/>
                  </a:cubicBezTo>
                  <a:cubicBezTo>
                    <a:pt x="316230" y="1130617"/>
                    <a:pt x="309562" y="1128712"/>
                    <a:pt x="303847" y="1126807"/>
                  </a:cubicBezTo>
                  <a:cubicBezTo>
                    <a:pt x="325755" y="1147762"/>
                    <a:pt x="342900" y="1169670"/>
                    <a:pt x="345757" y="1203007"/>
                  </a:cubicBezTo>
                  <a:cubicBezTo>
                    <a:pt x="348615" y="1232535"/>
                    <a:pt x="358140" y="1262062"/>
                    <a:pt x="363855" y="1291590"/>
                  </a:cubicBezTo>
                  <a:cubicBezTo>
                    <a:pt x="364807" y="1294447"/>
                    <a:pt x="366712" y="1299210"/>
                    <a:pt x="362902" y="1301115"/>
                  </a:cubicBezTo>
                  <a:cubicBezTo>
                    <a:pt x="360045" y="1303020"/>
                    <a:pt x="357187" y="1300162"/>
                    <a:pt x="354330" y="1299210"/>
                  </a:cubicBezTo>
                  <a:cubicBezTo>
                    <a:pt x="338137" y="1290637"/>
                    <a:pt x="322897" y="1281112"/>
                    <a:pt x="309562" y="1268730"/>
                  </a:cubicBezTo>
                  <a:cubicBezTo>
                    <a:pt x="280987" y="1241107"/>
                    <a:pt x="254317" y="1211580"/>
                    <a:pt x="228600" y="1180147"/>
                  </a:cubicBezTo>
                  <a:cubicBezTo>
                    <a:pt x="206692" y="1153477"/>
                    <a:pt x="185737" y="1124902"/>
                    <a:pt x="180975" y="1088707"/>
                  </a:cubicBezTo>
                  <a:cubicBezTo>
                    <a:pt x="179070" y="1072515"/>
                    <a:pt x="183832" y="1057275"/>
                    <a:pt x="181927" y="1042035"/>
                  </a:cubicBezTo>
                  <a:cubicBezTo>
                    <a:pt x="178117" y="1002030"/>
                    <a:pt x="180022" y="962025"/>
                    <a:pt x="179070" y="922972"/>
                  </a:cubicBezTo>
                  <a:cubicBezTo>
                    <a:pt x="179070" y="914400"/>
                    <a:pt x="180975" y="906780"/>
                    <a:pt x="185737" y="900112"/>
                  </a:cubicBezTo>
                  <a:cubicBezTo>
                    <a:pt x="208597" y="862012"/>
                    <a:pt x="230505" y="823912"/>
                    <a:pt x="258127" y="788670"/>
                  </a:cubicBezTo>
                  <a:cubicBezTo>
                    <a:pt x="281940" y="757237"/>
                    <a:pt x="304800" y="724852"/>
                    <a:pt x="340042" y="704850"/>
                  </a:cubicBezTo>
                  <a:cubicBezTo>
                    <a:pt x="368617" y="688657"/>
                    <a:pt x="396240" y="670560"/>
                    <a:pt x="425767" y="656272"/>
                  </a:cubicBezTo>
                  <a:cubicBezTo>
                    <a:pt x="429577" y="654367"/>
                    <a:pt x="435292" y="653415"/>
                    <a:pt x="438150" y="644842"/>
                  </a:cubicBezTo>
                  <a:cubicBezTo>
                    <a:pt x="374332" y="662940"/>
                    <a:pt x="323850" y="633412"/>
                    <a:pt x="275272" y="600075"/>
                  </a:cubicBezTo>
                  <a:cubicBezTo>
                    <a:pt x="272415" y="598170"/>
                    <a:pt x="268605" y="596265"/>
                    <a:pt x="264795" y="594360"/>
                  </a:cubicBezTo>
                  <a:cubicBezTo>
                    <a:pt x="257175" y="590550"/>
                    <a:pt x="249555" y="586740"/>
                    <a:pt x="242887" y="583882"/>
                  </a:cubicBezTo>
                  <a:cubicBezTo>
                    <a:pt x="270510" y="616267"/>
                    <a:pt x="306705" y="640080"/>
                    <a:pt x="336232" y="676275"/>
                  </a:cubicBezTo>
                  <a:cubicBezTo>
                    <a:pt x="304800" y="673417"/>
                    <a:pt x="282892" y="683895"/>
                    <a:pt x="263842" y="700087"/>
                  </a:cubicBezTo>
                  <a:cubicBezTo>
                    <a:pt x="256222" y="706755"/>
                    <a:pt x="248602" y="712470"/>
                    <a:pt x="240030" y="719137"/>
                  </a:cubicBezTo>
                  <a:cubicBezTo>
                    <a:pt x="215265" y="738187"/>
                    <a:pt x="190500" y="748665"/>
                    <a:pt x="160972" y="728662"/>
                  </a:cubicBezTo>
                  <a:cubicBezTo>
                    <a:pt x="169545" y="741045"/>
                    <a:pt x="178117" y="751522"/>
                    <a:pt x="186690" y="762952"/>
                  </a:cubicBezTo>
                  <a:cubicBezTo>
                    <a:pt x="190500" y="767715"/>
                    <a:pt x="195262" y="773430"/>
                    <a:pt x="189547" y="780097"/>
                  </a:cubicBezTo>
                  <a:cubicBezTo>
                    <a:pt x="172402" y="800100"/>
                    <a:pt x="167640" y="824865"/>
                    <a:pt x="160972" y="849630"/>
                  </a:cubicBezTo>
                  <a:cubicBezTo>
                    <a:pt x="158115" y="860107"/>
                    <a:pt x="155257" y="871537"/>
                    <a:pt x="148590" y="880110"/>
                  </a:cubicBezTo>
                  <a:cubicBezTo>
                    <a:pt x="143827" y="887730"/>
                    <a:pt x="137160" y="890587"/>
                    <a:pt x="130492" y="882015"/>
                  </a:cubicBezTo>
                  <a:cubicBezTo>
                    <a:pt x="128587" y="880110"/>
                    <a:pt x="126682" y="878205"/>
                    <a:pt x="121920" y="874395"/>
                  </a:cubicBezTo>
                  <a:cubicBezTo>
                    <a:pt x="128587" y="890587"/>
                    <a:pt x="140017" y="902017"/>
                    <a:pt x="139065" y="917257"/>
                  </a:cubicBezTo>
                  <a:cubicBezTo>
                    <a:pt x="137160" y="938212"/>
                    <a:pt x="136207" y="958215"/>
                    <a:pt x="133350" y="979170"/>
                  </a:cubicBezTo>
                  <a:cubicBezTo>
                    <a:pt x="132397" y="990600"/>
                    <a:pt x="128587" y="1001077"/>
                    <a:pt x="122872" y="1010602"/>
                  </a:cubicBezTo>
                  <a:cubicBezTo>
                    <a:pt x="115252" y="1024890"/>
                    <a:pt x="112395" y="1024890"/>
                    <a:pt x="103822" y="1012507"/>
                  </a:cubicBezTo>
                  <a:cubicBezTo>
                    <a:pt x="98107" y="1003935"/>
                    <a:pt x="92392" y="995362"/>
                    <a:pt x="88582" y="986790"/>
                  </a:cubicBezTo>
                  <a:cubicBezTo>
                    <a:pt x="51435" y="912495"/>
                    <a:pt x="19050" y="844867"/>
                    <a:pt x="0" y="771525"/>
                  </a:cubicBezTo>
                  <a:cubicBezTo>
                    <a:pt x="0" y="752475"/>
                    <a:pt x="0" y="733425"/>
                    <a:pt x="0" y="714375"/>
                  </a:cubicBezTo>
                  <a:cubicBezTo>
                    <a:pt x="952" y="712470"/>
                    <a:pt x="1905" y="710565"/>
                    <a:pt x="2857" y="708660"/>
                  </a:cubicBezTo>
                  <a:cubicBezTo>
                    <a:pt x="42862" y="609600"/>
                    <a:pt x="99060" y="524827"/>
                    <a:pt x="195262" y="469582"/>
                  </a:cubicBezTo>
                  <a:cubicBezTo>
                    <a:pt x="236220" y="445770"/>
                    <a:pt x="279082" y="431482"/>
                    <a:pt x="325755" y="436245"/>
                  </a:cubicBezTo>
                  <a:cubicBezTo>
                    <a:pt x="361950" y="440055"/>
                    <a:pt x="397192" y="449580"/>
                    <a:pt x="431482" y="460057"/>
                  </a:cubicBezTo>
                  <a:cubicBezTo>
                    <a:pt x="474345" y="473392"/>
                    <a:pt x="517207" y="485775"/>
                    <a:pt x="560070" y="499110"/>
                  </a:cubicBezTo>
                  <a:cubicBezTo>
                    <a:pt x="569595" y="501967"/>
                    <a:pt x="574357" y="501967"/>
                    <a:pt x="570547" y="490537"/>
                  </a:cubicBezTo>
                  <a:cubicBezTo>
                    <a:pt x="561975" y="466725"/>
                    <a:pt x="555307" y="441007"/>
                    <a:pt x="539115" y="420052"/>
                  </a:cubicBezTo>
                  <a:cubicBezTo>
                    <a:pt x="508635" y="379095"/>
                    <a:pt x="478155" y="338137"/>
                    <a:pt x="437197" y="306705"/>
                  </a:cubicBezTo>
                  <a:cubicBezTo>
                    <a:pt x="429577" y="300990"/>
                    <a:pt x="426720" y="294322"/>
                    <a:pt x="427672" y="284797"/>
                  </a:cubicBezTo>
                  <a:cubicBezTo>
                    <a:pt x="430530" y="263842"/>
                    <a:pt x="433387" y="241935"/>
                    <a:pt x="436245" y="220980"/>
                  </a:cubicBezTo>
                  <a:cubicBezTo>
                    <a:pt x="426720" y="238125"/>
                    <a:pt x="417195" y="255270"/>
                    <a:pt x="410527" y="273367"/>
                  </a:cubicBezTo>
                  <a:cubicBezTo>
                    <a:pt x="404812" y="288607"/>
                    <a:pt x="396240" y="291465"/>
                    <a:pt x="381952" y="288607"/>
                  </a:cubicBezTo>
                  <a:cubicBezTo>
                    <a:pt x="365760" y="284797"/>
                    <a:pt x="349567" y="282892"/>
                    <a:pt x="332422" y="280035"/>
                  </a:cubicBezTo>
                  <a:cubicBezTo>
                    <a:pt x="301942" y="275272"/>
                    <a:pt x="303847" y="277177"/>
                    <a:pt x="301942" y="246697"/>
                  </a:cubicBezTo>
                  <a:cubicBezTo>
                    <a:pt x="301942" y="245745"/>
                    <a:pt x="300990" y="245745"/>
                    <a:pt x="300037" y="243840"/>
                  </a:cubicBezTo>
                  <a:cubicBezTo>
                    <a:pt x="289560" y="267652"/>
                    <a:pt x="268605" y="274320"/>
                    <a:pt x="246697" y="281940"/>
                  </a:cubicBezTo>
                  <a:cubicBezTo>
                    <a:pt x="224790" y="289560"/>
                    <a:pt x="202882" y="296227"/>
                    <a:pt x="185737" y="314325"/>
                  </a:cubicBezTo>
                  <a:cubicBezTo>
                    <a:pt x="178117" y="322897"/>
                    <a:pt x="168592" y="319087"/>
                    <a:pt x="162877" y="311467"/>
                  </a:cubicBezTo>
                  <a:cubicBezTo>
                    <a:pt x="151447" y="297180"/>
                    <a:pt x="145732" y="280987"/>
                    <a:pt x="145732" y="262890"/>
                  </a:cubicBezTo>
                  <a:cubicBezTo>
                    <a:pt x="145732" y="249555"/>
                    <a:pt x="145732" y="235267"/>
                    <a:pt x="145732" y="220027"/>
                  </a:cubicBezTo>
                  <a:cubicBezTo>
                    <a:pt x="140017" y="222885"/>
                    <a:pt x="141922" y="226695"/>
                    <a:pt x="141922" y="229552"/>
                  </a:cubicBezTo>
                  <a:cubicBezTo>
                    <a:pt x="140970" y="274320"/>
                    <a:pt x="139065" y="318135"/>
                    <a:pt x="139065" y="362902"/>
                  </a:cubicBezTo>
                  <a:cubicBezTo>
                    <a:pt x="139065" y="381000"/>
                    <a:pt x="133350" y="393382"/>
                    <a:pt x="120967" y="405765"/>
                  </a:cubicBezTo>
                  <a:cubicBezTo>
                    <a:pt x="100965" y="425767"/>
                    <a:pt x="79057" y="423862"/>
                    <a:pt x="67627" y="398145"/>
                  </a:cubicBezTo>
                  <a:cubicBezTo>
                    <a:pt x="44767" y="347662"/>
                    <a:pt x="46672" y="295275"/>
                    <a:pt x="60007" y="242887"/>
                  </a:cubicBezTo>
                  <a:cubicBezTo>
                    <a:pt x="60007" y="240982"/>
                    <a:pt x="60960" y="240030"/>
                    <a:pt x="61912" y="239077"/>
                  </a:cubicBezTo>
                  <a:cubicBezTo>
                    <a:pt x="87630" y="186690"/>
                    <a:pt x="114300" y="137160"/>
                    <a:pt x="142875" y="88582"/>
                  </a:cubicBezTo>
                  <a:cubicBezTo>
                    <a:pt x="145732" y="82867"/>
                    <a:pt x="148590" y="77152"/>
                    <a:pt x="155257" y="73342"/>
                  </a:cubicBezTo>
                  <a:cubicBezTo>
                    <a:pt x="208597" y="47625"/>
                    <a:pt x="262890" y="30480"/>
                    <a:pt x="322897" y="40005"/>
                  </a:cubicBezTo>
                  <a:cubicBezTo>
                    <a:pt x="356235" y="44767"/>
                    <a:pt x="387667" y="53340"/>
                    <a:pt x="420052" y="60960"/>
                  </a:cubicBezTo>
                  <a:cubicBezTo>
                    <a:pt x="453390" y="68580"/>
                    <a:pt x="479107" y="84772"/>
                    <a:pt x="500062" y="113347"/>
                  </a:cubicBezTo>
                  <a:cubicBezTo>
                    <a:pt x="521970" y="143827"/>
                    <a:pt x="540067" y="176212"/>
                    <a:pt x="562927" y="205740"/>
                  </a:cubicBezTo>
                  <a:cubicBezTo>
                    <a:pt x="588645" y="239077"/>
                    <a:pt x="603885" y="276225"/>
                    <a:pt x="613410" y="316230"/>
                  </a:cubicBezTo>
                  <a:cubicBezTo>
                    <a:pt x="617220" y="332422"/>
                    <a:pt x="621982" y="347662"/>
                    <a:pt x="626745" y="367665"/>
                  </a:cubicBezTo>
                  <a:cubicBezTo>
                    <a:pt x="644842" y="308610"/>
                    <a:pt x="661035" y="253365"/>
                    <a:pt x="678180" y="199072"/>
                  </a:cubicBezTo>
                  <a:cubicBezTo>
                    <a:pt x="690562" y="160020"/>
                    <a:pt x="680085" y="163830"/>
                    <a:pt x="728662" y="156210"/>
                  </a:cubicBezTo>
                  <a:cubicBezTo>
                    <a:pt x="742950" y="154305"/>
                    <a:pt x="758190" y="152400"/>
                    <a:pt x="772477" y="140970"/>
                  </a:cubicBezTo>
                  <a:cubicBezTo>
                    <a:pt x="761047" y="140017"/>
                    <a:pt x="751522" y="140017"/>
                    <a:pt x="741997" y="138112"/>
                  </a:cubicBezTo>
                  <a:cubicBezTo>
                    <a:pt x="712470" y="133350"/>
                    <a:pt x="703897" y="115252"/>
                    <a:pt x="721042" y="90487"/>
                  </a:cubicBezTo>
                  <a:cubicBezTo>
                    <a:pt x="730567" y="75247"/>
                    <a:pt x="741997" y="60960"/>
                    <a:pt x="753427" y="46672"/>
                  </a:cubicBezTo>
                  <a:cubicBezTo>
                    <a:pt x="760095" y="38100"/>
                    <a:pt x="768667" y="35242"/>
                    <a:pt x="778192" y="35242"/>
                  </a:cubicBezTo>
                  <a:cubicBezTo>
                    <a:pt x="789622" y="34290"/>
                    <a:pt x="801052" y="38100"/>
                    <a:pt x="816292" y="40005"/>
                  </a:cubicBezTo>
                  <a:cubicBezTo>
                    <a:pt x="807720" y="33337"/>
                    <a:pt x="802005" y="27622"/>
                    <a:pt x="795337" y="22860"/>
                  </a:cubicBezTo>
                  <a:cubicBezTo>
                    <a:pt x="787717" y="16192"/>
                    <a:pt x="784860" y="9525"/>
                    <a:pt x="789622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algn="l" defTabSz="76340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6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굴림" panose="020B0600000101010101" pitchFamily="50" charset="-127"/>
                <a:cs typeface="+mn-cs"/>
              </a:endParaRPr>
            </a:p>
          </p:txBody>
        </p:sp>
        <p:sp>
          <p:nvSpPr>
            <p:cNvPr id="6" name="Freeform: Shape 182">
              <a:extLst>
                <a:ext uri="{FF2B5EF4-FFF2-40B4-BE49-F238E27FC236}">
                  <a16:creationId xmlns:a16="http://schemas.microsoft.com/office/drawing/2014/main" id="{E2554D23-E0A9-44B8-84D8-C6549A8F0074}"/>
                </a:ext>
              </a:extLst>
            </p:cNvPr>
            <p:cNvSpPr/>
            <p:nvPr/>
          </p:nvSpPr>
          <p:spPr>
            <a:xfrm>
              <a:off x="10898822" y="5108406"/>
              <a:ext cx="997904" cy="1681571"/>
            </a:xfrm>
            <a:custGeom>
              <a:avLst/>
              <a:gdLst>
                <a:gd name="connsiteX0" fmla="*/ 518320 w 1386208"/>
                <a:gd name="connsiteY0" fmla="*/ 0 h 2335903"/>
                <a:gd name="connsiteX1" fmla="*/ 593568 w 1386208"/>
                <a:gd name="connsiteY1" fmla="*/ 0 h 2335903"/>
                <a:gd name="connsiteX2" fmla="*/ 588805 w 1386208"/>
                <a:gd name="connsiteY2" fmla="*/ 22860 h 2335903"/>
                <a:gd name="connsiteX3" fmla="*/ 568803 w 1386208"/>
                <a:gd name="connsiteY3" fmla="*/ 40005 h 2335903"/>
                <a:gd name="connsiteX4" fmla="*/ 600235 w 1386208"/>
                <a:gd name="connsiteY4" fmla="*/ 35242 h 2335903"/>
                <a:gd name="connsiteX5" fmla="*/ 626905 w 1386208"/>
                <a:gd name="connsiteY5" fmla="*/ 41910 h 2335903"/>
                <a:gd name="connsiteX6" fmla="*/ 668815 w 1386208"/>
                <a:gd name="connsiteY6" fmla="*/ 100965 h 2335903"/>
                <a:gd name="connsiteX7" fmla="*/ 649765 w 1386208"/>
                <a:gd name="connsiteY7" fmla="*/ 137160 h 2335903"/>
                <a:gd name="connsiteX8" fmla="*/ 611665 w 1386208"/>
                <a:gd name="connsiteY8" fmla="*/ 140970 h 2335903"/>
                <a:gd name="connsiteX9" fmla="*/ 638335 w 1386208"/>
                <a:gd name="connsiteY9" fmla="*/ 153352 h 2335903"/>
                <a:gd name="connsiteX10" fmla="*/ 677388 w 1386208"/>
                <a:gd name="connsiteY10" fmla="*/ 160020 h 2335903"/>
                <a:gd name="connsiteX11" fmla="*/ 701200 w 1386208"/>
                <a:gd name="connsiteY11" fmla="*/ 180975 h 2335903"/>
                <a:gd name="connsiteX12" fmla="*/ 738348 w 1386208"/>
                <a:gd name="connsiteY12" fmla="*/ 302895 h 2335903"/>
                <a:gd name="connsiteX13" fmla="*/ 758350 w 1386208"/>
                <a:gd name="connsiteY13" fmla="*/ 368617 h 2335903"/>
                <a:gd name="connsiteX14" fmla="*/ 765970 w 1386208"/>
                <a:gd name="connsiteY14" fmla="*/ 338137 h 2335903"/>
                <a:gd name="connsiteX15" fmla="*/ 805975 w 1386208"/>
                <a:gd name="connsiteY15" fmla="*/ 229552 h 2335903"/>
                <a:gd name="connsiteX16" fmla="*/ 851695 w 1386208"/>
                <a:gd name="connsiteY16" fmla="*/ 160020 h 2335903"/>
                <a:gd name="connsiteX17" fmla="*/ 1001238 w 1386208"/>
                <a:gd name="connsiteY17" fmla="*/ 53340 h 2335903"/>
                <a:gd name="connsiteX18" fmla="*/ 1221265 w 1386208"/>
                <a:gd name="connsiteY18" fmla="*/ 71437 h 2335903"/>
                <a:gd name="connsiteX19" fmla="*/ 1242220 w 1386208"/>
                <a:gd name="connsiteY19" fmla="*/ 90487 h 2335903"/>
                <a:gd name="connsiteX20" fmla="*/ 1277463 w 1386208"/>
                <a:gd name="connsiteY20" fmla="*/ 153352 h 2335903"/>
                <a:gd name="connsiteX21" fmla="*/ 1330803 w 1386208"/>
                <a:gd name="connsiteY21" fmla="*/ 338137 h 2335903"/>
                <a:gd name="connsiteX22" fmla="*/ 1330803 w 1386208"/>
                <a:gd name="connsiteY22" fmla="*/ 342900 h 2335903"/>
                <a:gd name="connsiteX23" fmla="*/ 1313658 w 1386208"/>
                <a:gd name="connsiteY23" fmla="*/ 400050 h 2335903"/>
                <a:gd name="connsiteX24" fmla="*/ 1278415 w 1386208"/>
                <a:gd name="connsiteY24" fmla="*/ 417195 h 2335903"/>
                <a:gd name="connsiteX25" fmla="*/ 1244125 w 1386208"/>
                <a:gd name="connsiteY25" fmla="*/ 369570 h 2335903"/>
                <a:gd name="connsiteX26" fmla="*/ 1241268 w 1386208"/>
                <a:gd name="connsiteY26" fmla="*/ 228600 h 2335903"/>
                <a:gd name="connsiteX27" fmla="*/ 1237458 w 1386208"/>
                <a:gd name="connsiteY27" fmla="*/ 220027 h 2335903"/>
                <a:gd name="connsiteX28" fmla="*/ 1237458 w 1386208"/>
                <a:gd name="connsiteY28" fmla="*/ 262890 h 2335903"/>
                <a:gd name="connsiteX29" fmla="*/ 1221265 w 1386208"/>
                <a:gd name="connsiteY29" fmla="*/ 310515 h 2335903"/>
                <a:gd name="connsiteX30" fmla="*/ 1198405 w 1386208"/>
                <a:gd name="connsiteY30" fmla="*/ 315277 h 2335903"/>
                <a:gd name="connsiteX31" fmla="*/ 1128873 w 1386208"/>
                <a:gd name="connsiteY31" fmla="*/ 280035 h 2335903"/>
                <a:gd name="connsiteX32" fmla="*/ 1081248 w 1386208"/>
                <a:gd name="connsiteY32" fmla="*/ 241935 h 2335903"/>
                <a:gd name="connsiteX33" fmla="*/ 1080295 w 1386208"/>
                <a:gd name="connsiteY33" fmla="*/ 255270 h 2335903"/>
                <a:gd name="connsiteX34" fmla="*/ 1059340 w 1386208"/>
                <a:gd name="connsiteY34" fmla="*/ 280035 h 2335903"/>
                <a:gd name="connsiteX35" fmla="*/ 993618 w 1386208"/>
                <a:gd name="connsiteY35" fmla="*/ 290512 h 2335903"/>
                <a:gd name="connsiteX36" fmla="*/ 976473 w 1386208"/>
                <a:gd name="connsiteY36" fmla="*/ 280987 h 2335903"/>
                <a:gd name="connsiteX37" fmla="*/ 949803 w 1386208"/>
                <a:gd name="connsiteY37" fmla="*/ 221932 h 2335903"/>
                <a:gd name="connsiteX38" fmla="*/ 955518 w 1386208"/>
                <a:gd name="connsiteY38" fmla="*/ 276225 h 2335903"/>
                <a:gd name="connsiteX39" fmla="*/ 941230 w 1386208"/>
                <a:gd name="connsiteY39" fmla="*/ 314325 h 2335903"/>
                <a:gd name="connsiteX40" fmla="*/ 817405 w 1386208"/>
                <a:gd name="connsiteY40" fmla="*/ 483870 h 2335903"/>
                <a:gd name="connsiteX41" fmla="*/ 814548 w 1386208"/>
                <a:gd name="connsiteY41" fmla="*/ 501015 h 2335903"/>
                <a:gd name="connsiteX42" fmla="*/ 831693 w 1386208"/>
                <a:gd name="connsiteY42" fmla="*/ 499110 h 2335903"/>
                <a:gd name="connsiteX43" fmla="*/ 1041243 w 1386208"/>
                <a:gd name="connsiteY43" fmla="*/ 441007 h 2335903"/>
                <a:gd name="connsiteX44" fmla="*/ 1154590 w 1386208"/>
                <a:gd name="connsiteY44" fmla="*/ 452437 h 2335903"/>
                <a:gd name="connsiteX45" fmla="*/ 1296513 w 1386208"/>
                <a:gd name="connsiteY45" fmla="*/ 558165 h 2335903"/>
                <a:gd name="connsiteX46" fmla="*/ 1369855 w 1386208"/>
                <a:gd name="connsiteY46" fmla="*/ 679132 h 2335903"/>
                <a:gd name="connsiteX47" fmla="*/ 1381285 w 1386208"/>
                <a:gd name="connsiteY47" fmla="*/ 782955 h 2335903"/>
                <a:gd name="connsiteX48" fmla="*/ 1326040 w 1386208"/>
                <a:gd name="connsiteY48" fmla="*/ 926782 h 2335903"/>
                <a:gd name="connsiteX49" fmla="*/ 1283178 w 1386208"/>
                <a:gd name="connsiteY49" fmla="*/ 1007745 h 2335903"/>
                <a:gd name="connsiteX50" fmla="*/ 1266985 w 1386208"/>
                <a:gd name="connsiteY50" fmla="*/ 1006792 h 2335903"/>
                <a:gd name="connsiteX51" fmla="*/ 1254603 w 1386208"/>
                <a:gd name="connsiteY51" fmla="*/ 971550 h 2335903"/>
                <a:gd name="connsiteX52" fmla="*/ 1265080 w 1386208"/>
                <a:gd name="connsiteY52" fmla="*/ 869632 h 2335903"/>
                <a:gd name="connsiteX53" fmla="*/ 1232695 w 1386208"/>
                <a:gd name="connsiteY53" fmla="*/ 860107 h 2335903"/>
                <a:gd name="connsiteX54" fmla="*/ 1226028 w 1386208"/>
                <a:gd name="connsiteY54" fmla="*/ 840105 h 2335903"/>
                <a:gd name="connsiteX55" fmla="*/ 1200310 w 1386208"/>
                <a:gd name="connsiteY55" fmla="*/ 777240 h 2335903"/>
                <a:gd name="connsiteX56" fmla="*/ 1201263 w 1386208"/>
                <a:gd name="connsiteY56" fmla="*/ 755332 h 2335903"/>
                <a:gd name="connsiteX57" fmla="*/ 1214598 w 1386208"/>
                <a:gd name="connsiteY57" fmla="*/ 739140 h 2335903"/>
                <a:gd name="connsiteX58" fmla="*/ 1226980 w 1386208"/>
                <a:gd name="connsiteY58" fmla="*/ 723900 h 2335903"/>
                <a:gd name="connsiteX59" fmla="*/ 1154590 w 1386208"/>
                <a:gd name="connsiteY59" fmla="*/ 719137 h 2335903"/>
                <a:gd name="connsiteX60" fmla="*/ 1134588 w 1386208"/>
                <a:gd name="connsiteY60" fmla="*/ 703897 h 2335903"/>
                <a:gd name="connsiteX61" fmla="*/ 1049815 w 1386208"/>
                <a:gd name="connsiteY61" fmla="*/ 671512 h 2335903"/>
                <a:gd name="connsiteX62" fmla="*/ 1145065 w 1386208"/>
                <a:gd name="connsiteY62" fmla="*/ 581025 h 2335903"/>
                <a:gd name="connsiteX63" fmla="*/ 1130778 w 1386208"/>
                <a:gd name="connsiteY63" fmla="*/ 585787 h 2335903"/>
                <a:gd name="connsiteX64" fmla="*/ 1046005 w 1386208"/>
                <a:gd name="connsiteY64" fmla="*/ 635317 h 2335903"/>
                <a:gd name="connsiteX65" fmla="*/ 1016478 w 1386208"/>
                <a:gd name="connsiteY65" fmla="*/ 643890 h 2335903"/>
                <a:gd name="connsiteX66" fmla="*/ 948850 w 1386208"/>
                <a:gd name="connsiteY66" fmla="*/ 643890 h 2335903"/>
                <a:gd name="connsiteX67" fmla="*/ 1034575 w 1386208"/>
                <a:gd name="connsiteY67" fmla="*/ 695325 h 2335903"/>
                <a:gd name="connsiteX68" fmla="*/ 1086963 w 1386208"/>
                <a:gd name="connsiteY68" fmla="*/ 735330 h 2335903"/>
                <a:gd name="connsiteX69" fmla="*/ 1191738 w 1386208"/>
                <a:gd name="connsiteY69" fmla="*/ 882015 h 2335903"/>
                <a:gd name="connsiteX70" fmla="*/ 1206978 w 1386208"/>
                <a:gd name="connsiteY70" fmla="*/ 939165 h 2335903"/>
                <a:gd name="connsiteX71" fmla="*/ 1205073 w 1386208"/>
                <a:gd name="connsiteY71" fmla="*/ 1052512 h 2335903"/>
                <a:gd name="connsiteX72" fmla="*/ 1183165 w 1386208"/>
                <a:gd name="connsiteY72" fmla="*/ 1141095 h 2335903"/>
                <a:gd name="connsiteX73" fmla="*/ 1068865 w 1386208"/>
                <a:gd name="connsiteY73" fmla="*/ 1271587 h 2335903"/>
                <a:gd name="connsiteX74" fmla="*/ 1030765 w 1386208"/>
                <a:gd name="connsiteY74" fmla="*/ 1296352 h 2335903"/>
                <a:gd name="connsiteX75" fmla="*/ 1022193 w 1386208"/>
                <a:gd name="connsiteY75" fmla="*/ 1290637 h 2335903"/>
                <a:gd name="connsiteX76" fmla="*/ 1025050 w 1386208"/>
                <a:gd name="connsiteY76" fmla="*/ 1279207 h 2335903"/>
                <a:gd name="connsiteX77" fmla="*/ 1044100 w 1386208"/>
                <a:gd name="connsiteY77" fmla="*/ 1187767 h 2335903"/>
                <a:gd name="connsiteX78" fmla="*/ 1061245 w 1386208"/>
                <a:gd name="connsiteY78" fmla="*/ 1148715 h 2335903"/>
                <a:gd name="connsiteX79" fmla="*/ 1083153 w 1386208"/>
                <a:gd name="connsiteY79" fmla="*/ 1125855 h 2335903"/>
                <a:gd name="connsiteX80" fmla="*/ 1066960 w 1386208"/>
                <a:gd name="connsiteY80" fmla="*/ 1128712 h 2335903"/>
                <a:gd name="connsiteX81" fmla="*/ 1034575 w 1386208"/>
                <a:gd name="connsiteY81" fmla="*/ 1121092 h 2335903"/>
                <a:gd name="connsiteX82" fmla="*/ 1044100 w 1386208"/>
                <a:gd name="connsiteY82" fmla="*/ 1082040 h 2335903"/>
                <a:gd name="connsiteX83" fmla="*/ 1106965 w 1386208"/>
                <a:gd name="connsiteY83" fmla="*/ 1022032 h 2335903"/>
                <a:gd name="connsiteX84" fmla="*/ 1055530 w 1386208"/>
                <a:gd name="connsiteY84" fmla="*/ 1042987 h 2335903"/>
                <a:gd name="connsiteX85" fmla="*/ 1018383 w 1386208"/>
                <a:gd name="connsiteY85" fmla="*/ 1006792 h 2335903"/>
                <a:gd name="connsiteX86" fmla="*/ 1042195 w 1386208"/>
                <a:gd name="connsiteY86" fmla="*/ 977265 h 2335903"/>
                <a:gd name="connsiteX87" fmla="*/ 1025050 w 1386208"/>
                <a:gd name="connsiteY87" fmla="*/ 982980 h 2335903"/>
                <a:gd name="connsiteX88" fmla="*/ 997428 w 1386208"/>
                <a:gd name="connsiteY88" fmla="*/ 973455 h 2335903"/>
                <a:gd name="connsiteX89" fmla="*/ 961233 w 1386208"/>
                <a:gd name="connsiteY89" fmla="*/ 914400 h 2335903"/>
                <a:gd name="connsiteX90" fmla="*/ 963138 w 1386208"/>
                <a:gd name="connsiteY90" fmla="*/ 883920 h 2335903"/>
                <a:gd name="connsiteX91" fmla="*/ 1001238 w 1386208"/>
                <a:gd name="connsiteY91" fmla="*/ 835342 h 2335903"/>
                <a:gd name="connsiteX92" fmla="*/ 947898 w 1386208"/>
                <a:gd name="connsiteY92" fmla="*/ 851535 h 2335903"/>
                <a:gd name="connsiteX93" fmla="*/ 915513 w 1386208"/>
                <a:gd name="connsiteY93" fmla="*/ 842010 h 2335903"/>
                <a:gd name="connsiteX94" fmla="*/ 905035 w 1386208"/>
                <a:gd name="connsiteY94" fmla="*/ 826770 h 2335903"/>
                <a:gd name="connsiteX95" fmla="*/ 907893 w 1386208"/>
                <a:gd name="connsiteY95" fmla="*/ 797242 h 2335903"/>
                <a:gd name="connsiteX96" fmla="*/ 965995 w 1386208"/>
                <a:gd name="connsiteY96" fmla="*/ 740092 h 2335903"/>
                <a:gd name="connsiteX97" fmla="*/ 886938 w 1386208"/>
                <a:gd name="connsiteY97" fmla="*/ 766762 h 2335903"/>
                <a:gd name="connsiteX98" fmla="*/ 841218 w 1386208"/>
                <a:gd name="connsiteY98" fmla="*/ 755332 h 2335903"/>
                <a:gd name="connsiteX99" fmla="*/ 808833 w 1386208"/>
                <a:gd name="connsiteY99" fmla="*/ 717232 h 2335903"/>
                <a:gd name="connsiteX100" fmla="*/ 772638 w 1386208"/>
                <a:gd name="connsiteY100" fmla="*/ 693420 h 2335903"/>
                <a:gd name="connsiteX101" fmla="*/ 759303 w 1386208"/>
                <a:gd name="connsiteY101" fmla="*/ 695325 h 2335903"/>
                <a:gd name="connsiteX102" fmla="*/ 762160 w 1386208"/>
                <a:gd name="connsiteY102" fmla="*/ 707707 h 2335903"/>
                <a:gd name="connsiteX103" fmla="*/ 946945 w 1386208"/>
                <a:gd name="connsiteY103" fmla="*/ 1187767 h 2335903"/>
                <a:gd name="connsiteX104" fmla="*/ 990760 w 1386208"/>
                <a:gd name="connsiteY104" fmla="*/ 1419225 h 2335903"/>
                <a:gd name="connsiteX105" fmla="*/ 1007905 w 1386208"/>
                <a:gd name="connsiteY105" fmla="*/ 1619250 h 2335903"/>
                <a:gd name="connsiteX106" fmla="*/ 984093 w 1386208"/>
                <a:gd name="connsiteY106" fmla="*/ 1861185 h 2335903"/>
                <a:gd name="connsiteX107" fmla="*/ 934563 w 1386208"/>
                <a:gd name="connsiteY107" fmla="*/ 2043112 h 2335903"/>
                <a:gd name="connsiteX108" fmla="*/ 757621 w 1386208"/>
                <a:gd name="connsiteY108" fmla="*/ 2281133 h 2335903"/>
                <a:gd name="connsiteX109" fmla="*/ 687604 w 1386208"/>
                <a:gd name="connsiteY109" fmla="*/ 2335903 h 2335903"/>
                <a:gd name="connsiteX110" fmla="*/ 686954 w 1386208"/>
                <a:gd name="connsiteY110" fmla="*/ 2335462 h 2335903"/>
                <a:gd name="connsiteX111" fmla="*/ 652160 w 1386208"/>
                <a:gd name="connsiteY111" fmla="*/ 2327790 h 2335903"/>
                <a:gd name="connsiteX112" fmla="*/ 647930 w 1386208"/>
                <a:gd name="connsiteY112" fmla="*/ 2327278 h 2335903"/>
                <a:gd name="connsiteX113" fmla="*/ 508263 w 1386208"/>
                <a:gd name="connsiteY113" fmla="*/ 2243561 h 2335903"/>
                <a:gd name="connsiteX114" fmla="*/ 519273 w 1386208"/>
                <a:gd name="connsiteY114" fmla="*/ 2243137 h 2335903"/>
                <a:gd name="connsiteX115" fmla="*/ 682150 w 1386208"/>
                <a:gd name="connsiteY115" fmla="*/ 2110740 h 2335903"/>
                <a:gd name="connsiteX116" fmla="*/ 827883 w 1386208"/>
                <a:gd name="connsiteY116" fmla="*/ 1872615 h 2335903"/>
                <a:gd name="connsiteX117" fmla="*/ 865030 w 1386208"/>
                <a:gd name="connsiteY117" fmla="*/ 1706880 h 2335903"/>
                <a:gd name="connsiteX118" fmla="*/ 866935 w 1386208"/>
                <a:gd name="connsiteY118" fmla="*/ 1430655 h 2335903"/>
                <a:gd name="connsiteX119" fmla="*/ 751683 w 1386208"/>
                <a:gd name="connsiteY119" fmla="*/ 872490 h 2335903"/>
                <a:gd name="connsiteX120" fmla="*/ 698343 w 1386208"/>
                <a:gd name="connsiteY120" fmla="*/ 727710 h 2335903"/>
                <a:gd name="connsiteX121" fmla="*/ 689770 w 1386208"/>
                <a:gd name="connsiteY121" fmla="*/ 716280 h 2335903"/>
                <a:gd name="connsiteX122" fmla="*/ 681198 w 1386208"/>
                <a:gd name="connsiteY122" fmla="*/ 729615 h 2335903"/>
                <a:gd name="connsiteX123" fmla="*/ 684055 w 1386208"/>
                <a:gd name="connsiteY123" fmla="*/ 803910 h 2335903"/>
                <a:gd name="connsiteX124" fmla="*/ 679293 w 1386208"/>
                <a:gd name="connsiteY124" fmla="*/ 831532 h 2335903"/>
                <a:gd name="connsiteX125" fmla="*/ 613570 w 1386208"/>
                <a:gd name="connsiteY125" fmla="*/ 918210 h 2335903"/>
                <a:gd name="connsiteX126" fmla="*/ 600235 w 1386208"/>
                <a:gd name="connsiteY126" fmla="*/ 926782 h 2335903"/>
                <a:gd name="connsiteX127" fmla="*/ 595473 w 1386208"/>
                <a:gd name="connsiteY127" fmla="*/ 912495 h 2335903"/>
                <a:gd name="connsiteX128" fmla="*/ 585948 w 1386208"/>
                <a:gd name="connsiteY128" fmla="*/ 820102 h 2335903"/>
                <a:gd name="connsiteX129" fmla="*/ 560230 w 1386208"/>
                <a:gd name="connsiteY129" fmla="*/ 768667 h 2335903"/>
                <a:gd name="connsiteX130" fmla="*/ 551658 w 1386208"/>
                <a:gd name="connsiteY130" fmla="*/ 664845 h 2335903"/>
                <a:gd name="connsiteX131" fmla="*/ 527845 w 1386208"/>
                <a:gd name="connsiteY131" fmla="*/ 621982 h 2335903"/>
                <a:gd name="connsiteX132" fmla="*/ 447835 w 1386208"/>
                <a:gd name="connsiteY132" fmla="*/ 606742 h 2335903"/>
                <a:gd name="connsiteX133" fmla="*/ 334488 w 1386208"/>
                <a:gd name="connsiteY133" fmla="*/ 620077 h 2335903"/>
                <a:gd name="connsiteX134" fmla="*/ 289720 w 1386208"/>
                <a:gd name="connsiteY134" fmla="*/ 633412 h 2335903"/>
                <a:gd name="connsiteX135" fmla="*/ 270670 w 1386208"/>
                <a:gd name="connsiteY135" fmla="*/ 618172 h 2335903"/>
                <a:gd name="connsiteX136" fmla="*/ 290673 w 1386208"/>
                <a:gd name="connsiteY136" fmla="*/ 526732 h 2335903"/>
                <a:gd name="connsiteX137" fmla="*/ 294483 w 1386208"/>
                <a:gd name="connsiteY137" fmla="*/ 514350 h 2335903"/>
                <a:gd name="connsiteX138" fmla="*/ 231618 w 1386208"/>
                <a:gd name="connsiteY138" fmla="*/ 636270 h 2335903"/>
                <a:gd name="connsiteX139" fmla="*/ 218283 w 1386208"/>
                <a:gd name="connsiteY139" fmla="*/ 660082 h 2335903"/>
                <a:gd name="connsiteX140" fmla="*/ 133510 w 1386208"/>
                <a:gd name="connsiteY140" fmla="*/ 715327 h 2335903"/>
                <a:gd name="connsiteX141" fmla="*/ 118270 w 1386208"/>
                <a:gd name="connsiteY141" fmla="*/ 702945 h 2335903"/>
                <a:gd name="connsiteX142" fmla="*/ 121128 w 1386208"/>
                <a:gd name="connsiteY142" fmla="*/ 672465 h 2335903"/>
                <a:gd name="connsiteX143" fmla="*/ 103030 w 1386208"/>
                <a:gd name="connsiteY143" fmla="*/ 713422 h 2335903"/>
                <a:gd name="connsiteX144" fmla="*/ 65883 w 1386208"/>
                <a:gd name="connsiteY144" fmla="*/ 762000 h 2335903"/>
                <a:gd name="connsiteX145" fmla="*/ 16353 w 1386208"/>
                <a:gd name="connsiteY145" fmla="*/ 802005 h 2335903"/>
                <a:gd name="connsiteX146" fmla="*/ 7780 w 1386208"/>
                <a:gd name="connsiteY146" fmla="*/ 806767 h 2335903"/>
                <a:gd name="connsiteX147" fmla="*/ 3970 w 1386208"/>
                <a:gd name="connsiteY147" fmla="*/ 797242 h 2335903"/>
                <a:gd name="connsiteX148" fmla="*/ 9685 w 1386208"/>
                <a:gd name="connsiteY148" fmla="*/ 600075 h 2335903"/>
                <a:gd name="connsiteX149" fmla="*/ 16353 w 1386208"/>
                <a:gd name="connsiteY149" fmla="*/ 580072 h 2335903"/>
                <a:gd name="connsiteX150" fmla="*/ 109698 w 1386208"/>
                <a:gd name="connsiteY150" fmla="*/ 464820 h 2335903"/>
                <a:gd name="connsiteX151" fmla="*/ 294483 w 1386208"/>
                <a:gd name="connsiteY151" fmla="*/ 383857 h 2335903"/>
                <a:gd name="connsiteX152" fmla="*/ 567850 w 1386208"/>
                <a:gd name="connsiteY152" fmla="*/ 441007 h 2335903"/>
                <a:gd name="connsiteX153" fmla="*/ 632620 w 1386208"/>
                <a:gd name="connsiteY153" fmla="*/ 480060 h 2335903"/>
                <a:gd name="connsiteX154" fmla="*/ 544038 w 1386208"/>
                <a:gd name="connsiteY154" fmla="*/ 336232 h 2335903"/>
                <a:gd name="connsiteX155" fmla="*/ 557373 w 1386208"/>
                <a:gd name="connsiteY155" fmla="*/ 275272 h 2335903"/>
                <a:gd name="connsiteX156" fmla="*/ 566898 w 1386208"/>
                <a:gd name="connsiteY156" fmla="*/ 267652 h 2335903"/>
                <a:gd name="connsiteX157" fmla="*/ 521178 w 1386208"/>
                <a:gd name="connsiteY157" fmla="*/ 271462 h 2335903"/>
                <a:gd name="connsiteX158" fmla="*/ 484030 w 1386208"/>
                <a:gd name="connsiteY158" fmla="*/ 257175 h 2335903"/>
                <a:gd name="connsiteX159" fmla="*/ 452598 w 1386208"/>
                <a:gd name="connsiteY159" fmla="*/ 223837 h 2335903"/>
                <a:gd name="connsiteX160" fmla="*/ 450693 w 1386208"/>
                <a:gd name="connsiteY160" fmla="*/ 172402 h 2335903"/>
                <a:gd name="connsiteX161" fmla="*/ 432595 w 1386208"/>
                <a:gd name="connsiteY161" fmla="*/ 150495 h 2335903"/>
                <a:gd name="connsiteX162" fmla="*/ 420213 w 1386208"/>
                <a:gd name="connsiteY162" fmla="*/ 169545 h 2335903"/>
                <a:gd name="connsiteX163" fmla="*/ 385923 w 1386208"/>
                <a:gd name="connsiteY163" fmla="*/ 191452 h 2335903"/>
                <a:gd name="connsiteX164" fmla="*/ 344965 w 1386208"/>
                <a:gd name="connsiteY164" fmla="*/ 213360 h 2335903"/>
                <a:gd name="connsiteX165" fmla="*/ 299245 w 1386208"/>
                <a:gd name="connsiteY165" fmla="*/ 275272 h 2335903"/>
                <a:gd name="connsiteX166" fmla="*/ 284958 w 1386208"/>
                <a:gd name="connsiteY166" fmla="*/ 284797 h 2335903"/>
                <a:gd name="connsiteX167" fmla="*/ 281148 w 1386208"/>
                <a:gd name="connsiteY167" fmla="*/ 269557 h 2335903"/>
                <a:gd name="connsiteX168" fmla="*/ 321153 w 1386208"/>
                <a:gd name="connsiteY168" fmla="*/ 136207 h 2335903"/>
                <a:gd name="connsiteX169" fmla="*/ 336393 w 1386208"/>
                <a:gd name="connsiteY169" fmla="*/ 121920 h 2335903"/>
                <a:gd name="connsiteX170" fmla="*/ 483078 w 1386208"/>
                <a:gd name="connsiteY170" fmla="*/ 22860 h 2335903"/>
                <a:gd name="connsiteX171" fmla="*/ 518320 w 1386208"/>
                <a:gd name="connsiteY171" fmla="*/ 0 h 2335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</a:cxnLst>
              <a:rect l="l" t="t" r="r" b="b"/>
              <a:pathLst>
                <a:path w="1386208" h="2335903">
                  <a:moveTo>
                    <a:pt x="518320" y="0"/>
                  </a:moveTo>
                  <a:cubicBezTo>
                    <a:pt x="543085" y="0"/>
                    <a:pt x="568803" y="0"/>
                    <a:pt x="593568" y="0"/>
                  </a:cubicBezTo>
                  <a:cubicBezTo>
                    <a:pt x="599283" y="9525"/>
                    <a:pt x="595473" y="16192"/>
                    <a:pt x="588805" y="22860"/>
                  </a:cubicBezTo>
                  <a:cubicBezTo>
                    <a:pt x="583090" y="27622"/>
                    <a:pt x="576423" y="33337"/>
                    <a:pt x="568803" y="40005"/>
                  </a:cubicBezTo>
                  <a:cubicBezTo>
                    <a:pt x="581185" y="38100"/>
                    <a:pt x="590710" y="36195"/>
                    <a:pt x="600235" y="35242"/>
                  </a:cubicBezTo>
                  <a:cubicBezTo>
                    <a:pt x="609760" y="34290"/>
                    <a:pt x="621190" y="34290"/>
                    <a:pt x="626905" y="41910"/>
                  </a:cubicBezTo>
                  <a:cubicBezTo>
                    <a:pt x="642145" y="60960"/>
                    <a:pt x="659290" y="78105"/>
                    <a:pt x="668815" y="100965"/>
                  </a:cubicBezTo>
                  <a:cubicBezTo>
                    <a:pt x="677388" y="119062"/>
                    <a:pt x="668815" y="132397"/>
                    <a:pt x="649765" y="137160"/>
                  </a:cubicBezTo>
                  <a:cubicBezTo>
                    <a:pt x="638335" y="140017"/>
                    <a:pt x="625953" y="139065"/>
                    <a:pt x="611665" y="140970"/>
                  </a:cubicBezTo>
                  <a:cubicBezTo>
                    <a:pt x="621190" y="148590"/>
                    <a:pt x="629763" y="151447"/>
                    <a:pt x="638335" y="153352"/>
                  </a:cubicBezTo>
                  <a:cubicBezTo>
                    <a:pt x="650718" y="156210"/>
                    <a:pt x="664053" y="158115"/>
                    <a:pt x="677388" y="160020"/>
                  </a:cubicBezTo>
                  <a:cubicBezTo>
                    <a:pt x="690723" y="161925"/>
                    <a:pt x="697390" y="167640"/>
                    <a:pt x="701200" y="180975"/>
                  </a:cubicBezTo>
                  <a:cubicBezTo>
                    <a:pt x="712630" y="221932"/>
                    <a:pt x="725965" y="261937"/>
                    <a:pt x="738348" y="302895"/>
                  </a:cubicBezTo>
                  <a:cubicBezTo>
                    <a:pt x="745015" y="323850"/>
                    <a:pt x="750730" y="343852"/>
                    <a:pt x="758350" y="368617"/>
                  </a:cubicBezTo>
                  <a:cubicBezTo>
                    <a:pt x="761208" y="355282"/>
                    <a:pt x="764065" y="346710"/>
                    <a:pt x="765970" y="338137"/>
                  </a:cubicBezTo>
                  <a:cubicBezTo>
                    <a:pt x="775495" y="300037"/>
                    <a:pt x="783115" y="261937"/>
                    <a:pt x="805975" y="229552"/>
                  </a:cubicBezTo>
                  <a:cubicBezTo>
                    <a:pt x="822168" y="206692"/>
                    <a:pt x="835503" y="182880"/>
                    <a:pt x="851695" y="160020"/>
                  </a:cubicBezTo>
                  <a:cubicBezTo>
                    <a:pt x="906940" y="79057"/>
                    <a:pt x="906940" y="79057"/>
                    <a:pt x="1001238" y="53340"/>
                  </a:cubicBezTo>
                  <a:cubicBezTo>
                    <a:pt x="1077438" y="32385"/>
                    <a:pt x="1150780" y="35242"/>
                    <a:pt x="1221265" y="71437"/>
                  </a:cubicBezTo>
                  <a:cubicBezTo>
                    <a:pt x="1229838" y="76200"/>
                    <a:pt x="1237458" y="81915"/>
                    <a:pt x="1242220" y="90487"/>
                  </a:cubicBezTo>
                  <a:cubicBezTo>
                    <a:pt x="1253650" y="111442"/>
                    <a:pt x="1266033" y="132397"/>
                    <a:pt x="1277463" y="153352"/>
                  </a:cubicBezTo>
                  <a:cubicBezTo>
                    <a:pt x="1308895" y="210502"/>
                    <a:pt x="1341280" y="268605"/>
                    <a:pt x="1330803" y="338137"/>
                  </a:cubicBezTo>
                  <a:cubicBezTo>
                    <a:pt x="1330803" y="340042"/>
                    <a:pt x="1330803" y="340995"/>
                    <a:pt x="1330803" y="342900"/>
                  </a:cubicBezTo>
                  <a:cubicBezTo>
                    <a:pt x="1328898" y="362902"/>
                    <a:pt x="1324135" y="382905"/>
                    <a:pt x="1313658" y="400050"/>
                  </a:cubicBezTo>
                  <a:cubicBezTo>
                    <a:pt x="1305085" y="415290"/>
                    <a:pt x="1290798" y="421005"/>
                    <a:pt x="1278415" y="417195"/>
                  </a:cubicBezTo>
                  <a:cubicBezTo>
                    <a:pt x="1261270" y="411480"/>
                    <a:pt x="1245078" y="387667"/>
                    <a:pt x="1244125" y="369570"/>
                  </a:cubicBezTo>
                  <a:cubicBezTo>
                    <a:pt x="1243173" y="322897"/>
                    <a:pt x="1242220" y="276225"/>
                    <a:pt x="1241268" y="228600"/>
                  </a:cubicBezTo>
                  <a:cubicBezTo>
                    <a:pt x="1241268" y="225742"/>
                    <a:pt x="1243173" y="222885"/>
                    <a:pt x="1237458" y="220027"/>
                  </a:cubicBezTo>
                  <a:cubicBezTo>
                    <a:pt x="1237458" y="235267"/>
                    <a:pt x="1237458" y="248602"/>
                    <a:pt x="1237458" y="262890"/>
                  </a:cubicBezTo>
                  <a:cubicBezTo>
                    <a:pt x="1237458" y="280987"/>
                    <a:pt x="1231743" y="296227"/>
                    <a:pt x="1221265" y="310515"/>
                  </a:cubicBezTo>
                  <a:cubicBezTo>
                    <a:pt x="1215550" y="318135"/>
                    <a:pt x="1206025" y="323850"/>
                    <a:pt x="1198405" y="315277"/>
                  </a:cubicBezTo>
                  <a:cubicBezTo>
                    <a:pt x="1179355" y="294322"/>
                    <a:pt x="1153638" y="288607"/>
                    <a:pt x="1128873" y="280035"/>
                  </a:cubicBezTo>
                  <a:cubicBezTo>
                    <a:pt x="1109823" y="273367"/>
                    <a:pt x="1091725" y="264795"/>
                    <a:pt x="1081248" y="241935"/>
                  </a:cubicBezTo>
                  <a:cubicBezTo>
                    <a:pt x="1080295" y="248602"/>
                    <a:pt x="1080295" y="252412"/>
                    <a:pt x="1080295" y="255270"/>
                  </a:cubicBezTo>
                  <a:cubicBezTo>
                    <a:pt x="1081248" y="270510"/>
                    <a:pt x="1074580" y="278130"/>
                    <a:pt x="1059340" y="280035"/>
                  </a:cubicBezTo>
                  <a:cubicBezTo>
                    <a:pt x="1037433" y="282892"/>
                    <a:pt x="1015525" y="286702"/>
                    <a:pt x="993618" y="290512"/>
                  </a:cubicBezTo>
                  <a:cubicBezTo>
                    <a:pt x="984093" y="292417"/>
                    <a:pt x="980283" y="289560"/>
                    <a:pt x="976473" y="280987"/>
                  </a:cubicBezTo>
                  <a:cubicBezTo>
                    <a:pt x="967900" y="260985"/>
                    <a:pt x="958375" y="240982"/>
                    <a:pt x="949803" y="221932"/>
                  </a:cubicBezTo>
                  <a:cubicBezTo>
                    <a:pt x="950755" y="240982"/>
                    <a:pt x="952660" y="258127"/>
                    <a:pt x="955518" y="276225"/>
                  </a:cubicBezTo>
                  <a:cubicBezTo>
                    <a:pt x="958375" y="292417"/>
                    <a:pt x="953613" y="302895"/>
                    <a:pt x="941230" y="314325"/>
                  </a:cubicBezTo>
                  <a:cubicBezTo>
                    <a:pt x="887890" y="361950"/>
                    <a:pt x="839313" y="413385"/>
                    <a:pt x="817405" y="483870"/>
                  </a:cubicBezTo>
                  <a:cubicBezTo>
                    <a:pt x="815500" y="489585"/>
                    <a:pt x="810738" y="496252"/>
                    <a:pt x="814548" y="501015"/>
                  </a:cubicBezTo>
                  <a:cubicBezTo>
                    <a:pt x="819310" y="506730"/>
                    <a:pt x="825978" y="501015"/>
                    <a:pt x="831693" y="499110"/>
                  </a:cubicBezTo>
                  <a:cubicBezTo>
                    <a:pt x="901225" y="479107"/>
                    <a:pt x="969805" y="455295"/>
                    <a:pt x="1041243" y="441007"/>
                  </a:cubicBezTo>
                  <a:cubicBezTo>
                    <a:pt x="1080295" y="433387"/>
                    <a:pt x="1119348" y="436245"/>
                    <a:pt x="1154590" y="452437"/>
                  </a:cubicBezTo>
                  <a:cubicBezTo>
                    <a:pt x="1207930" y="478155"/>
                    <a:pt x="1257460" y="511492"/>
                    <a:pt x="1296513" y="558165"/>
                  </a:cubicBezTo>
                  <a:cubicBezTo>
                    <a:pt x="1326993" y="595312"/>
                    <a:pt x="1347948" y="637222"/>
                    <a:pt x="1369855" y="679132"/>
                  </a:cubicBezTo>
                  <a:cubicBezTo>
                    <a:pt x="1387953" y="713422"/>
                    <a:pt x="1389858" y="746760"/>
                    <a:pt x="1381285" y="782955"/>
                  </a:cubicBezTo>
                  <a:cubicBezTo>
                    <a:pt x="1369855" y="833437"/>
                    <a:pt x="1347948" y="880110"/>
                    <a:pt x="1326040" y="926782"/>
                  </a:cubicBezTo>
                  <a:cubicBezTo>
                    <a:pt x="1312705" y="954405"/>
                    <a:pt x="1300323" y="982980"/>
                    <a:pt x="1283178" y="1007745"/>
                  </a:cubicBezTo>
                  <a:cubicBezTo>
                    <a:pt x="1276510" y="1016317"/>
                    <a:pt x="1272700" y="1016317"/>
                    <a:pt x="1266985" y="1006792"/>
                  </a:cubicBezTo>
                  <a:cubicBezTo>
                    <a:pt x="1260318" y="995362"/>
                    <a:pt x="1255555" y="983932"/>
                    <a:pt x="1254603" y="971550"/>
                  </a:cubicBezTo>
                  <a:cubicBezTo>
                    <a:pt x="1251745" y="937260"/>
                    <a:pt x="1238410" y="902017"/>
                    <a:pt x="1265080" y="869632"/>
                  </a:cubicBezTo>
                  <a:cubicBezTo>
                    <a:pt x="1246030" y="884872"/>
                    <a:pt x="1241268" y="882967"/>
                    <a:pt x="1232695" y="860107"/>
                  </a:cubicBezTo>
                  <a:cubicBezTo>
                    <a:pt x="1229838" y="853440"/>
                    <a:pt x="1228885" y="846772"/>
                    <a:pt x="1226028" y="840105"/>
                  </a:cubicBezTo>
                  <a:cubicBezTo>
                    <a:pt x="1219360" y="818197"/>
                    <a:pt x="1215550" y="795337"/>
                    <a:pt x="1200310" y="777240"/>
                  </a:cubicBezTo>
                  <a:cubicBezTo>
                    <a:pt x="1192690" y="768667"/>
                    <a:pt x="1194595" y="762000"/>
                    <a:pt x="1201263" y="755332"/>
                  </a:cubicBezTo>
                  <a:cubicBezTo>
                    <a:pt x="1206025" y="749617"/>
                    <a:pt x="1209835" y="744855"/>
                    <a:pt x="1214598" y="739140"/>
                  </a:cubicBezTo>
                  <a:cubicBezTo>
                    <a:pt x="1218408" y="734377"/>
                    <a:pt x="1223170" y="728662"/>
                    <a:pt x="1226980" y="723900"/>
                  </a:cubicBezTo>
                  <a:cubicBezTo>
                    <a:pt x="1201263" y="739140"/>
                    <a:pt x="1177450" y="734377"/>
                    <a:pt x="1154590" y="719137"/>
                  </a:cubicBezTo>
                  <a:cubicBezTo>
                    <a:pt x="1147923" y="714375"/>
                    <a:pt x="1141255" y="708660"/>
                    <a:pt x="1134588" y="703897"/>
                  </a:cubicBezTo>
                  <a:cubicBezTo>
                    <a:pt x="1111728" y="684847"/>
                    <a:pt x="1087915" y="666750"/>
                    <a:pt x="1049815" y="671512"/>
                  </a:cubicBezTo>
                  <a:cubicBezTo>
                    <a:pt x="1079343" y="635317"/>
                    <a:pt x="1115538" y="611505"/>
                    <a:pt x="1145065" y="581025"/>
                  </a:cubicBezTo>
                  <a:cubicBezTo>
                    <a:pt x="1138398" y="580072"/>
                    <a:pt x="1134588" y="583882"/>
                    <a:pt x="1130778" y="585787"/>
                  </a:cubicBezTo>
                  <a:cubicBezTo>
                    <a:pt x="1101250" y="599122"/>
                    <a:pt x="1073628" y="618172"/>
                    <a:pt x="1046005" y="635317"/>
                  </a:cubicBezTo>
                  <a:cubicBezTo>
                    <a:pt x="1036480" y="641032"/>
                    <a:pt x="1026955" y="643890"/>
                    <a:pt x="1016478" y="643890"/>
                  </a:cubicBezTo>
                  <a:cubicBezTo>
                    <a:pt x="993618" y="643890"/>
                    <a:pt x="971710" y="643890"/>
                    <a:pt x="948850" y="643890"/>
                  </a:cubicBezTo>
                  <a:cubicBezTo>
                    <a:pt x="978378" y="660082"/>
                    <a:pt x="1006000" y="678180"/>
                    <a:pt x="1034575" y="695325"/>
                  </a:cubicBezTo>
                  <a:cubicBezTo>
                    <a:pt x="1053625" y="706755"/>
                    <a:pt x="1072675" y="718185"/>
                    <a:pt x="1086963" y="735330"/>
                  </a:cubicBezTo>
                  <a:cubicBezTo>
                    <a:pt x="1126968" y="780097"/>
                    <a:pt x="1160305" y="830580"/>
                    <a:pt x="1191738" y="882015"/>
                  </a:cubicBezTo>
                  <a:cubicBezTo>
                    <a:pt x="1202215" y="900112"/>
                    <a:pt x="1207930" y="918210"/>
                    <a:pt x="1206978" y="939165"/>
                  </a:cubicBezTo>
                  <a:cubicBezTo>
                    <a:pt x="1206025" y="977265"/>
                    <a:pt x="1203168" y="1015365"/>
                    <a:pt x="1205073" y="1052512"/>
                  </a:cubicBezTo>
                  <a:cubicBezTo>
                    <a:pt x="1206978" y="1085850"/>
                    <a:pt x="1201263" y="1114425"/>
                    <a:pt x="1183165" y="1141095"/>
                  </a:cubicBezTo>
                  <a:cubicBezTo>
                    <a:pt x="1151733" y="1189672"/>
                    <a:pt x="1110775" y="1231582"/>
                    <a:pt x="1068865" y="1271587"/>
                  </a:cubicBezTo>
                  <a:cubicBezTo>
                    <a:pt x="1058388" y="1282065"/>
                    <a:pt x="1044100" y="1289685"/>
                    <a:pt x="1030765" y="1296352"/>
                  </a:cubicBezTo>
                  <a:cubicBezTo>
                    <a:pt x="1024098" y="1300162"/>
                    <a:pt x="1020288" y="1300162"/>
                    <a:pt x="1022193" y="1290637"/>
                  </a:cubicBezTo>
                  <a:cubicBezTo>
                    <a:pt x="1023145" y="1286827"/>
                    <a:pt x="1024098" y="1283017"/>
                    <a:pt x="1025050" y="1279207"/>
                  </a:cubicBezTo>
                  <a:cubicBezTo>
                    <a:pt x="1031718" y="1248727"/>
                    <a:pt x="1041243" y="1218247"/>
                    <a:pt x="1044100" y="1187767"/>
                  </a:cubicBezTo>
                  <a:cubicBezTo>
                    <a:pt x="1046005" y="1172527"/>
                    <a:pt x="1050768" y="1159192"/>
                    <a:pt x="1061245" y="1148715"/>
                  </a:cubicBezTo>
                  <a:cubicBezTo>
                    <a:pt x="1068865" y="1141095"/>
                    <a:pt x="1076485" y="1133475"/>
                    <a:pt x="1083153" y="1125855"/>
                  </a:cubicBezTo>
                  <a:cubicBezTo>
                    <a:pt x="1076485" y="1125855"/>
                    <a:pt x="1071723" y="1127760"/>
                    <a:pt x="1066960" y="1128712"/>
                  </a:cubicBezTo>
                  <a:cubicBezTo>
                    <a:pt x="1054578" y="1132522"/>
                    <a:pt x="1043148" y="1134427"/>
                    <a:pt x="1034575" y="1121092"/>
                  </a:cubicBezTo>
                  <a:cubicBezTo>
                    <a:pt x="1026955" y="1108710"/>
                    <a:pt x="1030765" y="1092517"/>
                    <a:pt x="1044100" y="1082040"/>
                  </a:cubicBezTo>
                  <a:cubicBezTo>
                    <a:pt x="1067913" y="1064895"/>
                    <a:pt x="1086010" y="1042987"/>
                    <a:pt x="1106965" y="1022032"/>
                  </a:cubicBezTo>
                  <a:cubicBezTo>
                    <a:pt x="1090773" y="1030605"/>
                    <a:pt x="1074580" y="1040130"/>
                    <a:pt x="1055530" y="1042987"/>
                  </a:cubicBezTo>
                  <a:cubicBezTo>
                    <a:pt x="1030765" y="1047750"/>
                    <a:pt x="1014573" y="1030605"/>
                    <a:pt x="1018383" y="1006792"/>
                  </a:cubicBezTo>
                  <a:cubicBezTo>
                    <a:pt x="1020288" y="993457"/>
                    <a:pt x="1031718" y="987742"/>
                    <a:pt x="1042195" y="977265"/>
                  </a:cubicBezTo>
                  <a:cubicBezTo>
                    <a:pt x="1034575" y="980122"/>
                    <a:pt x="1029813" y="981075"/>
                    <a:pt x="1025050" y="982980"/>
                  </a:cubicBezTo>
                  <a:cubicBezTo>
                    <a:pt x="1012668" y="989647"/>
                    <a:pt x="1004095" y="986790"/>
                    <a:pt x="997428" y="973455"/>
                  </a:cubicBezTo>
                  <a:cubicBezTo>
                    <a:pt x="986950" y="953452"/>
                    <a:pt x="974568" y="933450"/>
                    <a:pt x="961233" y="914400"/>
                  </a:cubicBezTo>
                  <a:cubicBezTo>
                    <a:pt x="953613" y="902970"/>
                    <a:pt x="953613" y="894397"/>
                    <a:pt x="963138" y="883920"/>
                  </a:cubicBezTo>
                  <a:cubicBezTo>
                    <a:pt x="976473" y="867727"/>
                    <a:pt x="988855" y="851535"/>
                    <a:pt x="1001238" y="835342"/>
                  </a:cubicBezTo>
                  <a:cubicBezTo>
                    <a:pt x="982188" y="839152"/>
                    <a:pt x="965043" y="843915"/>
                    <a:pt x="947898" y="851535"/>
                  </a:cubicBezTo>
                  <a:cubicBezTo>
                    <a:pt x="933610" y="857250"/>
                    <a:pt x="923133" y="854392"/>
                    <a:pt x="915513" y="842010"/>
                  </a:cubicBezTo>
                  <a:cubicBezTo>
                    <a:pt x="911703" y="837247"/>
                    <a:pt x="909798" y="831532"/>
                    <a:pt x="905035" y="826770"/>
                  </a:cubicBezTo>
                  <a:cubicBezTo>
                    <a:pt x="895510" y="815340"/>
                    <a:pt x="896463" y="806767"/>
                    <a:pt x="907893" y="797242"/>
                  </a:cubicBezTo>
                  <a:cubicBezTo>
                    <a:pt x="926943" y="780097"/>
                    <a:pt x="944088" y="761047"/>
                    <a:pt x="965995" y="740092"/>
                  </a:cubicBezTo>
                  <a:cubicBezTo>
                    <a:pt x="936468" y="749617"/>
                    <a:pt x="911703" y="758190"/>
                    <a:pt x="886938" y="766762"/>
                  </a:cubicBezTo>
                  <a:cubicBezTo>
                    <a:pt x="868840" y="772477"/>
                    <a:pt x="853600" y="769620"/>
                    <a:pt x="841218" y="755332"/>
                  </a:cubicBezTo>
                  <a:cubicBezTo>
                    <a:pt x="829788" y="742950"/>
                    <a:pt x="819310" y="730567"/>
                    <a:pt x="808833" y="717232"/>
                  </a:cubicBezTo>
                  <a:cubicBezTo>
                    <a:pt x="799308" y="705802"/>
                    <a:pt x="787878" y="696277"/>
                    <a:pt x="772638" y="693420"/>
                  </a:cubicBezTo>
                  <a:cubicBezTo>
                    <a:pt x="767875" y="692467"/>
                    <a:pt x="763113" y="691515"/>
                    <a:pt x="759303" y="695325"/>
                  </a:cubicBezTo>
                  <a:cubicBezTo>
                    <a:pt x="755493" y="700087"/>
                    <a:pt x="760255" y="703897"/>
                    <a:pt x="762160" y="707707"/>
                  </a:cubicBezTo>
                  <a:cubicBezTo>
                    <a:pt x="847885" y="858202"/>
                    <a:pt x="899320" y="1022032"/>
                    <a:pt x="946945" y="1187767"/>
                  </a:cubicBezTo>
                  <a:cubicBezTo>
                    <a:pt x="968853" y="1263015"/>
                    <a:pt x="981235" y="1341120"/>
                    <a:pt x="990760" y="1419225"/>
                  </a:cubicBezTo>
                  <a:cubicBezTo>
                    <a:pt x="998380" y="1485900"/>
                    <a:pt x="1005048" y="1552575"/>
                    <a:pt x="1007905" y="1619250"/>
                  </a:cubicBezTo>
                  <a:cubicBezTo>
                    <a:pt x="1010763" y="1701165"/>
                    <a:pt x="997428" y="1781175"/>
                    <a:pt x="984093" y="1861185"/>
                  </a:cubicBezTo>
                  <a:cubicBezTo>
                    <a:pt x="973615" y="1923097"/>
                    <a:pt x="961233" y="1985010"/>
                    <a:pt x="934563" y="2043112"/>
                  </a:cubicBezTo>
                  <a:cubicBezTo>
                    <a:pt x="890986" y="2135981"/>
                    <a:pt x="831871" y="2214919"/>
                    <a:pt x="757621" y="2281133"/>
                  </a:cubicBezTo>
                  <a:lnTo>
                    <a:pt x="687604" y="2335903"/>
                  </a:lnTo>
                  <a:lnTo>
                    <a:pt x="686954" y="2335462"/>
                  </a:lnTo>
                  <a:cubicBezTo>
                    <a:pt x="676465" y="2328640"/>
                    <a:pt x="675014" y="2329959"/>
                    <a:pt x="652160" y="2327790"/>
                  </a:cubicBezTo>
                  <a:lnTo>
                    <a:pt x="647930" y="2327278"/>
                  </a:lnTo>
                  <a:lnTo>
                    <a:pt x="508263" y="2243561"/>
                  </a:lnTo>
                  <a:lnTo>
                    <a:pt x="519273" y="2243137"/>
                  </a:lnTo>
                  <a:cubicBezTo>
                    <a:pt x="585948" y="2214562"/>
                    <a:pt x="637383" y="2165985"/>
                    <a:pt x="682150" y="2110740"/>
                  </a:cubicBezTo>
                  <a:cubicBezTo>
                    <a:pt x="741205" y="2037397"/>
                    <a:pt x="790735" y="1959292"/>
                    <a:pt x="827883" y="1872615"/>
                  </a:cubicBezTo>
                  <a:cubicBezTo>
                    <a:pt x="850743" y="1819275"/>
                    <a:pt x="856458" y="1762125"/>
                    <a:pt x="865030" y="1706880"/>
                  </a:cubicBezTo>
                  <a:cubicBezTo>
                    <a:pt x="879318" y="1615440"/>
                    <a:pt x="874555" y="1523047"/>
                    <a:pt x="866935" y="1430655"/>
                  </a:cubicBezTo>
                  <a:cubicBezTo>
                    <a:pt x="850743" y="1240155"/>
                    <a:pt x="804070" y="1055370"/>
                    <a:pt x="751683" y="872490"/>
                  </a:cubicBezTo>
                  <a:cubicBezTo>
                    <a:pt x="737395" y="822960"/>
                    <a:pt x="722155" y="774382"/>
                    <a:pt x="698343" y="727710"/>
                  </a:cubicBezTo>
                  <a:cubicBezTo>
                    <a:pt x="696438" y="722947"/>
                    <a:pt x="695485" y="716280"/>
                    <a:pt x="689770" y="716280"/>
                  </a:cubicBezTo>
                  <a:cubicBezTo>
                    <a:pt x="683103" y="716280"/>
                    <a:pt x="683103" y="723900"/>
                    <a:pt x="681198" y="729615"/>
                  </a:cubicBezTo>
                  <a:cubicBezTo>
                    <a:pt x="672625" y="754380"/>
                    <a:pt x="676435" y="779145"/>
                    <a:pt x="684055" y="803910"/>
                  </a:cubicBezTo>
                  <a:cubicBezTo>
                    <a:pt x="687865" y="814387"/>
                    <a:pt x="686913" y="822960"/>
                    <a:pt x="679293" y="831532"/>
                  </a:cubicBezTo>
                  <a:cubicBezTo>
                    <a:pt x="657385" y="860107"/>
                    <a:pt x="635478" y="889635"/>
                    <a:pt x="613570" y="918210"/>
                  </a:cubicBezTo>
                  <a:cubicBezTo>
                    <a:pt x="610713" y="922972"/>
                    <a:pt x="606903" y="928687"/>
                    <a:pt x="600235" y="926782"/>
                  </a:cubicBezTo>
                  <a:cubicBezTo>
                    <a:pt x="593568" y="924877"/>
                    <a:pt x="595473" y="917257"/>
                    <a:pt x="595473" y="912495"/>
                  </a:cubicBezTo>
                  <a:cubicBezTo>
                    <a:pt x="595473" y="881062"/>
                    <a:pt x="600235" y="849630"/>
                    <a:pt x="585948" y="820102"/>
                  </a:cubicBezTo>
                  <a:cubicBezTo>
                    <a:pt x="577375" y="802957"/>
                    <a:pt x="568803" y="785812"/>
                    <a:pt x="560230" y="768667"/>
                  </a:cubicBezTo>
                  <a:cubicBezTo>
                    <a:pt x="544038" y="735330"/>
                    <a:pt x="536418" y="701992"/>
                    <a:pt x="551658" y="664845"/>
                  </a:cubicBezTo>
                  <a:cubicBezTo>
                    <a:pt x="560230" y="644842"/>
                    <a:pt x="550705" y="630555"/>
                    <a:pt x="527845" y="621982"/>
                  </a:cubicBezTo>
                  <a:cubicBezTo>
                    <a:pt x="502128" y="612457"/>
                    <a:pt x="474505" y="611505"/>
                    <a:pt x="447835" y="606742"/>
                  </a:cubicBezTo>
                  <a:cubicBezTo>
                    <a:pt x="408783" y="600075"/>
                    <a:pt x="371635" y="609600"/>
                    <a:pt x="334488" y="620077"/>
                  </a:cubicBezTo>
                  <a:cubicBezTo>
                    <a:pt x="319248" y="623887"/>
                    <a:pt x="304008" y="628650"/>
                    <a:pt x="289720" y="633412"/>
                  </a:cubicBezTo>
                  <a:cubicBezTo>
                    <a:pt x="269718" y="639127"/>
                    <a:pt x="268765" y="637222"/>
                    <a:pt x="270670" y="618172"/>
                  </a:cubicBezTo>
                  <a:cubicBezTo>
                    <a:pt x="273528" y="586740"/>
                    <a:pt x="281148" y="556260"/>
                    <a:pt x="290673" y="526732"/>
                  </a:cubicBezTo>
                  <a:cubicBezTo>
                    <a:pt x="291625" y="522922"/>
                    <a:pt x="293530" y="519112"/>
                    <a:pt x="294483" y="514350"/>
                  </a:cubicBezTo>
                  <a:cubicBezTo>
                    <a:pt x="266860" y="535305"/>
                    <a:pt x="236380" y="594360"/>
                    <a:pt x="231618" y="636270"/>
                  </a:cubicBezTo>
                  <a:cubicBezTo>
                    <a:pt x="230665" y="646747"/>
                    <a:pt x="226855" y="654367"/>
                    <a:pt x="218283" y="660082"/>
                  </a:cubicBezTo>
                  <a:cubicBezTo>
                    <a:pt x="190660" y="680085"/>
                    <a:pt x="165895" y="702945"/>
                    <a:pt x="133510" y="715327"/>
                  </a:cubicBezTo>
                  <a:cubicBezTo>
                    <a:pt x="118270" y="721042"/>
                    <a:pt x="115413" y="720090"/>
                    <a:pt x="118270" y="702945"/>
                  </a:cubicBezTo>
                  <a:cubicBezTo>
                    <a:pt x="119223" y="693420"/>
                    <a:pt x="122080" y="682942"/>
                    <a:pt x="121128" y="672465"/>
                  </a:cubicBezTo>
                  <a:cubicBezTo>
                    <a:pt x="115413" y="685800"/>
                    <a:pt x="108745" y="699135"/>
                    <a:pt x="103030" y="713422"/>
                  </a:cubicBezTo>
                  <a:cubicBezTo>
                    <a:pt x="95410" y="733425"/>
                    <a:pt x="83028" y="749617"/>
                    <a:pt x="65883" y="762000"/>
                  </a:cubicBezTo>
                  <a:cubicBezTo>
                    <a:pt x="48738" y="774382"/>
                    <a:pt x="32545" y="788670"/>
                    <a:pt x="16353" y="802005"/>
                  </a:cubicBezTo>
                  <a:cubicBezTo>
                    <a:pt x="13495" y="803910"/>
                    <a:pt x="11590" y="807720"/>
                    <a:pt x="7780" y="806767"/>
                  </a:cubicBezTo>
                  <a:cubicBezTo>
                    <a:pt x="3970" y="805815"/>
                    <a:pt x="3970" y="801052"/>
                    <a:pt x="3970" y="797242"/>
                  </a:cubicBezTo>
                  <a:cubicBezTo>
                    <a:pt x="2065" y="731520"/>
                    <a:pt x="-6507" y="665797"/>
                    <a:pt x="9685" y="600075"/>
                  </a:cubicBezTo>
                  <a:cubicBezTo>
                    <a:pt x="11590" y="593407"/>
                    <a:pt x="13495" y="585787"/>
                    <a:pt x="16353" y="580072"/>
                  </a:cubicBezTo>
                  <a:cubicBezTo>
                    <a:pt x="40165" y="536257"/>
                    <a:pt x="66835" y="494347"/>
                    <a:pt x="109698" y="464820"/>
                  </a:cubicBezTo>
                  <a:cubicBezTo>
                    <a:pt x="166848" y="426720"/>
                    <a:pt x="224950" y="390525"/>
                    <a:pt x="294483" y="383857"/>
                  </a:cubicBezTo>
                  <a:cubicBezTo>
                    <a:pt x="391638" y="374332"/>
                    <a:pt x="484983" y="383857"/>
                    <a:pt x="567850" y="441007"/>
                  </a:cubicBezTo>
                  <a:cubicBezTo>
                    <a:pt x="587853" y="454342"/>
                    <a:pt x="607855" y="467677"/>
                    <a:pt x="632620" y="480060"/>
                  </a:cubicBezTo>
                  <a:cubicBezTo>
                    <a:pt x="602140" y="429577"/>
                    <a:pt x="573565" y="382905"/>
                    <a:pt x="544038" y="336232"/>
                  </a:cubicBezTo>
                  <a:cubicBezTo>
                    <a:pt x="522130" y="300990"/>
                    <a:pt x="523083" y="299085"/>
                    <a:pt x="557373" y="275272"/>
                  </a:cubicBezTo>
                  <a:cubicBezTo>
                    <a:pt x="559278" y="273367"/>
                    <a:pt x="562135" y="271462"/>
                    <a:pt x="566898" y="267652"/>
                  </a:cubicBezTo>
                  <a:cubicBezTo>
                    <a:pt x="549753" y="269557"/>
                    <a:pt x="535465" y="268605"/>
                    <a:pt x="521178" y="271462"/>
                  </a:cubicBezTo>
                  <a:cubicBezTo>
                    <a:pt x="504985" y="274320"/>
                    <a:pt x="493555" y="268605"/>
                    <a:pt x="484030" y="257175"/>
                  </a:cubicBezTo>
                  <a:cubicBezTo>
                    <a:pt x="473553" y="245745"/>
                    <a:pt x="464028" y="235267"/>
                    <a:pt x="452598" y="223837"/>
                  </a:cubicBezTo>
                  <a:cubicBezTo>
                    <a:pt x="427833" y="199072"/>
                    <a:pt x="427833" y="196215"/>
                    <a:pt x="450693" y="172402"/>
                  </a:cubicBezTo>
                  <a:cubicBezTo>
                    <a:pt x="438310" y="172402"/>
                    <a:pt x="438310" y="172402"/>
                    <a:pt x="432595" y="150495"/>
                  </a:cubicBezTo>
                  <a:cubicBezTo>
                    <a:pt x="425928" y="155257"/>
                    <a:pt x="423070" y="162877"/>
                    <a:pt x="420213" y="169545"/>
                  </a:cubicBezTo>
                  <a:cubicBezTo>
                    <a:pt x="413545" y="184785"/>
                    <a:pt x="401163" y="192405"/>
                    <a:pt x="385923" y="191452"/>
                  </a:cubicBezTo>
                  <a:cubicBezTo>
                    <a:pt x="365920" y="189547"/>
                    <a:pt x="354490" y="197167"/>
                    <a:pt x="344965" y="213360"/>
                  </a:cubicBezTo>
                  <a:cubicBezTo>
                    <a:pt x="331630" y="235267"/>
                    <a:pt x="314485" y="255270"/>
                    <a:pt x="299245" y="275272"/>
                  </a:cubicBezTo>
                  <a:cubicBezTo>
                    <a:pt x="295435" y="280035"/>
                    <a:pt x="292578" y="287655"/>
                    <a:pt x="284958" y="284797"/>
                  </a:cubicBezTo>
                  <a:cubicBezTo>
                    <a:pt x="278290" y="281940"/>
                    <a:pt x="281148" y="275272"/>
                    <a:pt x="281148" y="269557"/>
                  </a:cubicBezTo>
                  <a:cubicBezTo>
                    <a:pt x="284005" y="221932"/>
                    <a:pt x="295435" y="177165"/>
                    <a:pt x="321153" y="136207"/>
                  </a:cubicBezTo>
                  <a:cubicBezTo>
                    <a:pt x="324963" y="129540"/>
                    <a:pt x="330678" y="125730"/>
                    <a:pt x="336393" y="121920"/>
                  </a:cubicBezTo>
                  <a:cubicBezTo>
                    <a:pt x="384018" y="86677"/>
                    <a:pt x="434500" y="56197"/>
                    <a:pt x="483078" y="22860"/>
                  </a:cubicBezTo>
                  <a:cubicBezTo>
                    <a:pt x="494508" y="15240"/>
                    <a:pt x="504985" y="4762"/>
                    <a:pt x="518320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algn="l" defTabSz="76340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6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굴림" panose="020B0600000101010101" pitchFamily="50" charset="-127"/>
                <a:cs typeface="+mn-cs"/>
              </a:endParaRPr>
            </a:p>
          </p:txBody>
        </p:sp>
      </p:grpSp>
      <p:sp>
        <p:nvSpPr>
          <p:cNvPr id="7" name="직사각형 6"/>
          <p:cNvSpPr/>
          <p:nvPr userDrawn="1"/>
        </p:nvSpPr>
        <p:spPr>
          <a:xfrm>
            <a:off x="9080501" y="28575"/>
            <a:ext cx="1274763" cy="266700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lIns="35709" tIns="35709" rIns="35709" bIns="35709" anchor="ctr"/>
          <a:lstStyle/>
          <a:p>
            <a:pPr marL="0" marR="0" lvl="0" indent="0" algn="ctr" defTabSz="909371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995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1" lang="en-US" altLang="ko-KR" sz="995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1" lang="ko-KR" altLang="en-US" sz="995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1" lang="en-US" altLang="ko-KR" sz="995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1" lang="ko-KR" altLang="en-US" sz="995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  <p:sp>
        <p:nvSpPr>
          <p:cNvPr id="8" name="슬라이드 번호 개체 틀 2"/>
          <p:cNvSpPr txBox="1">
            <a:spLocks/>
          </p:cNvSpPr>
          <p:nvPr userDrawn="1"/>
        </p:nvSpPr>
        <p:spPr bwMode="auto">
          <a:xfrm>
            <a:off x="9690101" y="6967538"/>
            <a:ext cx="631825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911225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911225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911225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911225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911225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marR="0" lvl="0" indent="0" algn="r" defTabSz="906213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04A337F-CA55-40A4-BF11-33AD5270B56E}" type="slidenum">
              <a:rPr kumimoji="0" lang="en-US" altLang="ko-KR" sz="1193" b="1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pPr marL="0" marR="0" lvl="0" indent="0" algn="r" defTabSz="906213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193" b="1" i="0" u="none" strike="noStrike" kern="1200" cap="none" spc="0" normalizeH="0" baseline="0" noProof="0" smtClean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979151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8949521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115221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58632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사용자 지정 레이아웃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010525" y="6883402"/>
            <a:ext cx="2306638" cy="288925"/>
          </a:xfrm>
          <a:prstGeom prst="rect">
            <a:avLst/>
          </a:prstGeom>
          <a:noFill/>
        </p:spPr>
        <p:txBody>
          <a:bodyPr anchor="ctr">
            <a:spAutoFit/>
          </a:bodyPr>
          <a:lstStyle/>
          <a:p>
            <a:pPr marL="0" marR="0" lvl="0" indent="0" algn="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72A3FB-1379-4DDE-A304-0986ED21093D}" type="slidenum">
              <a:rPr kumimoji="0" lang="ko-KR" altLang="en-US" sz="1269" b="1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pPr marL="0" marR="0" lvl="0" indent="0" algn="r" defTabSz="100523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269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4" name="AutoShape 23"/>
          <p:cNvSpPr>
            <a:spLocks noChangeArrowheads="1"/>
          </p:cNvSpPr>
          <p:nvPr userDrawn="1"/>
        </p:nvSpPr>
        <p:spPr bwMode="auto">
          <a:xfrm>
            <a:off x="8518525" y="544513"/>
            <a:ext cx="1195388" cy="228600"/>
          </a:xfrm>
          <a:prstGeom prst="roundRect">
            <a:avLst>
              <a:gd name="adj" fmla="val 50000"/>
            </a:avLst>
          </a:prstGeom>
          <a:solidFill>
            <a:schemeClr val="accent5">
              <a:lumMod val="75000"/>
            </a:schemeClr>
          </a:solidFill>
          <a:ln w="28575" algn="ctr">
            <a:solidFill>
              <a:schemeClr val="bg1"/>
            </a:solidFill>
            <a:round/>
            <a:headEnd/>
            <a:tailEnd/>
          </a:ln>
        </p:spPr>
        <p:txBody>
          <a:bodyPr lIns="50451" tIns="50451" rIns="50451" bIns="50451" anchor="ctr"/>
          <a:lstStyle>
            <a:lvl1pPr defTabSz="931863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931863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931863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931863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931863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9318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9318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9318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9318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marR="0" lvl="0" indent="0" algn="ctr" defTabSz="931863" rtl="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58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내부보고용</a:t>
            </a:r>
            <a:endParaRPr kumimoji="0" lang="ko-KR" altLang="en-US" sz="1058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07528" y="202935"/>
            <a:ext cx="7701658" cy="386701"/>
          </a:xfrm>
          <a:prstGeom prst="rect">
            <a:avLst/>
          </a:prstGeom>
        </p:spPr>
        <p:txBody>
          <a:bodyPr/>
          <a:lstStyle>
            <a:lvl1pPr>
              <a:defRPr sz="2116" b="1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1136510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" y="693"/>
            <a:ext cx="10387754" cy="7257341"/>
          </a:xfrm>
          <a:prstGeom prst="rect">
            <a:avLst/>
          </a:prstGeom>
        </p:spPr>
      </p:pic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7268" y="6635086"/>
            <a:ext cx="2371181" cy="4534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타원 3"/>
          <p:cNvSpPr/>
          <p:nvPr userDrawn="1"/>
        </p:nvSpPr>
        <p:spPr>
          <a:xfrm>
            <a:off x="7494790" y="636461"/>
            <a:ext cx="2830694" cy="2856250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>
            <a:outerShdw blurRad="342900" dist="482600" dir="5400000" sx="90000" sy="90000" algn="t" rotWithShape="0">
              <a:prstClr val="black">
                <a:alpha val="20000"/>
              </a:prstClr>
            </a:outerShdw>
          </a:effectLst>
        </p:spPr>
        <p:txBody>
          <a:bodyPr lIns="86932" tIns="43465" rIns="86932" bIns="43465" rtlCol="0" anchor="ctr"/>
          <a:lstStyle/>
          <a:p>
            <a:pPr algn="ctr" defTabSz="869304">
              <a:defRPr/>
            </a:pPr>
            <a:endParaRPr lang="ko-KR" altLang="en-US" sz="1200" kern="0" dirty="0">
              <a:solidFill>
                <a:srgbClr val="FFFFFF"/>
              </a:solidFill>
              <a:ea typeface="나눔고딕" panose="020D0604000000000000" pitchFamily="50" charset="-127"/>
            </a:endParaRPr>
          </a:p>
        </p:txBody>
      </p:sp>
      <p:sp>
        <p:nvSpPr>
          <p:cNvPr id="6" name="타원 5"/>
          <p:cNvSpPr/>
          <p:nvPr userDrawn="1"/>
        </p:nvSpPr>
        <p:spPr>
          <a:xfrm>
            <a:off x="8194759" y="3933618"/>
            <a:ext cx="2130741" cy="2149978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>
            <a:outerShdw blurRad="381000" dist="419100" dir="5400000" sx="90000" sy="90000" algn="t" rotWithShape="0">
              <a:prstClr val="black">
                <a:alpha val="20000"/>
              </a:prstClr>
            </a:outerShdw>
          </a:effectLst>
        </p:spPr>
        <p:txBody>
          <a:bodyPr lIns="86932" tIns="43465" rIns="86932" bIns="43465" rtlCol="0" anchor="ctr"/>
          <a:lstStyle/>
          <a:p>
            <a:pPr algn="ctr" defTabSz="869304">
              <a:defRPr/>
            </a:pPr>
            <a:endParaRPr lang="ko-KR" altLang="en-US" sz="1200" kern="0" dirty="0">
              <a:solidFill>
                <a:srgbClr val="FFFFFF"/>
              </a:solidFill>
              <a:ea typeface="나눔고딕" panose="020D0604000000000000" pitchFamily="50" charset="-127"/>
            </a:endParaRPr>
          </a:p>
        </p:txBody>
      </p:sp>
      <p:sp>
        <p:nvSpPr>
          <p:cNvPr id="8" name="타원 7"/>
          <p:cNvSpPr/>
          <p:nvPr userDrawn="1"/>
        </p:nvSpPr>
        <p:spPr>
          <a:xfrm>
            <a:off x="5775811" y="5245596"/>
            <a:ext cx="494227" cy="498689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>
            <a:outerShdw blurRad="177800" dist="127000" dir="5400000" algn="t" rotWithShape="0">
              <a:prstClr val="black">
                <a:alpha val="17000"/>
              </a:prstClr>
            </a:outerShdw>
          </a:effectLst>
        </p:spPr>
        <p:txBody>
          <a:bodyPr lIns="86932" tIns="43465" rIns="86932" bIns="43465" rtlCol="0" anchor="ctr"/>
          <a:lstStyle/>
          <a:p>
            <a:pPr algn="ctr" defTabSz="869304">
              <a:defRPr/>
            </a:pPr>
            <a:endParaRPr lang="ko-KR" altLang="en-US" sz="1200" kern="0" dirty="0">
              <a:solidFill>
                <a:srgbClr val="FFFFFF"/>
              </a:solidFill>
              <a:ea typeface="나눔고딕" panose="020D0604000000000000" pitchFamily="50" charset="-127"/>
            </a:endParaRPr>
          </a:p>
        </p:txBody>
      </p:sp>
      <p:sp>
        <p:nvSpPr>
          <p:cNvPr id="9" name="타원 8"/>
          <p:cNvSpPr/>
          <p:nvPr userDrawn="1"/>
        </p:nvSpPr>
        <p:spPr>
          <a:xfrm>
            <a:off x="4381583" y="5451916"/>
            <a:ext cx="1513570" cy="1527236"/>
          </a:xfrm>
          <a:prstGeom prst="ellipse">
            <a:avLst/>
          </a:prstGeom>
          <a:solidFill>
            <a:srgbClr val="99FF99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txBody>
          <a:bodyPr vert="horz" lIns="86932" tIns="43465" rIns="86932" bIns="43465" rtlCol="0" anchor="ctr">
            <a:normAutofit/>
          </a:bodyPr>
          <a:lstStyle/>
          <a:p>
            <a:pPr algn="ctr" defTabSz="869304">
              <a:lnSpc>
                <a:spcPct val="90000"/>
              </a:lnSpc>
              <a:spcBef>
                <a:spcPts val="955"/>
              </a:spcBef>
              <a:defRPr/>
            </a:pPr>
            <a:endParaRPr lang="ko-KR" altLang="en-US" sz="1200" kern="0" dirty="0">
              <a:solidFill>
                <a:srgbClr val="FFFFFF"/>
              </a:solidFill>
              <a:ea typeface="나눔고딕" panose="020D0604000000000000" pitchFamily="50" charset="-127"/>
            </a:endParaRPr>
          </a:p>
        </p:txBody>
      </p:sp>
      <p:sp>
        <p:nvSpPr>
          <p:cNvPr id="10" name="그림 개체 틀 56"/>
          <p:cNvSpPr txBox="1">
            <a:spLocks/>
          </p:cNvSpPr>
          <p:nvPr userDrawn="1"/>
        </p:nvSpPr>
        <p:spPr>
          <a:xfrm>
            <a:off x="8553608" y="1820758"/>
            <a:ext cx="1449315" cy="146240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 w="25400" cap="flat" cmpd="sng" algn="ctr">
            <a:noFill/>
            <a:prstDash val="solid"/>
            <a:miter lim="800000"/>
          </a:ln>
          <a:effectLst>
            <a:outerShdw blurRad="393700" dist="177800" dir="5400000" algn="t" rotWithShape="0">
              <a:prstClr val="black">
                <a:alpha val="23000"/>
              </a:prstClr>
            </a:outerShdw>
          </a:effectLst>
        </p:spPr>
        <p:txBody>
          <a:bodyPr vert="horz" lIns="87048" tIns="43525" rIns="87048" bIns="43525" rtlCol="0" anchor="ctr">
            <a:normAutofit/>
          </a:bodyPr>
          <a:lstStyle>
            <a:lvl1pPr marL="0" indent="0" algn="l" defTabSz="913424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ko-KR" altLang="en-US" sz="800" kern="1200" dirty="0">
                <a:solidFill>
                  <a:srgbClr val="B05989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defRPr>
            </a:lvl1pPr>
            <a:lvl2pPr marL="685067" indent="-228355" algn="l" defTabSz="913424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1778" indent="-228355" algn="l" defTabSz="913424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98488" indent="-228355" algn="l" defTabSz="913424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5200" indent="-228355" algn="l" defTabSz="913424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1912" indent="-228355" algn="l" defTabSz="913424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68622" indent="-228355" algn="l" defTabSz="913424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5333" indent="-228355" algn="l" defTabSz="913424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2043" indent="-228355" algn="l" defTabSz="913424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sz="800"/>
          </a:p>
        </p:txBody>
      </p:sp>
      <p:sp>
        <p:nvSpPr>
          <p:cNvPr id="11" name="타원 10"/>
          <p:cNvSpPr/>
          <p:nvPr userDrawn="1"/>
        </p:nvSpPr>
        <p:spPr>
          <a:xfrm>
            <a:off x="4842257" y="1624665"/>
            <a:ext cx="4076652" cy="4037283"/>
          </a:xfrm>
          <a:prstGeom prst="ellipse">
            <a:avLst/>
          </a:prstGeom>
          <a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145" tIns="43570" rIns="87145" bIns="43570" rtlCol="0" anchor="ctr"/>
          <a:lstStyle/>
          <a:p>
            <a:pPr algn="ctr" defTabSz="871398"/>
            <a:endParaRPr lang="ko-KR" altLang="en-US" sz="1984" dirty="0">
              <a:solidFill>
                <a:prstClr val="white"/>
              </a:solidFill>
            </a:endParaRPr>
          </a:p>
        </p:txBody>
      </p:sp>
      <p:sp>
        <p:nvSpPr>
          <p:cNvPr id="13" name="모서리가 둥근 직사각형 12"/>
          <p:cNvSpPr/>
          <p:nvPr userDrawn="1"/>
        </p:nvSpPr>
        <p:spPr>
          <a:xfrm>
            <a:off x="8968348" y="6666142"/>
            <a:ext cx="1188875" cy="41436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089" tIns="40044" rIns="80089" bIns="40044" rtlCol="0" anchor="ctr"/>
          <a:lstStyle/>
          <a:p>
            <a:pPr algn="ctr" defTabSz="913736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984" dirty="0">
              <a:solidFill>
                <a:prstClr val="white"/>
              </a:solidFill>
            </a:endParaRPr>
          </a:p>
        </p:txBody>
      </p:sp>
      <p:sp>
        <p:nvSpPr>
          <p:cNvPr id="14" name="직사각형 13"/>
          <p:cNvSpPr/>
          <p:nvPr userDrawn="1"/>
        </p:nvSpPr>
        <p:spPr>
          <a:xfrm>
            <a:off x="9079046" y="29012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algn="ctr"/>
            <a:r>
              <a:rPr lang="ko-KR" altLang="en-US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사내교육용</a:t>
            </a:r>
            <a:r>
              <a:rPr lang="en-US" altLang="ko-KR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(</a:t>
            </a:r>
            <a:r>
              <a:rPr lang="ko-KR" altLang="en-US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대외비</a:t>
            </a:r>
            <a:r>
              <a:rPr lang="en-US" altLang="ko-KR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)</a:t>
            </a:r>
            <a:r>
              <a:rPr lang="ko-KR" altLang="en-US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864904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6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3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  <p:bldP spid="8" grpId="0" animBg="1"/>
      <p:bldP spid="9" grpId="0" animBg="1"/>
      <p:bldP spid="10" grpId="0" animBg="1"/>
    </p:bld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사용자 지정 레이아웃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010525" y="6883402"/>
            <a:ext cx="2306638" cy="288925"/>
          </a:xfrm>
          <a:prstGeom prst="rect">
            <a:avLst/>
          </a:prstGeom>
          <a:noFill/>
        </p:spPr>
        <p:txBody>
          <a:bodyPr anchor="ctr">
            <a:spAutoFit/>
          </a:bodyPr>
          <a:lstStyle/>
          <a:p>
            <a:pPr marL="0" marR="0" lvl="0" indent="0" algn="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AC1B36-93D6-4C14-AAFE-29F1E52C2A86}" type="slidenum">
              <a:rPr kumimoji="0" lang="ko-KR" altLang="en-US" sz="1269" b="1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pPr marL="0" marR="0" lvl="0" indent="0" algn="r" defTabSz="100523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269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4" name="AutoShape 23"/>
          <p:cNvSpPr>
            <a:spLocks noChangeArrowheads="1"/>
          </p:cNvSpPr>
          <p:nvPr userDrawn="1"/>
        </p:nvSpPr>
        <p:spPr bwMode="auto">
          <a:xfrm>
            <a:off x="8518525" y="544513"/>
            <a:ext cx="1195388" cy="228600"/>
          </a:xfrm>
          <a:prstGeom prst="roundRect">
            <a:avLst>
              <a:gd name="adj" fmla="val 50000"/>
            </a:avLst>
          </a:prstGeom>
          <a:solidFill>
            <a:schemeClr val="accent5">
              <a:lumMod val="75000"/>
            </a:schemeClr>
          </a:solidFill>
          <a:ln w="28575" algn="ctr">
            <a:solidFill>
              <a:schemeClr val="bg1"/>
            </a:solidFill>
            <a:round/>
            <a:headEnd/>
            <a:tailEnd/>
          </a:ln>
        </p:spPr>
        <p:txBody>
          <a:bodyPr lIns="50451" tIns="50451" rIns="50451" bIns="50451" anchor="ctr"/>
          <a:lstStyle>
            <a:lvl1pPr defTabSz="931863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931863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931863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931863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931863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9318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9318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9318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9318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marR="0" lvl="0" indent="0" algn="ctr" defTabSz="931863" rtl="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58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내부보고용</a:t>
            </a:r>
            <a:endParaRPr kumimoji="0" lang="ko-KR" altLang="en-US" sz="1058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07528" y="202935"/>
            <a:ext cx="7701658" cy="386701"/>
          </a:xfrm>
          <a:prstGeom prst="rect">
            <a:avLst/>
          </a:prstGeom>
        </p:spPr>
        <p:txBody>
          <a:bodyPr/>
          <a:lstStyle>
            <a:lvl1pPr>
              <a:defRPr sz="2116" b="1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31338710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사용자 지정 레이아웃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010525" y="6883402"/>
            <a:ext cx="2306638" cy="288925"/>
          </a:xfrm>
          <a:prstGeom prst="rect">
            <a:avLst/>
          </a:prstGeom>
          <a:noFill/>
        </p:spPr>
        <p:txBody>
          <a:bodyPr anchor="ctr">
            <a:spAutoFit/>
          </a:bodyPr>
          <a:lstStyle/>
          <a:p>
            <a:pPr marL="0" marR="0" lvl="0" indent="0" algn="r" defTabSz="10048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BE692D4-B9B1-4EFE-AFF2-B36205BC4BA4}" type="slidenum">
              <a:rPr kumimoji="0" lang="ko-KR" altLang="en-US" sz="1269" b="1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pPr marL="0" marR="0" lvl="0" indent="0" algn="r" defTabSz="100488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269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4" name="AutoShape 23"/>
          <p:cNvSpPr>
            <a:spLocks noChangeArrowheads="1"/>
          </p:cNvSpPr>
          <p:nvPr userDrawn="1"/>
        </p:nvSpPr>
        <p:spPr bwMode="auto">
          <a:xfrm>
            <a:off x="8518525" y="544513"/>
            <a:ext cx="1195388" cy="228600"/>
          </a:xfrm>
          <a:prstGeom prst="roundRect">
            <a:avLst>
              <a:gd name="adj" fmla="val 50000"/>
            </a:avLst>
          </a:prstGeom>
          <a:solidFill>
            <a:schemeClr val="accent5">
              <a:lumMod val="75000"/>
            </a:schemeClr>
          </a:solidFill>
          <a:ln w="28575" algn="ctr">
            <a:solidFill>
              <a:schemeClr val="bg1"/>
            </a:solidFill>
            <a:round/>
            <a:headEnd/>
            <a:tailEnd/>
          </a:ln>
        </p:spPr>
        <p:txBody>
          <a:bodyPr lIns="50451" tIns="50451" rIns="50451" bIns="50451" anchor="ctr"/>
          <a:lstStyle>
            <a:lvl1pPr defTabSz="931863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 defTabSz="931863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 defTabSz="931863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 defTabSz="931863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 defTabSz="931863" eaLnBrk="0" hangingPunct="0"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defTabSz="9318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defTabSz="9318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defTabSz="9318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defTabSz="931863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marL="0" marR="0" lvl="0" indent="0" algn="ctr" defTabSz="931863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58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사내교육용</a:t>
            </a:r>
            <a:endParaRPr kumimoji="0" lang="ko-KR" altLang="en-US" sz="1058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07528" y="202935"/>
            <a:ext cx="7701658" cy="386701"/>
          </a:xfrm>
          <a:prstGeom prst="rect">
            <a:avLst/>
          </a:prstGeom>
        </p:spPr>
        <p:txBody>
          <a:bodyPr/>
          <a:lstStyle>
            <a:lvl1pPr>
              <a:defRPr sz="2116" b="1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9226424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직사각형 6"/>
          <p:cNvSpPr/>
          <p:nvPr userDrawn="1"/>
        </p:nvSpPr>
        <p:spPr>
          <a:xfrm>
            <a:off x="-12618" y="576512"/>
            <a:ext cx="10396456" cy="761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6734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0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5294834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내지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직사각형 6"/>
          <p:cNvSpPr/>
          <p:nvPr userDrawn="1"/>
        </p:nvSpPr>
        <p:spPr>
          <a:xfrm>
            <a:off x="0" y="2"/>
            <a:ext cx="10383838" cy="806097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048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9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3" name="슬라이드 번호 개체 틀 3"/>
          <p:cNvSpPr txBox="1">
            <a:spLocks/>
          </p:cNvSpPr>
          <p:nvPr userDrawn="1"/>
        </p:nvSpPr>
        <p:spPr>
          <a:xfrm>
            <a:off x="9517381" y="6898264"/>
            <a:ext cx="753966" cy="385455"/>
          </a:xfrm>
          <a:prstGeom prst="rect">
            <a:avLst/>
          </a:prstGeom>
        </p:spPr>
        <p:txBody>
          <a:bodyPr vert="horz" lIns="95851" tIns="47925" rIns="95851" bIns="47925" rtlCol="0" anchor="ctr"/>
          <a:lstStyle>
            <a:defPPr>
              <a:defRPr lang="ko-KR"/>
            </a:defPPr>
            <a:lvl1pPr marL="0" algn="r" defTabSz="909379" rtl="0" eaLnBrk="1" fontAlgn="base" latinLnBrk="1" hangingPunct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prstClr val="black"/>
                </a:solidFill>
                <a:latin typeface="맑은 고딕" pitchFamily="50" charset="-127"/>
                <a:ea typeface="굴림" charset="-127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09379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BFD7975-421D-49F3-A531-C49C0785C383}" type="slidenum">
              <a:rPr kumimoji="1" lang="ko-KR" altLang="en-US" sz="1048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B0600000101010101" charset="-127"/>
                <a:ea typeface="나눔고딕" panose="020B0600000101010101" charset="-127"/>
                <a:cs typeface="+mn-cs"/>
              </a:rPr>
              <a:pPr marL="0" marR="0" lvl="0" indent="0" algn="r" defTabSz="909379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ko-KR" altLang="en-US" sz="104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B0600000101010101" charset="-127"/>
              <a:ea typeface="나눔고딕" panose="020B0600000101010101" charset="-127"/>
              <a:cs typeface="+mn-cs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895845" y="502534"/>
            <a:ext cx="1071274" cy="23743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10048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43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나눔고딕" panose="020D0604000000000000"/>
                <a:cs typeface="+mn-cs"/>
              </a:rPr>
              <a:t>컨설턴트 교육용</a:t>
            </a:r>
            <a:endParaRPr kumimoji="0" lang="ko-KR" altLang="en-US" sz="943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나눔고딕" panose="020D060400000000000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944269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" y="8399"/>
            <a:ext cx="10383838" cy="72531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직사각형 2"/>
          <p:cNvSpPr/>
          <p:nvPr userDrawn="1"/>
        </p:nvSpPr>
        <p:spPr>
          <a:xfrm>
            <a:off x="9555130" y="36949"/>
            <a:ext cx="775459" cy="172976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774" tIns="3774" rIns="3774" bIns="3774" anchor="ctr"/>
          <a:lstStyle/>
          <a:p>
            <a:pPr marL="0" marR="0" lvl="0" indent="0" algn="ctr" defTabSz="1004888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48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사내 교육용</a:t>
            </a:r>
          </a:p>
        </p:txBody>
      </p:sp>
    </p:spTree>
    <p:extLst>
      <p:ext uri="{BB962C8B-B14F-4D97-AF65-F5344CB8AC3E}">
        <p14:creationId xmlns:p14="http://schemas.microsoft.com/office/powerpoint/2010/main" val="23833855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4098" y="161197"/>
            <a:ext cx="5796082" cy="389593"/>
          </a:xfrm>
          <a:prstGeom prst="rect">
            <a:avLst/>
          </a:prstGeom>
        </p:spPr>
        <p:txBody>
          <a:bodyPr/>
          <a:lstStyle>
            <a:lvl1pPr algn="l">
              <a:defRPr sz="2386">
                <a:latin typeface="다음_SemiBold" pitchFamily="2" charset="-127"/>
                <a:ea typeface="다음_SemiBold" pitchFamily="2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42310912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281223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 userDrawn="1"/>
        </p:nvSpPr>
        <p:spPr>
          <a:xfrm>
            <a:off x="9109075" y="0"/>
            <a:ext cx="1276350" cy="38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469" tIns="41733" rIns="83469" bIns="41733" anchor="ctr"/>
          <a:lstStyle/>
          <a:p>
            <a:pPr marL="0" marR="0" lvl="0" indent="0" algn="ctr" defTabSz="907612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79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" name="직사각형 2"/>
          <p:cNvSpPr>
            <a:spLocks noChangeArrowheads="1"/>
          </p:cNvSpPr>
          <p:nvPr userDrawn="1"/>
        </p:nvSpPr>
        <p:spPr bwMode="auto">
          <a:xfrm>
            <a:off x="9160083" y="171450"/>
            <a:ext cx="977483" cy="343388"/>
          </a:xfrm>
          <a:prstGeom prst="rect">
            <a:avLst/>
          </a:prstGeom>
          <a:noFill/>
          <a:ln w="15875">
            <a:solidFill>
              <a:schemeClr val="bg1">
                <a:lumMod val="65000"/>
              </a:schemeClr>
            </a:solidFill>
            <a:prstDash val="sysDot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107271" tIns="71513" rIns="90821" bIns="71513">
            <a:spAutoFit/>
          </a:bodyPr>
          <a:lstStyle/>
          <a:p>
            <a:pPr marL="0" marR="0" lvl="0" indent="0" algn="ctr" defTabSz="908199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9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</a:p>
        </p:txBody>
      </p:sp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22951" y="657225"/>
            <a:ext cx="4562475" cy="277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그림 10" descr="그림2.png"/>
          <p:cNvPicPr>
            <a:picLocks noChangeAspect="1"/>
          </p:cNvPicPr>
          <p:nvPr userDrawn="1"/>
        </p:nvPicPr>
        <p:blipFill>
          <a:blip r:embed="rId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91388" y="447675"/>
            <a:ext cx="2530475" cy="3316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89805276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내용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2" y="4"/>
            <a:ext cx="10387751" cy="7257339"/>
          </a:xfrm>
          <a:prstGeom prst="rect">
            <a:avLst/>
          </a:prstGeom>
        </p:spPr>
      </p:pic>
      <p:sp>
        <p:nvSpPr>
          <p:cNvPr id="5" name="직사각형 4"/>
          <p:cNvSpPr/>
          <p:nvPr userDrawn="1"/>
        </p:nvSpPr>
        <p:spPr>
          <a:xfrm>
            <a:off x="8936336" y="243061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26930" tIns="26930" rIns="26930" bIns="26930" anchor="ctr" anchorCtr="0">
            <a:noAutofit/>
          </a:bodyPr>
          <a:lstStyle/>
          <a:p>
            <a:pPr marL="0" marR="0" lvl="0" indent="0" algn="ctr" defTabSz="10048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7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7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7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7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7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  <a:endParaRPr kumimoji="0" lang="ko-KR" altLang="en-US" sz="75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  <p:sp>
        <p:nvSpPr>
          <p:cNvPr id="7" name="슬라이드 번호 개체 틀 2"/>
          <p:cNvSpPr txBox="1">
            <a:spLocks/>
          </p:cNvSpPr>
          <p:nvPr userDrawn="1"/>
        </p:nvSpPr>
        <p:spPr>
          <a:xfrm>
            <a:off x="9691481" y="6968001"/>
            <a:ext cx="631527" cy="322319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68404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0" lang="en-US" altLang="ko-KR" sz="900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684041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9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241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6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" y="688"/>
            <a:ext cx="10387751" cy="7257341"/>
          </a:xfrm>
          <a:prstGeom prst="rect">
            <a:avLst/>
          </a:prstGeom>
        </p:spPr>
      </p:pic>
      <p:sp>
        <p:nvSpPr>
          <p:cNvPr id="6" name="슬라이드 번호 개체 틀 2"/>
          <p:cNvSpPr txBox="1">
            <a:spLocks/>
          </p:cNvSpPr>
          <p:nvPr userDrawn="1"/>
        </p:nvSpPr>
        <p:spPr>
          <a:xfrm>
            <a:off x="9691481" y="6967999"/>
            <a:ext cx="631527" cy="322319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91202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0" lang="en-US" altLang="ko-KR" sz="1200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912025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  <p:sp>
        <p:nvSpPr>
          <p:cNvPr id="4" name="직사각형 3"/>
          <p:cNvSpPr/>
          <p:nvPr userDrawn="1"/>
        </p:nvSpPr>
        <p:spPr>
          <a:xfrm>
            <a:off x="9079046" y="29012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marL="0" marR="0" lvl="0" indent="0" algn="ctr" defTabSz="10048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  <p:sp>
        <p:nvSpPr>
          <p:cNvPr id="7" name="직사각형 6"/>
          <p:cNvSpPr/>
          <p:nvPr userDrawn="1"/>
        </p:nvSpPr>
        <p:spPr>
          <a:xfrm>
            <a:off x="9079046" y="349232"/>
            <a:ext cx="1277156" cy="265902"/>
          </a:xfrm>
          <a:prstGeom prst="rect">
            <a:avLst/>
          </a:prstGeom>
          <a:ln w="19050">
            <a:solidFill>
              <a:srgbClr val="FF0000"/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marL="0" marR="0" lvl="0" indent="0" algn="ctr" defTabSz="10048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슬라이드 노트 참고 </a:t>
            </a:r>
          </a:p>
        </p:txBody>
      </p:sp>
    </p:spTree>
    <p:extLst>
      <p:ext uri="{BB962C8B-B14F-4D97-AF65-F5344CB8AC3E}">
        <p14:creationId xmlns:p14="http://schemas.microsoft.com/office/powerpoint/2010/main" val="40982739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직사각형 16"/>
          <p:cNvSpPr>
            <a:spLocks noChangeArrowheads="1"/>
          </p:cNvSpPr>
          <p:nvPr userDrawn="1"/>
        </p:nvSpPr>
        <p:spPr bwMode="auto">
          <a:xfrm>
            <a:off x="9328864" y="91613"/>
            <a:ext cx="897248" cy="307847"/>
          </a:xfrm>
          <a:prstGeom prst="rect">
            <a:avLst/>
          </a:prstGeom>
          <a:ln w="15875">
            <a:solidFill>
              <a:schemeClr val="bg1">
                <a:lumMod val="65000"/>
              </a:schemeClr>
            </a:solidFill>
            <a:prstDash val="sysDot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102926" tIns="68615" rIns="87145" bIns="68615">
            <a:spAutoFit/>
          </a:bodyPr>
          <a:lstStyle/>
          <a:p>
            <a:pPr algn="ctr" defTabSz="871440"/>
            <a:r>
              <a:rPr lang="ko-KR" altLang="en-US" sz="1100" dirty="0">
                <a:ln>
                  <a:solidFill>
                    <a:prstClr val="white">
                      <a:lumMod val="75000"/>
                    </a:prstClr>
                  </a:solidFill>
                </a:ln>
                <a:solidFill>
                  <a:prstClr val="white">
                    <a:lumMod val="50000"/>
                  </a:prstClr>
                </a:solidFill>
              </a:rPr>
              <a:t>사내교육용</a:t>
            </a:r>
          </a:p>
        </p:txBody>
      </p:sp>
      <p:pic>
        <p:nvPicPr>
          <p:cNvPr id="11" name="그림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" y="680"/>
            <a:ext cx="10387752" cy="7060395"/>
          </a:xfrm>
          <a:prstGeom prst="rect">
            <a:avLst/>
          </a:prstGeom>
        </p:spPr>
      </p:pic>
      <p:sp>
        <p:nvSpPr>
          <p:cNvPr id="7" name="Rectangle 5"/>
          <p:cNvSpPr>
            <a:spLocks noChangeArrowheads="1"/>
          </p:cNvSpPr>
          <p:nvPr userDrawn="1"/>
        </p:nvSpPr>
        <p:spPr bwMode="auto">
          <a:xfrm>
            <a:off x="9789199" y="7011438"/>
            <a:ext cx="577826" cy="251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7095" tIns="43549" rIns="87095" bIns="43549" anchor="ctr" anchorCtr="0"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r" defTabSz="871440">
              <a:defRPr/>
            </a:pPr>
            <a:r>
              <a:rPr lang="ko-KR" altLang="en-US" sz="1400" b="1" dirty="0">
                <a:solidFill>
                  <a:srgbClr val="002060"/>
                </a:solidFill>
              </a:rPr>
              <a:t> </a:t>
            </a:r>
            <a:fld id="{16B1565D-7790-4B20-9C8C-6E71895AF331}" type="slidenum">
              <a:rPr lang="ko-KR" altLang="en-US" sz="1400" b="1">
                <a:solidFill>
                  <a:srgbClr val="002060"/>
                </a:solidFill>
              </a:rPr>
              <a:pPr algn="r" defTabSz="871440">
                <a:defRPr/>
              </a:pPr>
              <a:t>‹#›</a:t>
            </a:fld>
            <a:endParaRPr lang="en-US" altLang="ko-KR" sz="14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0287480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7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388744" cy="72582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슬라이드 번호 개체 틀 5"/>
          <p:cNvSpPr txBox="1">
            <a:spLocks noChangeAspect="1"/>
          </p:cNvSpPr>
          <p:nvPr userDrawn="1"/>
        </p:nvSpPr>
        <p:spPr>
          <a:xfrm>
            <a:off x="9673040" y="6930854"/>
            <a:ext cx="749459" cy="379537"/>
          </a:xfrm>
          <a:prstGeom prst="rect">
            <a:avLst/>
          </a:prstGeom>
        </p:spPr>
        <p:txBody>
          <a:bodyPr lIns="92123" tIns="46061" rIns="92123" bIns="46061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21244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36B23E-0D7D-4474-99A0-8847B099930A}" type="slidenum">
              <a:rPr kumimoji="0" lang="ko-KR" altLang="en-US" sz="1133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921244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1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64068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8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" y="676"/>
            <a:ext cx="10387751" cy="7257341"/>
          </a:xfrm>
          <a:prstGeom prst="rect">
            <a:avLst/>
          </a:prstGeom>
        </p:spPr>
      </p:pic>
      <p:sp>
        <p:nvSpPr>
          <p:cNvPr id="4" name="직사각형 3"/>
          <p:cNvSpPr/>
          <p:nvPr userDrawn="1"/>
        </p:nvSpPr>
        <p:spPr>
          <a:xfrm>
            <a:off x="1" y="6959846"/>
            <a:ext cx="10383838" cy="2825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10048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        [</a:t>
            </a:r>
            <a:r>
              <a:rPr kumimoji="0" lang="ko-KR" altLang="en-US" sz="1236" b="0" i="0" u="none" strike="noStrike" kern="1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사내교육용</a:t>
            </a:r>
            <a:r>
              <a:rPr kumimoji="0" lang="en-US" altLang="ko-KR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] </a:t>
            </a:r>
            <a:r>
              <a:rPr kumimoji="0" lang="ko-KR" altLang="en-US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본 자료는 고객에게 </a:t>
            </a:r>
            <a:r>
              <a:rPr kumimoji="0" lang="ko-KR" altLang="en-US" sz="1236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제시 </a:t>
            </a:r>
            <a:r>
              <a:rPr kumimoji="0" lang="en-US" altLang="ko-KR" sz="1236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· </a:t>
            </a:r>
            <a:r>
              <a:rPr kumimoji="0" lang="ko-KR" altLang="en-US" sz="1236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교부해서 사용할 수 없습니다</a:t>
            </a:r>
            <a:r>
              <a:rPr kumimoji="0" lang="en-US" altLang="ko-KR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. </a:t>
            </a:r>
            <a:r>
              <a:rPr kumimoji="0" lang="ko-KR" altLang="en-US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또한 고객용 </a:t>
            </a:r>
            <a:r>
              <a:rPr kumimoji="0" lang="ko-KR" altLang="en-US" sz="1236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자료로 재편집하여 사용하거나 제공해서는 안됩니다</a:t>
            </a:r>
            <a:r>
              <a:rPr kumimoji="0" lang="en-US" altLang="ko-KR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.</a:t>
            </a:r>
            <a:endParaRPr kumimoji="0" lang="en-US" altLang="ko-KR" sz="1236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교보서체 Regular" panose="020B0600000101010101" pitchFamily="50" charset="-127"/>
              <a:ea typeface="교보서체 Regular" panose="020B0600000101010101" pitchFamily="50" charset="-127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94400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9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" y="676"/>
            <a:ext cx="10387751" cy="7257341"/>
          </a:xfrm>
          <a:prstGeom prst="rect">
            <a:avLst/>
          </a:prstGeom>
        </p:spPr>
      </p:pic>
      <p:sp>
        <p:nvSpPr>
          <p:cNvPr id="4" name="직사각형 3"/>
          <p:cNvSpPr/>
          <p:nvPr userDrawn="1"/>
        </p:nvSpPr>
        <p:spPr>
          <a:xfrm>
            <a:off x="1" y="6959846"/>
            <a:ext cx="10383838" cy="2825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10048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        [</a:t>
            </a:r>
            <a:r>
              <a:rPr kumimoji="0" lang="ko-KR" altLang="en-US" sz="1236" b="0" i="0" u="none" strike="noStrike" kern="1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사내교육용</a:t>
            </a:r>
            <a:r>
              <a:rPr kumimoji="0" lang="en-US" altLang="ko-KR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] </a:t>
            </a:r>
            <a:r>
              <a:rPr kumimoji="0" lang="ko-KR" altLang="en-US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본 자료는 고객에게 </a:t>
            </a:r>
            <a:r>
              <a:rPr kumimoji="0" lang="ko-KR" altLang="en-US" sz="1236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제시 </a:t>
            </a:r>
            <a:r>
              <a:rPr kumimoji="0" lang="en-US" altLang="ko-KR" sz="1236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· </a:t>
            </a:r>
            <a:r>
              <a:rPr kumimoji="0" lang="ko-KR" altLang="en-US" sz="1236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교부해서 사용할 수 없습니다</a:t>
            </a:r>
            <a:r>
              <a:rPr kumimoji="0" lang="en-US" altLang="ko-KR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. </a:t>
            </a:r>
            <a:r>
              <a:rPr kumimoji="0" lang="ko-KR" altLang="en-US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또한 고객용 </a:t>
            </a:r>
            <a:r>
              <a:rPr kumimoji="0" lang="ko-KR" altLang="en-US" sz="1236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자료로 재편집하여 사용하거나 제공해서는 안됩니다</a:t>
            </a:r>
            <a:r>
              <a:rPr kumimoji="0" lang="en-US" altLang="ko-KR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.</a:t>
            </a:r>
            <a:endParaRPr kumimoji="0" lang="en-US" altLang="ko-KR" sz="1236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교보서체 Regular" panose="020B0600000101010101" pitchFamily="50" charset="-127"/>
              <a:ea typeface="교보서체 Regular" panose="020B0600000101010101" pitchFamily="50" charset="-127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4784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0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" y="676"/>
            <a:ext cx="10387751" cy="7257341"/>
          </a:xfrm>
          <a:prstGeom prst="rect">
            <a:avLst/>
          </a:prstGeom>
        </p:spPr>
      </p:pic>
      <p:sp>
        <p:nvSpPr>
          <p:cNvPr id="4" name="직사각형 3"/>
          <p:cNvSpPr/>
          <p:nvPr userDrawn="1"/>
        </p:nvSpPr>
        <p:spPr>
          <a:xfrm>
            <a:off x="1" y="6959846"/>
            <a:ext cx="10383838" cy="2825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10048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        [</a:t>
            </a:r>
            <a:r>
              <a:rPr kumimoji="0" lang="ko-KR" altLang="en-US" sz="1236" b="0" i="0" u="none" strike="noStrike" kern="1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사내교육용</a:t>
            </a:r>
            <a:r>
              <a:rPr kumimoji="0" lang="en-US" altLang="ko-KR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] </a:t>
            </a:r>
            <a:r>
              <a:rPr kumimoji="0" lang="ko-KR" altLang="en-US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본 자료는 고객에게 </a:t>
            </a:r>
            <a:r>
              <a:rPr kumimoji="0" lang="ko-KR" altLang="en-US" sz="1236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제시 </a:t>
            </a:r>
            <a:r>
              <a:rPr kumimoji="0" lang="en-US" altLang="ko-KR" sz="1236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· </a:t>
            </a:r>
            <a:r>
              <a:rPr kumimoji="0" lang="ko-KR" altLang="en-US" sz="1236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교부해서 사용할 수 없습니다</a:t>
            </a:r>
            <a:r>
              <a:rPr kumimoji="0" lang="en-US" altLang="ko-KR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. </a:t>
            </a:r>
            <a:r>
              <a:rPr kumimoji="0" lang="ko-KR" altLang="en-US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또한 고객용 </a:t>
            </a:r>
            <a:r>
              <a:rPr kumimoji="0" lang="ko-KR" altLang="en-US" sz="1236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자료로 재편집하여 사용하거나 제공해서는 안됩니다</a:t>
            </a:r>
            <a:r>
              <a:rPr kumimoji="0" lang="en-US" altLang="ko-KR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.</a:t>
            </a:r>
            <a:endParaRPr kumimoji="0" lang="en-US" altLang="ko-KR" sz="1236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교보서체 Regular" panose="020B0600000101010101" pitchFamily="50" charset="-127"/>
              <a:ea typeface="교보서체 Regular" panose="020B0600000101010101" pitchFamily="50" charset="-127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64556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2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" y="676"/>
            <a:ext cx="10387751" cy="7257341"/>
          </a:xfrm>
          <a:prstGeom prst="rect">
            <a:avLst/>
          </a:prstGeom>
        </p:spPr>
      </p:pic>
      <p:sp>
        <p:nvSpPr>
          <p:cNvPr id="4" name="직사각형 3"/>
          <p:cNvSpPr/>
          <p:nvPr userDrawn="1"/>
        </p:nvSpPr>
        <p:spPr>
          <a:xfrm>
            <a:off x="1" y="6959846"/>
            <a:ext cx="10383838" cy="2825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10048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        [</a:t>
            </a:r>
            <a:r>
              <a:rPr kumimoji="0" lang="ko-KR" altLang="en-US" sz="1236" b="0" i="0" u="none" strike="noStrike" kern="1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사내교육용</a:t>
            </a:r>
            <a:r>
              <a:rPr kumimoji="0" lang="en-US" altLang="ko-KR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] </a:t>
            </a:r>
            <a:r>
              <a:rPr kumimoji="0" lang="ko-KR" altLang="en-US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본 자료는 고객에게 </a:t>
            </a:r>
            <a:r>
              <a:rPr kumimoji="0" lang="ko-KR" altLang="en-US" sz="1236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제시 </a:t>
            </a:r>
            <a:r>
              <a:rPr kumimoji="0" lang="en-US" altLang="ko-KR" sz="1236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· </a:t>
            </a:r>
            <a:r>
              <a:rPr kumimoji="0" lang="ko-KR" altLang="en-US" sz="1236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교부해서 사용할 수 없습니다</a:t>
            </a:r>
            <a:r>
              <a:rPr kumimoji="0" lang="en-US" altLang="ko-KR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. </a:t>
            </a:r>
            <a:r>
              <a:rPr kumimoji="0" lang="ko-KR" altLang="en-US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또한 고객용 </a:t>
            </a:r>
            <a:r>
              <a:rPr kumimoji="0" lang="ko-KR" altLang="en-US" sz="1236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자료로 재편집하여 사용하거나 제공해서는 안됩니다</a:t>
            </a:r>
            <a:r>
              <a:rPr kumimoji="0" lang="en-US" altLang="ko-KR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.</a:t>
            </a:r>
            <a:endParaRPr kumimoji="0" lang="en-US" altLang="ko-KR" sz="1236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교보서체 Regular" panose="020B0600000101010101" pitchFamily="50" charset="-127"/>
              <a:ea typeface="교보서체 Regular" panose="020B0600000101010101" pitchFamily="50" charset="-127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1727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3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" y="676"/>
            <a:ext cx="10387751" cy="7257341"/>
          </a:xfrm>
          <a:prstGeom prst="rect">
            <a:avLst/>
          </a:prstGeom>
        </p:spPr>
      </p:pic>
      <p:sp>
        <p:nvSpPr>
          <p:cNvPr id="4" name="직사각형 3"/>
          <p:cNvSpPr/>
          <p:nvPr userDrawn="1"/>
        </p:nvSpPr>
        <p:spPr>
          <a:xfrm>
            <a:off x="1" y="6959846"/>
            <a:ext cx="10383838" cy="2825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10048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        [</a:t>
            </a:r>
            <a:r>
              <a:rPr kumimoji="0" lang="ko-KR" altLang="en-US" sz="1236" b="0" i="0" u="none" strike="noStrike" kern="1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사내교육용</a:t>
            </a:r>
            <a:r>
              <a:rPr kumimoji="0" lang="en-US" altLang="ko-KR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] </a:t>
            </a:r>
            <a:r>
              <a:rPr kumimoji="0" lang="ko-KR" altLang="en-US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본 자료는 고객에게 </a:t>
            </a:r>
            <a:r>
              <a:rPr kumimoji="0" lang="ko-KR" altLang="en-US" sz="1236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제시 </a:t>
            </a:r>
            <a:r>
              <a:rPr kumimoji="0" lang="en-US" altLang="ko-KR" sz="1236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· </a:t>
            </a:r>
            <a:r>
              <a:rPr kumimoji="0" lang="ko-KR" altLang="en-US" sz="1236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교부해서 사용할 수 없습니다</a:t>
            </a:r>
            <a:r>
              <a:rPr kumimoji="0" lang="en-US" altLang="ko-KR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. </a:t>
            </a:r>
            <a:r>
              <a:rPr kumimoji="0" lang="ko-KR" altLang="en-US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또한 고객용 </a:t>
            </a:r>
            <a:r>
              <a:rPr kumimoji="0" lang="ko-KR" altLang="en-US" sz="1236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자료로 재편집하여 사용하거나 제공해서는 안됩니다</a:t>
            </a:r>
            <a:r>
              <a:rPr kumimoji="0" lang="en-US" altLang="ko-KR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.</a:t>
            </a:r>
            <a:endParaRPr kumimoji="0" lang="en-US" altLang="ko-KR" sz="1236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교보서체 Regular" panose="020B0600000101010101" pitchFamily="50" charset="-127"/>
              <a:ea typeface="교보서체 Regular" panose="020B0600000101010101" pitchFamily="50" charset="-127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9038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4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" y="676"/>
            <a:ext cx="10387751" cy="7257341"/>
          </a:xfrm>
          <a:prstGeom prst="rect">
            <a:avLst/>
          </a:prstGeom>
        </p:spPr>
      </p:pic>
      <p:sp>
        <p:nvSpPr>
          <p:cNvPr id="4" name="직사각형 3"/>
          <p:cNvSpPr/>
          <p:nvPr userDrawn="1"/>
        </p:nvSpPr>
        <p:spPr>
          <a:xfrm>
            <a:off x="1" y="6959846"/>
            <a:ext cx="10383838" cy="2825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10048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        [</a:t>
            </a:r>
            <a:r>
              <a:rPr kumimoji="0" lang="ko-KR" altLang="en-US" sz="1236" b="0" i="0" u="none" strike="noStrike" kern="1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사내교육용</a:t>
            </a:r>
            <a:r>
              <a:rPr kumimoji="0" lang="en-US" altLang="ko-KR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] </a:t>
            </a:r>
            <a:r>
              <a:rPr kumimoji="0" lang="ko-KR" altLang="en-US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본 자료는 고객에게 </a:t>
            </a:r>
            <a:r>
              <a:rPr kumimoji="0" lang="ko-KR" altLang="en-US" sz="1236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제시 </a:t>
            </a:r>
            <a:r>
              <a:rPr kumimoji="0" lang="en-US" altLang="ko-KR" sz="1236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· </a:t>
            </a:r>
            <a:r>
              <a:rPr kumimoji="0" lang="ko-KR" altLang="en-US" sz="1236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교부해서 사용할 수 없습니다</a:t>
            </a:r>
            <a:r>
              <a:rPr kumimoji="0" lang="en-US" altLang="ko-KR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. </a:t>
            </a:r>
            <a:r>
              <a:rPr kumimoji="0" lang="ko-KR" altLang="en-US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또한 고객용 </a:t>
            </a:r>
            <a:r>
              <a:rPr kumimoji="0" lang="ko-KR" altLang="en-US" sz="1236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자료로 재편집하여 사용하거나 제공해서는 안됩니다</a:t>
            </a:r>
            <a:r>
              <a:rPr kumimoji="0" lang="en-US" altLang="ko-KR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.</a:t>
            </a:r>
            <a:endParaRPr kumimoji="0" lang="en-US" altLang="ko-KR" sz="1236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교보서체 Regular" panose="020B0600000101010101" pitchFamily="50" charset="-127"/>
              <a:ea typeface="교보서체 Regular" panose="020B0600000101010101" pitchFamily="50" charset="-127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7923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5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" y="676"/>
            <a:ext cx="10387751" cy="7257341"/>
          </a:xfrm>
          <a:prstGeom prst="rect">
            <a:avLst/>
          </a:prstGeom>
        </p:spPr>
      </p:pic>
      <p:sp>
        <p:nvSpPr>
          <p:cNvPr id="4" name="직사각형 3"/>
          <p:cNvSpPr/>
          <p:nvPr userDrawn="1"/>
        </p:nvSpPr>
        <p:spPr>
          <a:xfrm>
            <a:off x="1" y="6959846"/>
            <a:ext cx="10383838" cy="2825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10048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        [</a:t>
            </a:r>
            <a:r>
              <a:rPr kumimoji="0" lang="ko-KR" altLang="en-US" sz="1236" b="0" i="0" u="none" strike="noStrike" kern="1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사내교육용</a:t>
            </a:r>
            <a:r>
              <a:rPr kumimoji="0" lang="en-US" altLang="ko-KR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] </a:t>
            </a:r>
            <a:r>
              <a:rPr kumimoji="0" lang="ko-KR" altLang="en-US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본 자료는 고객에게 </a:t>
            </a:r>
            <a:r>
              <a:rPr kumimoji="0" lang="ko-KR" altLang="en-US" sz="1236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제시 </a:t>
            </a:r>
            <a:r>
              <a:rPr kumimoji="0" lang="en-US" altLang="ko-KR" sz="1236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· </a:t>
            </a:r>
            <a:r>
              <a:rPr kumimoji="0" lang="ko-KR" altLang="en-US" sz="1236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교부해서 사용할 수 없습니다</a:t>
            </a:r>
            <a:r>
              <a:rPr kumimoji="0" lang="en-US" altLang="ko-KR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. </a:t>
            </a:r>
            <a:r>
              <a:rPr kumimoji="0" lang="ko-KR" altLang="en-US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또한 고객용 </a:t>
            </a:r>
            <a:r>
              <a:rPr kumimoji="0" lang="ko-KR" altLang="en-US" sz="1236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자료로 재편집하여 사용하거나 제공해서는 안됩니다</a:t>
            </a:r>
            <a:r>
              <a:rPr kumimoji="0" lang="en-US" altLang="ko-KR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.</a:t>
            </a:r>
            <a:endParaRPr kumimoji="0" lang="en-US" altLang="ko-KR" sz="1236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교보서체 Regular" panose="020B0600000101010101" pitchFamily="50" charset="-127"/>
              <a:ea typeface="교보서체 Regular" panose="020B0600000101010101" pitchFamily="50" charset="-127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3921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6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" y="676"/>
            <a:ext cx="10387751" cy="7257341"/>
          </a:xfrm>
          <a:prstGeom prst="rect">
            <a:avLst/>
          </a:prstGeom>
        </p:spPr>
      </p:pic>
      <p:sp>
        <p:nvSpPr>
          <p:cNvPr id="4" name="직사각형 3"/>
          <p:cNvSpPr/>
          <p:nvPr userDrawn="1"/>
        </p:nvSpPr>
        <p:spPr>
          <a:xfrm>
            <a:off x="1" y="6959846"/>
            <a:ext cx="10383838" cy="2825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10048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        [</a:t>
            </a:r>
            <a:r>
              <a:rPr kumimoji="0" lang="ko-KR" altLang="en-US" sz="1236" b="0" i="0" u="none" strike="noStrike" kern="1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사내교육용</a:t>
            </a:r>
            <a:r>
              <a:rPr kumimoji="0" lang="en-US" altLang="ko-KR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] </a:t>
            </a:r>
            <a:r>
              <a:rPr kumimoji="0" lang="ko-KR" altLang="en-US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본 자료는 고객에게 </a:t>
            </a:r>
            <a:r>
              <a:rPr kumimoji="0" lang="ko-KR" altLang="en-US" sz="1236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제시 </a:t>
            </a:r>
            <a:r>
              <a:rPr kumimoji="0" lang="en-US" altLang="ko-KR" sz="1236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· </a:t>
            </a:r>
            <a:r>
              <a:rPr kumimoji="0" lang="ko-KR" altLang="en-US" sz="1236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교부해서 사용할 수 없습니다</a:t>
            </a:r>
            <a:r>
              <a:rPr kumimoji="0" lang="en-US" altLang="ko-KR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. </a:t>
            </a:r>
            <a:r>
              <a:rPr kumimoji="0" lang="ko-KR" altLang="en-US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또한 고객용 </a:t>
            </a:r>
            <a:r>
              <a:rPr kumimoji="0" lang="ko-KR" altLang="en-US" sz="1236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자료로 재편집하여 사용하거나 제공해서는 안됩니다</a:t>
            </a:r>
            <a:r>
              <a:rPr kumimoji="0" lang="en-US" altLang="ko-KR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.</a:t>
            </a:r>
            <a:endParaRPr kumimoji="0" lang="en-US" altLang="ko-KR" sz="1236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교보서체 Regular" panose="020B0600000101010101" pitchFamily="50" charset="-127"/>
              <a:ea typeface="교보서체 Regular" panose="020B0600000101010101" pitchFamily="50" charset="-127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35850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7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" y="676"/>
            <a:ext cx="10387751" cy="7257341"/>
          </a:xfrm>
          <a:prstGeom prst="rect">
            <a:avLst/>
          </a:prstGeom>
        </p:spPr>
      </p:pic>
      <p:sp>
        <p:nvSpPr>
          <p:cNvPr id="4" name="직사각형 3"/>
          <p:cNvSpPr/>
          <p:nvPr userDrawn="1"/>
        </p:nvSpPr>
        <p:spPr>
          <a:xfrm>
            <a:off x="1" y="6959846"/>
            <a:ext cx="10383838" cy="2825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10048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        [</a:t>
            </a:r>
            <a:r>
              <a:rPr kumimoji="0" lang="ko-KR" altLang="en-US" sz="1236" b="0" i="0" u="none" strike="noStrike" kern="1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사내교육용</a:t>
            </a:r>
            <a:r>
              <a:rPr kumimoji="0" lang="en-US" altLang="ko-KR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] </a:t>
            </a:r>
            <a:r>
              <a:rPr kumimoji="0" lang="ko-KR" altLang="en-US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본 자료는 고객에게 </a:t>
            </a:r>
            <a:r>
              <a:rPr kumimoji="0" lang="ko-KR" altLang="en-US" sz="1236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제시 </a:t>
            </a:r>
            <a:r>
              <a:rPr kumimoji="0" lang="en-US" altLang="ko-KR" sz="1236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· </a:t>
            </a:r>
            <a:r>
              <a:rPr kumimoji="0" lang="ko-KR" altLang="en-US" sz="1236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교부해서 사용할 수 없습니다</a:t>
            </a:r>
            <a:r>
              <a:rPr kumimoji="0" lang="en-US" altLang="ko-KR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. </a:t>
            </a:r>
            <a:r>
              <a:rPr kumimoji="0" lang="ko-KR" altLang="en-US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또한 고객용 </a:t>
            </a:r>
            <a:r>
              <a:rPr kumimoji="0" lang="ko-KR" altLang="en-US" sz="1236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자료로 재편집하여 사용하거나 제공해서는 안됩니다</a:t>
            </a:r>
            <a:r>
              <a:rPr kumimoji="0" lang="en-US" altLang="ko-KR" sz="1236" b="0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Times New Roman" panose="02020603050405020304" pitchFamily="18" charset="0"/>
              </a:rPr>
              <a:t>.</a:t>
            </a:r>
            <a:endParaRPr kumimoji="0" lang="en-US" altLang="ko-KR" sz="1236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교보서체 Regular" panose="020B0600000101010101" pitchFamily="50" charset="-127"/>
              <a:ea typeface="교보서체 Regular" panose="020B0600000101010101" pitchFamily="50" charset="-127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26497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 descr="img_university_program_03.jpg"/>
          <p:cNvPicPr>
            <a:picLocks noChangeAspect="1"/>
          </p:cNvPicPr>
          <p:nvPr userDrawn="1"/>
        </p:nvPicPr>
        <p:blipFill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lum brigh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3616661"/>
            <a:ext cx="10383839" cy="3671027"/>
          </a:xfrm>
          <a:prstGeom prst="rect">
            <a:avLst/>
          </a:prstGeom>
        </p:spPr>
      </p:pic>
      <p:sp>
        <p:nvSpPr>
          <p:cNvPr id="3" name="Rectangle 5"/>
          <p:cNvSpPr>
            <a:spLocks noChangeArrowheads="1"/>
          </p:cNvSpPr>
          <p:nvPr userDrawn="1"/>
        </p:nvSpPr>
        <p:spPr bwMode="auto">
          <a:xfrm>
            <a:off x="9789199" y="7011438"/>
            <a:ext cx="577826" cy="251523"/>
          </a:xfrm>
          <a:prstGeom prst="rect">
            <a:avLst/>
          </a:prstGeom>
          <a:noFill/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lIns="87095" tIns="43549" rIns="87095" bIns="43549" anchor="ctr" anchorCtr="0"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r" defTabSz="871440">
              <a:defRPr/>
            </a:pPr>
            <a:r>
              <a:rPr lang="ko-KR" altLang="en-US" sz="1400" b="1" dirty="0">
                <a:solidFill>
                  <a:prstClr val="black"/>
                </a:solidFill>
              </a:rPr>
              <a:t> </a:t>
            </a:r>
            <a:fld id="{16B1565D-7790-4B20-9C8C-6E71895AF331}" type="slidenum">
              <a:rPr lang="ko-KR" altLang="en-US" sz="1400" b="1">
                <a:solidFill>
                  <a:prstClr val="black"/>
                </a:solidFill>
              </a:rPr>
              <a:pPr algn="r" defTabSz="871440">
                <a:defRPr/>
              </a:pPr>
              <a:t>‹#›</a:t>
            </a:fld>
            <a:endParaRPr lang="en-US" altLang="ko-KR" sz="1400" b="1" dirty="0">
              <a:solidFill>
                <a:prstClr val="black"/>
              </a:solidFill>
            </a:endParaRPr>
          </a:p>
        </p:txBody>
      </p:sp>
      <p:sp>
        <p:nvSpPr>
          <p:cNvPr id="4" name="직사각형 3"/>
          <p:cNvSpPr/>
          <p:nvPr userDrawn="1"/>
        </p:nvSpPr>
        <p:spPr>
          <a:xfrm>
            <a:off x="2" y="3"/>
            <a:ext cx="10383838" cy="37655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089" tIns="40044" rIns="80089" bIns="40044" rtlCol="0" anchor="ctr"/>
          <a:lstStyle/>
          <a:p>
            <a:pPr algn="ctr" defTabSz="913736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984" dirty="0">
              <a:solidFill>
                <a:prstClr val="white"/>
              </a:solidFill>
            </a:endParaRPr>
          </a:p>
        </p:txBody>
      </p:sp>
      <p:cxnSp>
        <p:nvCxnSpPr>
          <p:cNvPr id="7" name="직선 연결선 6"/>
          <p:cNvCxnSpPr/>
          <p:nvPr userDrawn="1"/>
        </p:nvCxnSpPr>
        <p:spPr>
          <a:xfrm flipH="1">
            <a:off x="296560" y="2246214"/>
            <a:ext cx="6380792" cy="0"/>
          </a:xfrm>
          <a:prstGeom prst="line">
            <a:avLst/>
          </a:prstGeom>
          <a:ln>
            <a:solidFill>
              <a:srgbClr val="002060"/>
            </a:solidFill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4308" y="4594303"/>
            <a:ext cx="675296" cy="1041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사용자 지정 레이아웃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텍스트 개체 틀 10"/>
          <p:cNvSpPr>
            <a:spLocks noGrp="1"/>
          </p:cNvSpPr>
          <p:nvPr>
            <p:ph type="body" sz="quarter" idx="10"/>
          </p:nvPr>
        </p:nvSpPr>
        <p:spPr>
          <a:xfrm>
            <a:off x="367762" y="428345"/>
            <a:ext cx="4824158" cy="4567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27">
                <a:solidFill>
                  <a:srgbClr val="32B432"/>
                </a:solidFill>
                <a:latin typeface="교보서체 Light" panose="020B0600000101010101" pitchFamily="50" charset="-127"/>
                <a:ea typeface="교보서체 Light" panose="020B0600000101010101" pitchFamily="50" charset="-127"/>
              </a:defRPr>
            </a:lvl1pPr>
            <a:lvl2pPr>
              <a:defRPr sz="2327">
                <a:solidFill>
                  <a:srgbClr val="32B432"/>
                </a:solidFill>
                <a:latin typeface="교보서체 Light" panose="020B0600000101010101" pitchFamily="50" charset="-127"/>
                <a:ea typeface="교보서체 Light" panose="020B0600000101010101" pitchFamily="50" charset="-127"/>
              </a:defRPr>
            </a:lvl2pPr>
            <a:lvl3pPr>
              <a:defRPr sz="2327">
                <a:solidFill>
                  <a:srgbClr val="32B432"/>
                </a:solidFill>
                <a:latin typeface="교보서체 Light" panose="020B0600000101010101" pitchFamily="50" charset="-127"/>
                <a:ea typeface="교보서체 Light" panose="020B0600000101010101" pitchFamily="50" charset="-127"/>
              </a:defRPr>
            </a:lvl3pPr>
            <a:lvl4pPr>
              <a:defRPr sz="2327">
                <a:solidFill>
                  <a:srgbClr val="32B432"/>
                </a:solidFill>
                <a:latin typeface="교보서체 Light" panose="020B0600000101010101" pitchFamily="50" charset="-127"/>
                <a:ea typeface="교보서체 Light" panose="020B0600000101010101" pitchFamily="50" charset="-127"/>
              </a:defRPr>
            </a:lvl4pPr>
            <a:lvl5pPr>
              <a:defRPr sz="2327">
                <a:solidFill>
                  <a:srgbClr val="32B432"/>
                </a:solidFill>
                <a:latin typeface="교보서체 Light" panose="020B0600000101010101" pitchFamily="50" charset="-127"/>
                <a:ea typeface="교보서체 Light" panose="020B0600000101010101" pitchFamily="50" charset="-127"/>
              </a:defRPr>
            </a:lvl5pPr>
          </a:lstStyle>
          <a:p>
            <a:pPr lvl="0"/>
            <a:endParaRPr lang="ko-KR" altLang="en-US" dirty="0"/>
          </a:p>
        </p:txBody>
      </p:sp>
      <p:sp>
        <p:nvSpPr>
          <p:cNvPr id="2" name="직사각형 1"/>
          <p:cNvSpPr/>
          <p:nvPr userDrawn="1"/>
        </p:nvSpPr>
        <p:spPr>
          <a:xfrm>
            <a:off x="8381011" y="6445920"/>
            <a:ext cx="1806906" cy="6629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048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01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" name="모서리가 둥근 직사각형 2"/>
          <p:cNvSpPr/>
          <p:nvPr userDrawn="1"/>
        </p:nvSpPr>
        <p:spPr>
          <a:xfrm>
            <a:off x="9147444" y="858012"/>
            <a:ext cx="1046382" cy="199710"/>
          </a:xfrm>
          <a:prstGeom prst="roundRect">
            <a:avLst>
              <a:gd name="adj" fmla="val 27347"/>
            </a:avLst>
          </a:prstGeom>
          <a:solidFill>
            <a:srgbClr val="32B4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10048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58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교보서체 SemiBold" panose="020B0600000101010101" pitchFamily="50" charset="-127"/>
                <a:ea typeface="교보서체 SemiBold" panose="020B0600000101010101" pitchFamily="50" charset="-127"/>
                <a:cs typeface="+mn-cs"/>
              </a:rPr>
              <a:t>사내교육용</a:t>
            </a:r>
            <a:endParaRPr kumimoji="0" lang="ko-KR" altLang="en-US" sz="105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교보서체 SemiBold" panose="020B0600000101010101" pitchFamily="50" charset="-127"/>
              <a:ea typeface="교보서체 SemiBold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37561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9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" y="688"/>
            <a:ext cx="10387751" cy="7257341"/>
          </a:xfrm>
          <a:prstGeom prst="rect">
            <a:avLst/>
          </a:prstGeom>
        </p:spPr>
      </p:pic>
      <p:sp>
        <p:nvSpPr>
          <p:cNvPr id="6" name="슬라이드 번호 개체 틀 2"/>
          <p:cNvSpPr txBox="1">
            <a:spLocks/>
          </p:cNvSpPr>
          <p:nvPr userDrawn="1"/>
        </p:nvSpPr>
        <p:spPr>
          <a:xfrm>
            <a:off x="9691481" y="6967999"/>
            <a:ext cx="631527" cy="322319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91202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0" lang="en-US" altLang="ko-KR" sz="1200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912025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  <p:sp>
        <p:nvSpPr>
          <p:cNvPr id="4" name="직사각형 3"/>
          <p:cNvSpPr/>
          <p:nvPr userDrawn="1"/>
        </p:nvSpPr>
        <p:spPr>
          <a:xfrm>
            <a:off x="9079046" y="29012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marL="0" marR="0" lvl="0" indent="0" algn="ctr" defTabSz="10048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  <p:sp>
        <p:nvSpPr>
          <p:cNvPr id="7" name="직사각형 6"/>
          <p:cNvSpPr/>
          <p:nvPr userDrawn="1"/>
        </p:nvSpPr>
        <p:spPr>
          <a:xfrm>
            <a:off x="9079046" y="349232"/>
            <a:ext cx="1277156" cy="265902"/>
          </a:xfrm>
          <a:prstGeom prst="rect">
            <a:avLst/>
          </a:prstGeom>
          <a:ln w="19050">
            <a:solidFill>
              <a:srgbClr val="FF0000"/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marL="0" marR="0" lvl="0" indent="0" algn="ctr" defTabSz="10048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슬라이드 노트 참고 </a:t>
            </a:r>
          </a:p>
        </p:txBody>
      </p:sp>
    </p:spTree>
    <p:extLst>
      <p:ext uri="{BB962C8B-B14F-4D97-AF65-F5344CB8AC3E}">
        <p14:creationId xmlns:p14="http://schemas.microsoft.com/office/powerpoint/2010/main" val="2815724111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0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" y="688"/>
            <a:ext cx="10387751" cy="7257341"/>
          </a:xfrm>
          <a:prstGeom prst="rect">
            <a:avLst/>
          </a:prstGeom>
        </p:spPr>
      </p:pic>
      <p:sp>
        <p:nvSpPr>
          <p:cNvPr id="6" name="슬라이드 번호 개체 틀 2"/>
          <p:cNvSpPr txBox="1">
            <a:spLocks/>
          </p:cNvSpPr>
          <p:nvPr userDrawn="1"/>
        </p:nvSpPr>
        <p:spPr>
          <a:xfrm>
            <a:off x="9691481" y="6967999"/>
            <a:ext cx="631527" cy="322319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91202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0" lang="en-US" altLang="ko-KR" sz="1200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912025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  <p:sp>
        <p:nvSpPr>
          <p:cNvPr id="4" name="직사각형 3"/>
          <p:cNvSpPr/>
          <p:nvPr userDrawn="1"/>
        </p:nvSpPr>
        <p:spPr>
          <a:xfrm>
            <a:off x="9079046" y="29012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marL="0" marR="0" lvl="0" indent="0" algn="ctr" defTabSz="10048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  <p:sp>
        <p:nvSpPr>
          <p:cNvPr id="7" name="직사각형 6"/>
          <p:cNvSpPr/>
          <p:nvPr userDrawn="1"/>
        </p:nvSpPr>
        <p:spPr>
          <a:xfrm>
            <a:off x="9079046" y="349232"/>
            <a:ext cx="1277156" cy="265902"/>
          </a:xfrm>
          <a:prstGeom prst="rect">
            <a:avLst/>
          </a:prstGeom>
          <a:ln w="19050">
            <a:solidFill>
              <a:srgbClr val="FF0000"/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marL="0" marR="0" lvl="0" indent="0" algn="ctr" defTabSz="10048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슬라이드 노트 참고 </a:t>
            </a:r>
          </a:p>
        </p:txBody>
      </p:sp>
    </p:spTree>
    <p:extLst>
      <p:ext uri="{BB962C8B-B14F-4D97-AF65-F5344CB8AC3E}">
        <p14:creationId xmlns:p14="http://schemas.microsoft.com/office/powerpoint/2010/main" val="18447311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k\Desktop\5.gif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10383838" cy="7254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>
          <a:xfrm>
            <a:off x="519114" y="6724652"/>
            <a:ext cx="2422525" cy="385763"/>
          </a:xfrm>
          <a:prstGeom prst="rect">
            <a:avLst/>
          </a:prstGeom>
        </p:spPr>
        <p:txBody>
          <a:bodyPr/>
          <a:lstStyle/>
          <a:p>
            <a:pPr defTabSz="907612">
              <a:defRPr/>
            </a:pPr>
            <a:endParaRPr lang="ko-KR" altLang="en-US" sz="119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>
          <a:xfrm>
            <a:off x="3548064" y="6724652"/>
            <a:ext cx="3287712" cy="385763"/>
          </a:xfrm>
          <a:prstGeom prst="rect">
            <a:avLst/>
          </a:prstGeom>
        </p:spPr>
        <p:txBody>
          <a:bodyPr/>
          <a:lstStyle/>
          <a:p>
            <a:pPr algn="ctr" defTabSz="907612">
              <a:defRPr/>
            </a:pPr>
            <a:endParaRPr lang="ko-KR" altLang="en-US" sz="119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>
          <a:xfrm>
            <a:off x="7442201" y="6724652"/>
            <a:ext cx="2422525" cy="385763"/>
          </a:xfrm>
          <a:prstGeom prst="rect">
            <a:avLst/>
          </a:prstGeom>
        </p:spPr>
        <p:txBody>
          <a:bodyPr/>
          <a:lstStyle/>
          <a:p>
            <a:pPr algn="r" defTabSz="907612">
              <a:defRPr/>
            </a:pPr>
            <a:fld id="{EE6BC638-39B7-4287-91A7-2A3DDA573295}" type="slidenum">
              <a:rPr lang="ko-KR" altLang="en-US" sz="1094" smtClean="0">
                <a:solidFill>
                  <a:prstClr val="black">
                    <a:tint val="75000"/>
                  </a:prstClr>
                </a:solidFill>
                <a:latin typeface="나눔고딕" pitchFamily="50" charset="-127"/>
                <a:ea typeface="나눔고딕" pitchFamily="50" charset="-127"/>
              </a:rPr>
              <a:pPr algn="r" defTabSz="907612">
                <a:defRPr/>
              </a:pPr>
              <a:t>‹#›</a:t>
            </a:fld>
            <a:endParaRPr lang="ko-KR" altLang="en-US" sz="1094">
              <a:solidFill>
                <a:prstClr val="black">
                  <a:tint val="75000"/>
                </a:prstClr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5911850" y="7011990"/>
            <a:ext cx="44719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412" tIns="47708" rIns="95412" bIns="47708"/>
          <a:lstStyle>
            <a:lvl1pPr defTabSz="954088">
              <a:defRPr sz="1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defTabSz="954088">
              <a:defRPr sz="1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defTabSz="954088">
              <a:defRPr sz="1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defTabSz="954088">
              <a:defRPr sz="1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defTabSz="954088">
              <a:defRPr sz="1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466975" indent="-180975" defTabSz="9540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24175" indent="-180975" defTabSz="9540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381375" indent="-180975" defTabSz="9540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38575" indent="-180975" defTabSz="9540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marL="0" marR="0" lvl="0" indent="0" algn="r" defTabSz="954088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FP </a:t>
            </a:r>
            <a:r>
              <a:rPr kumimoji="0" lang="ko-KR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교육용 자료로 고객에게 제시할 수 없습니다</a:t>
            </a:r>
            <a:endParaRPr kumimoji="0" lang="en-US" altLang="ko-KR" sz="1000" b="1" i="0" u="none" strike="noStrike" kern="120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교보서체 Bold" panose="020B0600000101010101" pitchFamily="50" charset="-127"/>
              <a:ea typeface="교보서체 Bold" panose="020B0600000101010101" pitchFamily="50" charset="-127"/>
              <a:cs typeface="+mn-cs"/>
            </a:endParaRPr>
          </a:p>
        </p:txBody>
      </p:sp>
      <p:sp>
        <p:nvSpPr>
          <p:cNvPr id="7" name="Rectangle 5"/>
          <p:cNvSpPr>
            <a:spLocks noChangeArrowheads="1"/>
          </p:cNvSpPr>
          <p:nvPr userDrawn="1"/>
        </p:nvSpPr>
        <p:spPr bwMode="auto">
          <a:xfrm>
            <a:off x="5911850" y="42865"/>
            <a:ext cx="4471988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5412" tIns="47708" rIns="95412" bIns="47708"/>
          <a:lstStyle/>
          <a:p>
            <a:pPr marL="0" marR="0" lvl="0" indent="0" algn="r" defTabSz="95471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344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FP </a:t>
            </a:r>
            <a:r>
              <a:rPr kumimoji="0" lang="ko-KR" altLang="en-US" sz="1344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교육용</a:t>
            </a:r>
            <a:endParaRPr kumimoji="0" lang="en-US" altLang="ko-KR" sz="1344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47399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및 내용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C:\Users\k\Desktop\5.gif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10383838" cy="7254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519192" y="6877047"/>
            <a:ext cx="2422896" cy="233410"/>
          </a:xfrm>
          <a:prstGeom prst="rect">
            <a:avLst/>
          </a:prstGeom>
        </p:spPr>
        <p:txBody>
          <a:bodyPr/>
          <a:lstStyle/>
          <a:p>
            <a:pPr defTabSz="907612">
              <a:defRPr/>
            </a:pPr>
            <a:endParaRPr lang="ko-KR" altLang="en-US" sz="119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547812" y="6877047"/>
            <a:ext cx="3288215" cy="233410"/>
          </a:xfrm>
          <a:prstGeom prst="rect">
            <a:avLst/>
          </a:prstGeom>
        </p:spPr>
        <p:txBody>
          <a:bodyPr/>
          <a:lstStyle/>
          <a:p>
            <a:pPr algn="ctr" defTabSz="907612">
              <a:defRPr/>
            </a:pPr>
            <a:endParaRPr lang="ko-KR" altLang="en-US" sz="119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441750" y="6877047"/>
            <a:ext cx="2422896" cy="233410"/>
          </a:xfrm>
          <a:prstGeom prst="rect">
            <a:avLst/>
          </a:prstGeom>
        </p:spPr>
        <p:txBody>
          <a:bodyPr/>
          <a:lstStyle/>
          <a:p>
            <a:pPr algn="r" defTabSz="907612">
              <a:defRPr/>
            </a:pPr>
            <a:fld id="{EE6BC638-39B7-4287-91A7-2A3DDA573295}" type="slidenum">
              <a:rPr lang="ko-KR" altLang="en-US" sz="1094" smtClean="0">
                <a:solidFill>
                  <a:prstClr val="black">
                    <a:tint val="75000"/>
                  </a:prstClr>
                </a:solidFill>
                <a:latin typeface="나눔고딕" pitchFamily="50" charset="-127"/>
                <a:ea typeface="나눔고딕" pitchFamily="50" charset="-127"/>
              </a:rPr>
              <a:pPr algn="r" defTabSz="907612">
                <a:defRPr/>
              </a:pPr>
              <a:t>‹#›</a:t>
            </a:fld>
            <a:endParaRPr lang="ko-KR" altLang="en-US" sz="1094">
              <a:solidFill>
                <a:prstClr val="black">
                  <a:tint val="75000"/>
                </a:prstClr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11" name="제목 1"/>
          <p:cNvSpPr>
            <a:spLocks noGrp="1"/>
          </p:cNvSpPr>
          <p:nvPr>
            <p:ph type="title"/>
          </p:nvPr>
        </p:nvSpPr>
        <p:spPr>
          <a:xfrm>
            <a:off x="1348657" y="96513"/>
            <a:ext cx="9035183" cy="843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778736" rtl="0" eaLnBrk="1" latinLnBrk="1" hangingPunct="1">
              <a:spcBef>
                <a:spcPct val="0"/>
              </a:spcBef>
              <a:buNone/>
              <a:defRPr lang="ko-KR" altLang="en-US" sz="2129" b="1" kern="1200" baseline="0" dirty="0">
                <a:solidFill>
                  <a:schemeClr val="bg1"/>
                </a:solidFill>
                <a:effectLst/>
                <a:latin typeface="Noto Sans" pitchFamily="34" charset="0"/>
                <a:ea typeface="맑은 고딕" pitchFamily="50" charset="-127"/>
                <a:cs typeface="+mj-cs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12" name="내용 개체 틀 2"/>
          <p:cNvSpPr>
            <a:spLocks noGrp="1"/>
          </p:cNvSpPr>
          <p:nvPr>
            <p:ph idx="1"/>
          </p:nvPr>
        </p:nvSpPr>
        <p:spPr>
          <a:xfrm>
            <a:off x="1348659" y="1494534"/>
            <a:ext cx="8806754" cy="4952529"/>
          </a:xfrm>
          <a:prstGeom prst="rect">
            <a:avLst/>
          </a:prstGeom>
        </p:spPr>
        <p:txBody>
          <a:bodyPr/>
          <a:lstStyle>
            <a:lvl1pPr algn="l">
              <a:buNone/>
              <a:defRPr sz="1703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1pPr>
            <a:lvl2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2pPr>
            <a:lvl3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3pPr>
            <a:lvl4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4pPr>
            <a:lvl5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</a:p>
        </p:txBody>
      </p:sp>
    </p:spTree>
    <p:extLst>
      <p:ext uri="{BB962C8B-B14F-4D97-AF65-F5344CB8AC3E}">
        <p14:creationId xmlns:p14="http://schemas.microsoft.com/office/powerpoint/2010/main" val="2518269594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k\Desktop\5.gif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10383838" cy="7254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348657" y="96513"/>
            <a:ext cx="9035183" cy="843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778736" rtl="0" eaLnBrk="1" latinLnBrk="1" hangingPunct="1">
              <a:spcBef>
                <a:spcPct val="0"/>
              </a:spcBef>
              <a:buNone/>
              <a:defRPr lang="ko-KR" altLang="en-US" sz="2129" b="1" kern="1200" baseline="0" dirty="0">
                <a:solidFill>
                  <a:schemeClr val="bg1"/>
                </a:solidFill>
                <a:effectLst/>
                <a:latin typeface="Noto Sans" pitchFamily="34" charset="0"/>
                <a:ea typeface="맑은 고딕" pitchFamily="50" charset="-127"/>
                <a:cs typeface="+mj-cs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>
          <a:xfrm>
            <a:off x="519114" y="6724652"/>
            <a:ext cx="2422525" cy="385763"/>
          </a:xfrm>
          <a:prstGeom prst="rect">
            <a:avLst/>
          </a:prstGeom>
        </p:spPr>
        <p:txBody>
          <a:bodyPr/>
          <a:lstStyle/>
          <a:p>
            <a:pPr defTabSz="907612">
              <a:defRPr/>
            </a:pPr>
            <a:endParaRPr lang="ko-KR" altLang="en-US" sz="119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>
          <a:xfrm>
            <a:off x="3548064" y="6724652"/>
            <a:ext cx="3287712" cy="385763"/>
          </a:xfrm>
          <a:prstGeom prst="rect">
            <a:avLst/>
          </a:prstGeom>
        </p:spPr>
        <p:txBody>
          <a:bodyPr/>
          <a:lstStyle/>
          <a:p>
            <a:pPr algn="ctr" defTabSz="907612">
              <a:defRPr/>
            </a:pPr>
            <a:endParaRPr lang="ko-KR" altLang="en-US" sz="119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>
          <a:xfrm>
            <a:off x="7442201" y="6724652"/>
            <a:ext cx="2422525" cy="385763"/>
          </a:xfrm>
          <a:prstGeom prst="rect">
            <a:avLst/>
          </a:prstGeom>
        </p:spPr>
        <p:txBody>
          <a:bodyPr/>
          <a:lstStyle/>
          <a:p>
            <a:pPr algn="r" defTabSz="907612">
              <a:defRPr/>
            </a:pPr>
            <a:fld id="{EE6BC638-39B7-4287-91A7-2A3DDA573295}" type="slidenum">
              <a:rPr lang="ko-KR" altLang="en-US" sz="1094" smtClean="0">
                <a:solidFill>
                  <a:prstClr val="black">
                    <a:tint val="75000"/>
                  </a:prstClr>
                </a:solidFill>
                <a:latin typeface="나눔고딕" pitchFamily="50" charset="-127"/>
                <a:ea typeface="나눔고딕" pitchFamily="50" charset="-127"/>
              </a:rPr>
              <a:pPr algn="r" defTabSz="907612">
                <a:defRPr/>
              </a:pPr>
              <a:t>‹#›</a:t>
            </a:fld>
            <a:endParaRPr lang="ko-KR" altLang="en-US" sz="1094">
              <a:solidFill>
                <a:prstClr val="black">
                  <a:tint val="75000"/>
                </a:prstClr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6" name="내용 개체 틀 2"/>
          <p:cNvSpPr>
            <a:spLocks noGrp="1"/>
          </p:cNvSpPr>
          <p:nvPr>
            <p:ph idx="1"/>
          </p:nvPr>
        </p:nvSpPr>
        <p:spPr>
          <a:xfrm>
            <a:off x="1348659" y="1494534"/>
            <a:ext cx="8806754" cy="4952529"/>
          </a:xfrm>
          <a:prstGeom prst="rect">
            <a:avLst/>
          </a:prstGeom>
        </p:spPr>
        <p:txBody>
          <a:bodyPr/>
          <a:lstStyle>
            <a:lvl1pPr algn="l">
              <a:buNone/>
              <a:defRPr sz="1703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1pPr>
            <a:lvl2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2pPr>
            <a:lvl3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3pPr>
            <a:lvl4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4pPr>
            <a:lvl5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</a:p>
        </p:txBody>
      </p:sp>
      <p:grpSp>
        <p:nvGrpSpPr>
          <p:cNvPr id="8" name="그룹 7"/>
          <p:cNvGrpSpPr>
            <a:grpSpLocks/>
          </p:cNvGrpSpPr>
          <p:nvPr userDrawn="1"/>
        </p:nvGrpSpPr>
        <p:grpSpPr bwMode="auto">
          <a:xfrm>
            <a:off x="8606670" y="225610"/>
            <a:ext cx="1502333" cy="370081"/>
            <a:chOff x="344488" y="540396"/>
            <a:chExt cx="2016224" cy="491053"/>
          </a:xfrm>
        </p:grpSpPr>
        <p:sp>
          <p:nvSpPr>
            <p:cNvPr id="9" name="모서리가 둥근 직사각형 8"/>
            <p:cNvSpPr/>
            <p:nvPr/>
          </p:nvSpPr>
          <p:spPr>
            <a:xfrm>
              <a:off x="344488" y="540396"/>
              <a:ext cx="2016224" cy="49105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00488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9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endParaRPr>
            </a:p>
          </p:txBody>
        </p:sp>
        <p:pic>
          <p:nvPicPr>
            <p:cNvPr id="10" name="그림 8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425" y="562168"/>
              <a:ext cx="1698349" cy="4273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43196894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k\Desktop\5.gif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10383838" cy="7254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348657" y="96513"/>
            <a:ext cx="9035183" cy="843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778736" rtl="0" eaLnBrk="1" latinLnBrk="1" hangingPunct="1">
              <a:spcBef>
                <a:spcPct val="0"/>
              </a:spcBef>
              <a:buNone/>
              <a:defRPr lang="ko-KR" altLang="en-US" sz="2129" b="1" kern="1200" baseline="0" dirty="0">
                <a:solidFill>
                  <a:schemeClr val="bg1"/>
                </a:solidFill>
                <a:effectLst/>
                <a:latin typeface="Noto Sans" pitchFamily="34" charset="0"/>
                <a:ea typeface="맑은 고딕" pitchFamily="50" charset="-127"/>
                <a:cs typeface="+mj-cs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>
          <a:xfrm>
            <a:off x="519114" y="6724652"/>
            <a:ext cx="2422525" cy="385763"/>
          </a:xfrm>
          <a:prstGeom prst="rect">
            <a:avLst/>
          </a:prstGeom>
        </p:spPr>
        <p:txBody>
          <a:bodyPr/>
          <a:lstStyle/>
          <a:p>
            <a:pPr defTabSz="907612">
              <a:defRPr/>
            </a:pPr>
            <a:endParaRPr lang="ko-KR" altLang="en-US" sz="119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>
          <a:xfrm>
            <a:off x="3548064" y="6724652"/>
            <a:ext cx="3287712" cy="385763"/>
          </a:xfrm>
          <a:prstGeom prst="rect">
            <a:avLst/>
          </a:prstGeom>
        </p:spPr>
        <p:txBody>
          <a:bodyPr/>
          <a:lstStyle/>
          <a:p>
            <a:pPr algn="ctr" defTabSz="907612">
              <a:defRPr/>
            </a:pPr>
            <a:endParaRPr lang="ko-KR" altLang="en-US" sz="119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>
          <a:xfrm>
            <a:off x="7442201" y="6724652"/>
            <a:ext cx="2422525" cy="385763"/>
          </a:xfrm>
          <a:prstGeom prst="rect">
            <a:avLst/>
          </a:prstGeom>
        </p:spPr>
        <p:txBody>
          <a:bodyPr/>
          <a:lstStyle/>
          <a:p>
            <a:pPr algn="r" defTabSz="907612">
              <a:defRPr/>
            </a:pPr>
            <a:fld id="{EE6BC638-39B7-4287-91A7-2A3DDA573295}" type="slidenum">
              <a:rPr lang="ko-KR" altLang="en-US" sz="1094" smtClean="0">
                <a:solidFill>
                  <a:prstClr val="black">
                    <a:tint val="75000"/>
                  </a:prstClr>
                </a:solidFill>
                <a:latin typeface="나눔고딕" pitchFamily="50" charset="-127"/>
                <a:ea typeface="나눔고딕" pitchFamily="50" charset="-127"/>
              </a:rPr>
              <a:pPr algn="r" defTabSz="907612">
                <a:defRPr/>
              </a:pPr>
              <a:t>‹#›</a:t>
            </a:fld>
            <a:endParaRPr lang="ko-KR" altLang="en-US" sz="1094">
              <a:solidFill>
                <a:prstClr val="black">
                  <a:tint val="75000"/>
                </a:prstClr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6" name="내용 개체 틀 2"/>
          <p:cNvSpPr>
            <a:spLocks noGrp="1"/>
          </p:cNvSpPr>
          <p:nvPr>
            <p:ph idx="1"/>
          </p:nvPr>
        </p:nvSpPr>
        <p:spPr>
          <a:xfrm>
            <a:off x="1348659" y="1494534"/>
            <a:ext cx="8806754" cy="4952529"/>
          </a:xfrm>
          <a:prstGeom prst="rect">
            <a:avLst/>
          </a:prstGeom>
        </p:spPr>
        <p:txBody>
          <a:bodyPr/>
          <a:lstStyle>
            <a:lvl1pPr algn="l">
              <a:buNone/>
              <a:defRPr sz="1703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1pPr>
            <a:lvl2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2pPr>
            <a:lvl3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3pPr>
            <a:lvl4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4pPr>
            <a:lvl5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</a:p>
        </p:txBody>
      </p:sp>
      <p:grpSp>
        <p:nvGrpSpPr>
          <p:cNvPr id="8" name="그룹 7"/>
          <p:cNvGrpSpPr>
            <a:grpSpLocks/>
          </p:cNvGrpSpPr>
          <p:nvPr userDrawn="1"/>
        </p:nvGrpSpPr>
        <p:grpSpPr bwMode="auto">
          <a:xfrm>
            <a:off x="8606670" y="225610"/>
            <a:ext cx="1502333" cy="370081"/>
            <a:chOff x="344488" y="540396"/>
            <a:chExt cx="2016224" cy="491053"/>
          </a:xfrm>
        </p:grpSpPr>
        <p:sp>
          <p:nvSpPr>
            <p:cNvPr id="9" name="모서리가 둥근 직사각형 8"/>
            <p:cNvSpPr/>
            <p:nvPr/>
          </p:nvSpPr>
          <p:spPr>
            <a:xfrm>
              <a:off x="344488" y="540396"/>
              <a:ext cx="2016224" cy="49105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00488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9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endParaRPr>
            </a:p>
          </p:txBody>
        </p:sp>
        <p:pic>
          <p:nvPicPr>
            <p:cNvPr id="10" name="그림 8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425" y="562168"/>
              <a:ext cx="1698349" cy="4273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968559484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k\Desktop\5.gif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10383838" cy="7254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348657" y="96513"/>
            <a:ext cx="9035183" cy="843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778736" rtl="0" eaLnBrk="1" latinLnBrk="1" hangingPunct="1">
              <a:spcBef>
                <a:spcPct val="0"/>
              </a:spcBef>
              <a:buNone/>
              <a:defRPr lang="ko-KR" altLang="en-US" sz="2129" b="1" kern="1200" baseline="0" dirty="0">
                <a:solidFill>
                  <a:schemeClr val="bg1"/>
                </a:solidFill>
                <a:effectLst/>
                <a:latin typeface="Noto Sans" pitchFamily="34" charset="0"/>
                <a:ea typeface="맑은 고딕" pitchFamily="50" charset="-127"/>
                <a:cs typeface="+mj-cs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>
          <a:xfrm>
            <a:off x="519114" y="6724652"/>
            <a:ext cx="2422525" cy="385763"/>
          </a:xfrm>
          <a:prstGeom prst="rect">
            <a:avLst/>
          </a:prstGeom>
        </p:spPr>
        <p:txBody>
          <a:bodyPr/>
          <a:lstStyle/>
          <a:p>
            <a:pPr defTabSz="907612">
              <a:defRPr/>
            </a:pPr>
            <a:endParaRPr lang="ko-KR" altLang="en-US" sz="119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>
          <a:xfrm>
            <a:off x="3548064" y="6724652"/>
            <a:ext cx="3287712" cy="385763"/>
          </a:xfrm>
          <a:prstGeom prst="rect">
            <a:avLst/>
          </a:prstGeom>
        </p:spPr>
        <p:txBody>
          <a:bodyPr/>
          <a:lstStyle/>
          <a:p>
            <a:pPr algn="ctr" defTabSz="907612">
              <a:defRPr/>
            </a:pPr>
            <a:endParaRPr lang="ko-KR" altLang="en-US" sz="119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>
          <a:xfrm>
            <a:off x="7442201" y="6724652"/>
            <a:ext cx="2422525" cy="385763"/>
          </a:xfrm>
          <a:prstGeom prst="rect">
            <a:avLst/>
          </a:prstGeom>
        </p:spPr>
        <p:txBody>
          <a:bodyPr/>
          <a:lstStyle/>
          <a:p>
            <a:pPr algn="r" defTabSz="907612">
              <a:defRPr/>
            </a:pPr>
            <a:fld id="{EE6BC638-39B7-4287-91A7-2A3DDA573295}" type="slidenum">
              <a:rPr lang="ko-KR" altLang="en-US" sz="1094" smtClean="0">
                <a:solidFill>
                  <a:prstClr val="black">
                    <a:tint val="75000"/>
                  </a:prstClr>
                </a:solidFill>
                <a:latin typeface="나눔고딕" pitchFamily="50" charset="-127"/>
                <a:ea typeface="나눔고딕" pitchFamily="50" charset="-127"/>
              </a:rPr>
              <a:pPr algn="r" defTabSz="907612">
                <a:defRPr/>
              </a:pPr>
              <a:t>‹#›</a:t>
            </a:fld>
            <a:endParaRPr lang="ko-KR" altLang="en-US" sz="1094">
              <a:solidFill>
                <a:prstClr val="black">
                  <a:tint val="75000"/>
                </a:prstClr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6" name="내용 개체 틀 2"/>
          <p:cNvSpPr>
            <a:spLocks noGrp="1"/>
          </p:cNvSpPr>
          <p:nvPr>
            <p:ph idx="1"/>
          </p:nvPr>
        </p:nvSpPr>
        <p:spPr>
          <a:xfrm>
            <a:off x="1348659" y="1494534"/>
            <a:ext cx="8806754" cy="4952529"/>
          </a:xfrm>
          <a:prstGeom prst="rect">
            <a:avLst/>
          </a:prstGeom>
        </p:spPr>
        <p:txBody>
          <a:bodyPr/>
          <a:lstStyle>
            <a:lvl1pPr algn="l">
              <a:buNone/>
              <a:defRPr sz="1703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1pPr>
            <a:lvl2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2pPr>
            <a:lvl3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3pPr>
            <a:lvl4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4pPr>
            <a:lvl5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</a:p>
        </p:txBody>
      </p:sp>
      <p:grpSp>
        <p:nvGrpSpPr>
          <p:cNvPr id="8" name="그룹 7"/>
          <p:cNvGrpSpPr>
            <a:grpSpLocks/>
          </p:cNvGrpSpPr>
          <p:nvPr userDrawn="1"/>
        </p:nvGrpSpPr>
        <p:grpSpPr bwMode="auto">
          <a:xfrm>
            <a:off x="8606670" y="225610"/>
            <a:ext cx="1502333" cy="370081"/>
            <a:chOff x="344488" y="540396"/>
            <a:chExt cx="2016224" cy="491053"/>
          </a:xfrm>
        </p:grpSpPr>
        <p:sp>
          <p:nvSpPr>
            <p:cNvPr id="9" name="모서리가 둥근 직사각형 8"/>
            <p:cNvSpPr/>
            <p:nvPr/>
          </p:nvSpPr>
          <p:spPr>
            <a:xfrm>
              <a:off x="344488" y="540396"/>
              <a:ext cx="2016224" cy="49105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00488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9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endParaRPr>
            </a:p>
          </p:txBody>
        </p:sp>
        <p:pic>
          <p:nvPicPr>
            <p:cNvPr id="10" name="그림 8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425" y="562168"/>
              <a:ext cx="1698349" cy="4273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744918358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k\Desktop\5.gif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10383838" cy="7254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348657" y="96513"/>
            <a:ext cx="9035183" cy="843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778736" rtl="0" eaLnBrk="1" latinLnBrk="1" hangingPunct="1">
              <a:spcBef>
                <a:spcPct val="0"/>
              </a:spcBef>
              <a:buNone/>
              <a:defRPr lang="ko-KR" altLang="en-US" sz="2129" b="1" kern="1200" baseline="0" dirty="0">
                <a:solidFill>
                  <a:schemeClr val="bg1"/>
                </a:solidFill>
                <a:effectLst/>
                <a:latin typeface="Noto Sans" pitchFamily="34" charset="0"/>
                <a:ea typeface="맑은 고딕" pitchFamily="50" charset="-127"/>
                <a:cs typeface="+mj-cs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>
          <a:xfrm>
            <a:off x="519114" y="6724652"/>
            <a:ext cx="2422525" cy="385763"/>
          </a:xfrm>
          <a:prstGeom prst="rect">
            <a:avLst/>
          </a:prstGeom>
        </p:spPr>
        <p:txBody>
          <a:bodyPr/>
          <a:lstStyle/>
          <a:p>
            <a:pPr defTabSz="907612">
              <a:defRPr/>
            </a:pPr>
            <a:endParaRPr lang="ko-KR" altLang="en-US" sz="119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>
          <a:xfrm>
            <a:off x="3548064" y="6724652"/>
            <a:ext cx="3287712" cy="385763"/>
          </a:xfrm>
          <a:prstGeom prst="rect">
            <a:avLst/>
          </a:prstGeom>
        </p:spPr>
        <p:txBody>
          <a:bodyPr/>
          <a:lstStyle/>
          <a:p>
            <a:pPr algn="ctr" defTabSz="907612">
              <a:defRPr/>
            </a:pPr>
            <a:endParaRPr lang="ko-KR" altLang="en-US" sz="119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>
          <a:xfrm>
            <a:off x="7442201" y="6724652"/>
            <a:ext cx="2422525" cy="385763"/>
          </a:xfrm>
          <a:prstGeom prst="rect">
            <a:avLst/>
          </a:prstGeom>
        </p:spPr>
        <p:txBody>
          <a:bodyPr/>
          <a:lstStyle/>
          <a:p>
            <a:pPr algn="r" defTabSz="907612">
              <a:defRPr/>
            </a:pPr>
            <a:fld id="{EE6BC638-39B7-4287-91A7-2A3DDA573295}" type="slidenum">
              <a:rPr lang="ko-KR" altLang="en-US" sz="1094" smtClean="0">
                <a:solidFill>
                  <a:prstClr val="black">
                    <a:tint val="75000"/>
                  </a:prstClr>
                </a:solidFill>
                <a:latin typeface="나눔고딕" pitchFamily="50" charset="-127"/>
                <a:ea typeface="나눔고딕" pitchFamily="50" charset="-127"/>
              </a:rPr>
              <a:pPr algn="r" defTabSz="907612">
                <a:defRPr/>
              </a:pPr>
              <a:t>‹#›</a:t>
            </a:fld>
            <a:endParaRPr lang="ko-KR" altLang="en-US" sz="1094">
              <a:solidFill>
                <a:prstClr val="black">
                  <a:tint val="75000"/>
                </a:prstClr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6" name="내용 개체 틀 2"/>
          <p:cNvSpPr>
            <a:spLocks noGrp="1"/>
          </p:cNvSpPr>
          <p:nvPr>
            <p:ph idx="1"/>
          </p:nvPr>
        </p:nvSpPr>
        <p:spPr>
          <a:xfrm>
            <a:off x="1348659" y="1494534"/>
            <a:ext cx="8806754" cy="4952529"/>
          </a:xfrm>
          <a:prstGeom prst="rect">
            <a:avLst/>
          </a:prstGeom>
        </p:spPr>
        <p:txBody>
          <a:bodyPr/>
          <a:lstStyle>
            <a:lvl1pPr algn="l">
              <a:buNone/>
              <a:defRPr sz="1703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1pPr>
            <a:lvl2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2pPr>
            <a:lvl3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3pPr>
            <a:lvl4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4pPr>
            <a:lvl5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</a:p>
        </p:txBody>
      </p:sp>
      <p:grpSp>
        <p:nvGrpSpPr>
          <p:cNvPr id="8" name="그룹 7"/>
          <p:cNvGrpSpPr>
            <a:grpSpLocks/>
          </p:cNvGrpSpPr>
          <p:nvPr userDrawn="1"/>
        </p:nvGrpSpPr>
        <p:grpSpPr bwMode="auto">
          <a:xfrm>
            <a:off x="8606670" y="225610"/>
            <a:ext cx="1502333" cy="370081"/>
            <a:chOff x="344488" y="540396"/>
            <a:chExt cx="2016224" cy="491053"/>
          </a:xfrm>
        </p:grpSpPr>
        <p:sp>
          <p:nvSpPr>
            <p:cNvPr id="9" name="모서리가 둥근 직사각형 8"/>
            <p:cNvSpPr/>
            <p:nvPr/>
          </p:nvSpPr>
          <p:spPr>
            <a:xfrm>
              <a:off x="344488" y="540396"/>
              <a:ext cx="2016224" cy="49105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00488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9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endParaRPr>
            </a:p>
          </p:txBody>
        </p:sp>
        <p:pic>
          <p:nvPicPr>
            <p:cNvPr id="10" name="그림 8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425" y="562168"/>
              <a:ext cx="1698349" cy="4273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468641409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6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k\Desktop\5.gif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10383838" cy="7254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348657" y="96513"/>
            <a:ext cx="9035183" cy="843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778736" rtl="0" eaLnBrk="1" latinLnBrk="1" hangingPunct="1">
              <a:spcBef>
                <a:spcPct val="0"/>
              </a:spcBef>
              <a:buNone/>
              <a:defRPr lang="ko-KR" altLang="en-US" sz="2129" b="1" kern="1200" baseline="0" dirty="0">
                <a:solidFill>
                  <a:schemeClr val="bg1"/>
                </a:solidFill>
                <a:effectLst/>
                <a:latin typeface="Noto Sans" pitchFamily="34" charset="0"/>
                <a:ea typeface="맑은 고딕" pitchFamily="50" charset="-127"/>
                <a:cs typeface="+mj-cs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>
          <a:xfrm>
            <a:off x="519114" y="6724652"/>
            <a:ext cx="2422525" cy="385763"/>
          </a:xfrm>
          <a:prstGeom prst="rect">
            <a:avLst/>
          </a:prstGeom>
        </p:spPr>
        <p:txBody>
          <a:bodyPr/>
          <a:lstStyle/>
          <a:p>
            <a:pPr defTabSz="907612">
              <a:defRPr/>
            </a:pPr>
            <a:endParaRPr lang="ko-KR" altLang="en-US" sz="119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>
          <a:xfrm>
            <a:off x="3548064" y="6724652"/>
            <a:ext cx="3287712" cy="385763"/>
          </a:xfrm>
          <a:prstGeom prst="rect">
            <a:avLst/>
          </a:prstGeom>
        </p:spPr>
        <p:txBody>
          <a:bodyPr/>
          <a:lstStyle/>
          <a:p>
            <a:pPr algn="ctr" defTabSz="907612">
              <a:defRPr/>
            </a:pPr>
            <a:endParaRPr lang="ko-KR" altLang="en-US" sz="119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>
          <a:xfrm>
            <a:off x="7442201" y="6724652"/>
            <a:ext cx="2422525" cy="385763"/>
          </a:xfrm>
          <a:prstGeom prst="rect">
            <a:avLst/>
          </a:prstGeom>
        </p:spPr>
        <p:txBody>
          <a:bodyPr/>
          <a:lstStyle/>
          <a:p>
            <a:pPr algn="r" defTabSz="907612">
              <a:defRPr/>
            </a:pPr>
            <a:fld id="{EE6BC638-39B7-4287-91A7-2A3DDA573295}" type="slidenum">
              <a:rPr lang="ko-KR" altLang="en-US" sz="1094" smtClean="0">
                <a:solidFill>
                  <a:prstClr val="black">
                    <a:tint val="75000"/>
                  </a:prstClr>
                </a:solidFill>
                <a:latin typeface="나눔고딕" pitchFamily="50" charset="-127"/>
                <a:ea typeface="나눔고딕" pitchFamily="50" charset="-127"/>
              </a:rPr>
              <a:pPr algn="r" defTabSz="907612">
                <a:defRPr/>
              </a:pPr>
              <a:t>‹#›</a:t>
            </a:fld>
            <a:endParaRPr lang="ko-KR" altLang="en-US" sz="1094">
              <a:solidFill>
                <a:prstClr val="black">
                  <a:tint val="75000"/>
                </a:prstClr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6" name="내용 개체 틀 2"/>
          <p:cNvSpPr>
            <a:spLocks noGrp="1"/>
          </p:cNvSpPr>
          <p:nvPr>
            <p:ph idx="1"/>
          </p:nvPr>
        </p:nvSpPr>
        <p:spPr>
          <a:xfrm>
            <a:off x="1348659" y="1494534"/>
            <a:ext cx="8806754" cy="4952529"/>
          </a:xfrm>
          <a:prstGeom prst="rect">
            <a:avLst/>
          </a:prstGeom>
        </p:spPr>
        <p:txBody>
          <a:bodyPr/>
          <a:lstStyle>
            <a:lvl1pPr algn="l">
              <a:buNone/>
              <a:defRPr sz="1703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1pPr>
            <a:lvl2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2pPr>
            <a:lvl3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3pPr>
            <a:lvl4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4pPr>
            <a:lvl5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</a:p>
        </p:txBody>
      </p:sp>
      <p:grpSp>
        <p:nvGrpSpPr>
          <p:cNvPr id="8" name="그룹 7"/>
          <p:cNvGrpSpPr>
            <a:grpSpLocks/>
          </p:cNvGrpSpPr>
          <p:nvPr userDrawn="1"/>
        </p:nvGrpSpPr>
        <p:grpSpPr bwMode="auto">
          <a:xfrm>
            <a:off x="8606670" y="225610"/>
            <a:ext cx="1502333" cy="370081"/>
            <a:chOff x="344488" y="540396"/>
            <a:chExt cx="2016224" cy="491053"/>
          </a:xfrm>
        </p:grpSpPr>
        <p:sp>
          <p:nvSpPr>
            <p:cNvPr id="9" name="모서리가 둥근 직사각형 8"/>
            <p:cNvSpPr/>
            <p:nvPr/>
          </p:nvSpPr>
          <p:spPr>
            <a:xfrm>
              <a:off x="344488" y="540396"/>
              <a:ext cx="2016224" cy="49105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00488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9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endParaRPr>
            </a:p>
          </p:txBody>
        </p:sp>
        <p:pic>
          <p:nvPicPr>
            <p:cNvPr id="10" name="그림 8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425" y="562168"/>
              <a:ext cx="1698349" cy="4273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9057694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k\Desktop\5.gif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10383838" cy="7254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348657" y="96513"/>
            <a:ext cx="9035183" cy="843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778736" rtl="0" eaLnBrk="1" latinLnBrk="1" hangingPunct="1">
              <a:spcBef>
                <a:spcPct val="0"/>
              </a:spcBef>
              <a:buNone/>
              <a:defRPr lang="ko-KR" altLang="en-US" sz="2129" b="1" kern="1200" baseline="0" dirty="0">
                <a:solidFill>
                  <a:schemeClr val="bg1"/>
                </a:solidFill>
                <a:effectLst/>
                <a:latin typeface="Noto Sans" pitchFamily="34" charset="0"/>
                <a:ea typeface="맑은 고딕" pitchFamily="50" charset="-127"/>
                <a:cs typeface="+mj-cs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>
          <a:xfrm>
            <a:off x="519114" y="6724652"/>
            <a:ext cx="2422525" cy="385763"/>
          </a:xfrm>
          <a:prstGeom prst="rect">
            <a:avLst/>
          </a:prstGeom>
        </p:spPr>
        <p:txBody>
          <a:bodyPr/>
          <a:lstStyle/>
          <a:p>
            <a:pPr defTabSz="907612">
              <a:defRPr/>
            </a:pPr>
            <a:endParaRPr lang="ko-KR" altLang="en-US" sz="119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>
          <a:xfrm>
            <a:off x="3548064" y="6724652"/>
            <a:ext cx="3287712" cy="385763"/>
          </a:xfrm>
          <a:prstGeom prst="rect">
            <a:avLst/>
          </a:prstGeom>
        </p:spPr>
        <p:txBody>
          <a:bodyPr/>
          <a:lstStyle/>
          <a:p>
            <a:pPr algn="ctr" defTabSz="907612">
              <a:defRPr/>
            </a:pPr>
            <a:endParaRPr lang="ko-KR" altLang="en-US" sz="119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>
          <a:xfrm>
            <a:off x="7442201" y="6724652"/>
            <a:ext cx="2422525" cy="385763"/>
          </a:xfrm>
          <a:prstGeom prst="rect">
            <a:avLst/>
          </a:prstGeom>
        </p:spPr>
        <p:txBody>
          <a:bodyPr/>
          <a:lstStyle/>
          <a:p>
            <a:pPr algn="r" defTabSz="907612">
              <a:defRPr/>
            </a:pPr>
            <a:fld id="{EE6BC638-39B7-4287-91A7-2A3DDA573295}" type="slidenum">
              <a:rPr lang="ko-KR" altLang="en-US" sz="1094" smtClean="0">
                <a:solidFill>
                  <a:prstClr val="black">
                    <a:tint val="75000"/>
                  </a:prstClr>
                </a:solidFill>
                <a:latin typeface="나눔고딕" pitchFamily="50" charset="-127"/>
                <a:ea typeface="나눔고딕" pitchFamily="50" charset="-127"/>
              </a:rPr>
              <a:pPr algn="r" defTabSz="907612">
                <a:defRPr/>
              </a:pPr>
              <a:t>‹#›</a:t>
            </a:fld>
            <a:endParaRPr lang="ko-KR" altLang="en-US" sz="1094">
              <a:solidFill>
                <a:prstClr val="black">
                  <a:tint val="75000"/>
                </a:prstClr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6" name="내용 개체 틀 2"/>
          <p:cNvSpPr>
            <a:spLocks noGrp="1"/>
          </p:cNvSpPr>
          <p:nvPr>
            <p:ph idx="1"/>
          </p:nvPr>
        </p:nvSpPr>
        <p:spPr>
          <a:xfrm>
            <a:off x="1348659" y="1494534"/>
            <a:ext cx="8806754" cy="4952529"/>
          </a:xfrm>
          <a:prstGeom prst="rect">
            <a:avLst/>
          </a:prstGeom>
        </p:spPr>
        <p:txBody>
          <a:bodyPr/>
          <a:lstStyle>
            <a:lvl1pPr algn="l">
              <a:buNone/>
              <a:defRPr sz="1703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1pPr>
            <a:lvl2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2pPr>
            <a:lvl3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3pPr>
            <a:lvl4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4pPr>
            <a:lvl5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</a:p>
        </p:txBody>
      </p:sp>
      <p:grpSp>
        <p:nvGrpSpPr>
          <p:cNvPr id="8" name="그룹 7"/>
          <p:cNvGrpSpPr>
            <a:grpSpLocks/>
          </p:cNvGrpSpPr>
          <p:nvPr userDrawn="1"/>
        </p:nvGrpSpPr>
        <p:grpSpPr bwMode="auto">
          <a:xfrm>
            <a:off x="8606670" y="225610"/>
            <a:ext cx="1502333" cy="370081"/>
            <a:chOff x="344488" y="540396"/>
            <a:chExt cx="2016224" cy="491053"/>
          </a:xfrm>
        </p:grpSpPr>
        <p:sp>
          <p:nvSpPr>
            <p:cNvPr id="9" name="모서리가 둥근 직사각형 8"/>
            <p:cNvSpPr/>
            <p:nvPr/>
          </p:nvSpPr>
          <p:spPr>
            <a:xfrm>
              <a:off x="344488" y="540396"/>
              <a:ext cx="2016224" cy="49105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00488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9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endParaRPr>
            </a:p>
          </p:txBody>
        </p:sp>
        <p:pic>
          <p:nvPicPr>
            <p:cNvPr id="10" name="그림 8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425" y="562168"/>
              <a:ext cx="1698349" cy="4273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547866325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k\Desktop\5.gif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10383838" cy="7254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348657" y="96513"/>
            <a:ext cx="9035183" cy="843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778736" rtl="0" eaLnBrk="1" latinLnBrk="1" hangingPunct="1">
              <a:spcBef>
                <a:spcPct val="0"/>
              </a:spcBef>
              <a:buNone/>
              <a:defRPr lang="ko-KR" altLang="en-US" sz="2129" b="1" kern="1200" baseline="0" dirty="0">
                <a:solidFill>
                  <a:schemeClr val="bg1"/>
                </a:solidFill>
                <a:effectLst/>
                <a:latin typeface="Noto Sans" pitchFamily="34" charset="0"/>
                <a:ea typeface="맑은 고딕" pitchFamily="50" charset="-127"/>
                <a:cs typeface="+mj-cs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>
          <a:xfrm>
            <a:off x="519114" y="6724652"/>
            <a:ext cx="2422525" cy="385763"/>
          </a:xfrm>
          <a:prstGeom prst="rect">
            <a:avLst/>
          </a:prstGeom>
        </p:spPr>
        <p:txBody>
          <a:bodyPr/>
          <a:lstStyle/>
          <a:p>
            <a:pPr defTabSz="907612">
              <a:defRPr/>
            </a:pPr>
            <a:endParaRPr lang="ko-KR" altLang="en-US" sz="119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>
          <a:xfrm>
            <a:off x="3548064" y="6724652"/>
            <a:ext cx="3287712" cy="385763"/>
          </a:xfrm>
          <a:prstGeom prst="rect">
            <a:avLst/>
          </a:prstGeom>
        </p:spPr>
        <p:txBody>
          <a:bodyPr/>
          <a:lstStyle/>
          <a:p>
            <a:pPr algn="ctr" defTabSz="907612">
              <a:defRPr/>
            </a:pPr>
            <a:endParaRPr lang="ko-KR" altLang="en-US" sz="119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>
          <a:xfrm>
            <a:off x="7442201" y="6724652"/>
            <a:ext cx="2422525" cy="385763"/>
          </a:xfrm>
          <a:prstGeom prst="rect">
            <a:avLst/>
          </a:prstGeom>
        </p:spPr>
        <p:txBody>
          <a:bodyPr/>
          <a:lstStyle/>
          <a:p>
            <a:pPr algn="r" defTabSz="907612">
              <a:defRPr/>
            </a:pPr>
            <a:fld id="{EE6BC638-39B7-4287-91A7-2A3DDA573295}" type="slidenum">
              <a:rPr lang="ko-KR" altLang="en-US" sz="1094" smtClean="0">
                <a:solidFill>
                  <a:prstClr val="black">
                    <a:tint val="75000"/>
                  </a:prstClr>
                </a:solidFill>
                <a:latin typeface="나눔고딕" pitchFamily="50" charset="-127"/>
                <a:ea typeface="나눔고딕" pitchFamily="50" charset="-127"/>
              </a:rPr>
              <a:pPr algn="r" defTabSz="907612">
                <a:defRPr/>
              </a:pPr>
              <a:t>‹#›</a:t>
            </a:fld>
            <a:endParaRPr lang="ko-KR" altLang="en-US" sz="1094">
              <a:solidFill>
                <a:prstClr val="black">
                  <a:tint val="75000"/>
                </a:prstClr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6" name="내용 개체 틀 2"/>
          <p:cNvSpPr>
            <a:spLocks noGrp="1"/>
          </p:cNvSpPr>
          <p:nvPr>
            <p:ph idx="1"/>
          </p:nvPr>
        </p:nvSpPr>
        <p:spPr>
          <a:xfrm>
            <a:off x="1348659" y="1494534"/>
            <a:ext cx="8806754" cy="4952529"/>
          </a:xfrm>
          <a:prstGeom prst="rect">
            <a:avLst/>
          </a:prstGeom>
        </p:spPr>
        <p:txBody>
          <a:bodyPr/>
          <a:lstStyle>
            <a:lvl1pPr algn="l">
              <a:buNone/>
              <a:defRPr sz="1703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1pPr>
            <a:lvl2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2pPr>
            <a:lvl3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3pPr>
            <a:lvl4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4pPr>
            <a:lvl5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</a:p>
        </p:txBody>
      </p:sp>
      <p:grpSp>
        <p:nvGrpSpPr>
          <p:cNvPr id="8" name="그룹 7"/>
          <p:cNvGrpSpPr>
            <a:grpSpLocks/>
          </p:cNvGrpSpPr>
          <p:nvPr userDrawn="1"/>
        </p:nvGrpSpPr>
        <p:grpSpPr bwMode="auto">
          <a:xfrm>
            <a:off x="8606670" y="225610"/>
            <a:ext cx="1502333" cy="370081"/>
            <a:chOff x="344488" y="540396"/>
            <a:chExt cx="2016224" cy="491053"/>
          </a:xfrm>
        </p:grpSpPr>
        <p:sp>
          <p:nvSpPr>
            <p:cNvPr id="9" name="모서리가 둥근 직사각형 8"/>
            <p:cNvSpPr/>
            <p:nvPr/>
          </p:nvSpPr>
          <p:spPr>
            <a:xfrm>
              <a:off x="344488" y="540396"/>
              <a:ext cx="2016224" cy="49105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00488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9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endParaRPr>
            </a:p>
          </p:txBody>
        </p:sp>
        <p:pic>
          <p:nvPicPr>
            <p:cNvPr id="10" name="그림 8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425" y="562168"/>
              <a:ext cx="1698349" cy="4273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604486395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9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k\Desktop\5.gif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10383838" cy="7254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348657" y="96513"/>
            <a:ext cx="9035183" cy="843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778736" rtl="0" eaLnBrk="1" latinLnBrk="1" hangingPunct="1">
              <a:spcBef>
                <a:spcPct val="0"/>
              </a:spcBef>
              <a:buNone/>
              <a:defRPr lang="ko-KR" altLang="en-US" sz="2129" b="1" kern="1200" baseline="0" dirty="0">
                <a:solidFill>
                  <a:schemeClr val="bg1"/>
                </a:solidFill>
                <a:effectLst/>
                <a:latin typeface="Noto Sans" pitchFamily="34" charset="0"/>
                <a:ea typeface="맑은 고딕" pitchFamily="50" charset="-127"/>
                <a:cs typeface="+mj-cs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>
          <a:xfrm>
            <a:off x="519114" y="6724652"/>
            <a:ext cx="2422525" cy="385763"/>
          </a:xfrm>
          <a:prstGeom prst="rect">
            <a:avLst/>
          </a:prstGeom>
        </p:spPr>
        <p:txBody>
          <a:bodyPr/>
          <a:lstStyle/>
          <a:p>
            <a:pPr defTabSz="907612">
              <a:defRPr/>
            </a:pPr>
            <a:endParaRPr lang="ko-KR" altLang="en-US" sz="119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>
          <a:xfrm>
            <a:off x="3548064" y="6724652"/>
            <a:ext cx="3287712" cy="385763"/>
          </a:xfrm>
          <a:prstGeom prst="rect">
            <a:avLst/>
          </a:prstGeom>
        </p:spPr>
        <p:txBody>
          <a:bodyPr/>
          <a:lstStyle/>
          <a:p>
            <a:pPr algn="ctr" defTabSz="907612">
              <a:defRPr/>
            </a:pPr>
            <a:endParaRPr lang="ko-KR" altLang="en-US" sz="119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>
          <a:xfrm>
            <a:off x="7442201" y="6724652"/>
            <a:ext cx="2422525" cy="385763"/>
          </a:xfrm>
          <a:prstGeom prst="rect">
            <a:avLst/>
          </a:prstGeom>
        </p:spPr>
        <p:txBody>
          <a:bodyPr/>
          <a:lstStyle/>
          <a:p>
            <a:pPr algn="r" defTabSz="907612">
              <a:defRPr/>
            </a:pPr>
            <a:fld id="{EE6BC638-39B7-4287-91A7-2A3DDA573295}" type="slidenum">
              <a:rPr lang="ko-KR" altLang="en-US" sz="1094" smtClean="0">
                <a:solidFill>
                  <a:prstClr val="black">
                    <a:tint val="75000"/>
                  </a:prstClr>
                </a:solidFill>
                <a:latin typeface="나눔고딕" pitchFamily="50" charset="-127"/>
                <a:ea typeface="나눔고딕" pitchFamily="50" charset="-127"/>
              </a:rPr>
              <a:pPr algn="r" defTabSz="907612">
                <a:defRPr/>
              </a:pPr>
              <a:t>‹#›</a:t>
            </a:fld>
            <a:endParaRPr lang="ko-KR" altLang="en-US" sz="1094">
              <a:solidFill>
                <a:prstClr val="black">
                  <a:tint val="75000"/>
                </a:prstClr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6" name="내용 개체 틀 2"/>
          <p:cNvSpPr>
            <a:spLocks noGrp="1"/>
          </p:cNvSpPr>
          <p:nvPr>
            <p:ph idx="1"/>
          </p:nvPr>
        </p:nvSpPr>
        <p:spPr>
          <a:xfrm>
            <a:off x="1348659" y="1494534"/>
            <a:ext cx="8806754" cy="4952529"/>
          </a:xfrm>
          <a:prstGeom prst="rect">
            <a:avLst/>
          </a:prstGeom>
        </p:spPr>
        <p:txBody>
          <a:bodyPr/>
          <a:lstStyle>
            <a:lvl1pPr algn="l">
              <a:buNone/>
              <a:defRPr sz="1703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1pPr>
            <a:lvl2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2pPr>
            <a:lvl3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3pPr>
            <a:lvl4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4pPr>
            <a:lvl5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</a:p>
        </p:txBody>
      </p:sp>
      <p:grpSp>
        <p:nvGrpSpPr>
          <p:cNvPr id="8" name="그룹 7"/>
          <p:cNvGrpSpPr>
            <a:grpSpLocks/>
          </p:cNvGrpSpPr>
          <p:nvPr userDrawn="1"/>
        </p:nvGrpSpPr>
        <p:grpSpPr bwMode="auto">
          <a:xfrm>
            <a:off x="8606670" y="225610"/>
            <a:ext cx="1502333" cy="370081"/>
            <a:chOff x="344488" y="540396"/>
            <a:chExt cx="2016224" cy="491053"/>
          </a:xfrm>
        </p:grpSpPr>
        <p:sp>
          <p:nvSpPr>
            <p:cNvPr id="9" name="모서리가 둥근 직사각형 8"/>
            <p:cNvSpPr/>
            <p:nvPr/>
          </p:nvSpPr>
          <p:spPr>
            <a:xfrm>
              <a:off x="344488" y="540396"/>
              <a:ext cx="2016224" cy="49105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00488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9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endParaRPr>
            </a:p>
          </p:txBody>
        </p:sp>
        <p:pic>
          <p:nvPicPr>
            <p:cNvPr id="10" name="그림 8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425" y="562168"/>
              <a:ext cx="1698349" cy="4273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476355401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k\Desktop\5.gif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10383838" cy="7254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348657" y="96513"/>
            <a:ext cx="9035183" cy="843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778736" rtl="0" eaLnBrk="1" latinLnBrk="1" hangingPunct="1">
              <a:spcBef>
                <a:spcPct val="0"/>
              </a:spcBef>
              <a:buNone/>
              <a:defRPr lang="ko-KR" altLang="en-US" sz="2129" b="1" kern="1200" baseline="0" dirty="0">
                <a:solidFill>
                  <a:schemeClr val="bg1"/>
                </a:solidFill>
                <a:effectLst/>
                <a:latin typeface="Noto Sans" pitchFamily="34" charset="0"/>
                <a:ea typeface="맑은 고딕" pitchFamily="50" charset="-127"/>
                <a:cs typeface="+mj-cs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>
          <a:xfrm>
            <a:off x="519114" y="6724652"/>
            <a:ext cx="2422525" cy="385763"/>
          </a:xfrm>
          <a:prstGeom prst="rect">
            <a:avLst/>
          </a:prstGeom>
        </p:spPr>
        <p:txBody>
          <a:bodyPr/>
          <a:lstStyle/>
          <a:p>
            <a:pPr defTabSz="907612">
              <a:defRPr/>
            </a:pPr>
            <a:endParaRPr lang="ko-KR" altLang="en-US" sz="119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>
          <a:xfrm>
            <a:off x="3548064" y="6724652"/>
            <a:ext cx="3287712" cy="385763"/>
          </a:xfrm>
          <a:prstGeom prst="rect">
            <a:avLst/>
          </a:prstGeom>
        </p:spPr>
        <p:txBody>
          <a:bodyPr/>
          <a:lstStyle/>
          <a:p>
            <a:pPr algn="ctr" defTabSz="907612">
              <a:defRPr/>
            </a:pPr>
            <a:endParaRPr lang="ko-KR" altLang="en-US" sz="119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>
          <a:xfrm>
            <a:off x="7442201" y="6724652"/>
            <a:ext cx="2422525" cy="385763"/>
          </a:xfrm>
          <a:prstGeom prst="rect">
            <a:avLst/>
          </a:prstGeom>
        </p:spPr>
        <p:txBody>
          <a:bodyPr/>
          <a:lstStyle/>
          <a:p>
            <a:pPr algn="r" defTabSz="907612">
              <a:defRPr/>
            </a:pPr>
            <a:fld id="{EE6BC638-39B7-4287-91A7-2A3DDA573295}" type="slidenum">
              <a:rPr lang="ko-KR" altLang="en-US" sz="1094" smtClean="0">
                <a:solidFill>
                  <a:prstClr val="black">
                    <a:tint val="75000"/>
                  </a:prstClr>
                </a:solidFill>
                <a:latin typeface="나눔고딕" pitchFamily="50" charset="-127"/>
                <a:ea typeface="나눔고딕" pitchFamily="50" charset="-127"/>
              </a:rPr>
              <a:pPr algn="r" defTabSz="907612">
                <a:defRPr/>
              </a:pPr>
              <a:t>‹#›</a:t>
            </a:fld>
            <a:endParaRPr lang="ko-KR" altLang="en-US" sz="1094">
              <a:solidFill>
                <a:prstClr val="black">
                  <a:tint val="75000"/>
                </a:prstClr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6" name="내용 개체 틀 2"/>
          <p:cNvSpPr>
            <a:spLocks noGrp="1"/>
          </p:cNvSpPr>
          <p:nvPr>
            <p:ph idx="1"/>
          </p:nvPr>
        </p:nvSpPr>
        <p:spPr>
          <a:xfrm>
            <a:off x="1348659" y="1494534"/>
            <a:ext cx="8806754" cy="4952529"/>
          </a:xfrm>
          <a:prstGeom prst="rect">
            <a:avLst/>
          </a:prstGeom>
        </p:spPr>
        <p:txBody>
          <a:bodyPr/>
          <a:lstStyle>
            <a:lvl1pPr algn="l">
              <a:buNone/>
              <a:defRPr sz="1703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1pPr>
            <a:lvl2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2pPr>
            <a:lvl3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3pPr>
            <a:lvl4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4pPr>
            <a:lvl5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</a:p>
        </p:txBody>
      </p:sp>
      <p:grpSp>
        <p:nvGrpSpPr>
          <p:cNvPr id="8" name="그룹 7"/>
          <p:cNvGrpSpPr>
            <a:grpSpLocks/>
          </p:cNvGrpSpPr>
          <p:nvPr userDrawn="1"/>
        </p:nvGrpSpPr>
        <p:grpSpPr bwMode="auto">
          <a:xfrm>
            <a:off x="8606670" y="225610"/>
            <a:ext cx="1502333" cy="370081"/>
            <a:chOff x="344488" y="540396"/>
            <a:chExt cx="2016224" cy="491053"/>
          </a:xfrm>
        </p:grpSpPr>
        <p:sp>
          <p:nvSpPr>
            <p:cNvPr id="9" name="모서리가 둥근 직사각형 8"/>
            <p:cNvSpPr/>
            <p:nvPr/>
          </p:nvSpPr>
          <p:spPr>
            <a:xfrm>
              <a:off x="344488" y="540396"/>
              <a:ext cx="2016224" cy="49105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00488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9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endParaRPr>
            </a:p>
          </p:txBody>
        </p:sp>
        <p:pic>
          <p:nvPicPr>
            <p:cNvPr id="10" name="그림 8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425" y="562168"/>
              <a:ext cx="1698349" cy="4273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809482638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1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k\Desktop\5.gif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10383838" cy="7254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348657" y="96513"/>
            <a:ext cx="9035183" cy="843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778736" rtl="0" eaLnBrk="1" latinLnBrk="1" hangingPunct="1">
              <a:spcBef>
                <a:spcPct val="0"/>
              </a:spcBef>
              <a:buNone/>
              <a:defRPr lang="ko-KR" altLang="en-US" sz="2129" b="1" kern="1200" baseline="0" dirty="0">
                <a:solidFill>
                  <a:schemeClr val="bg1"/>
                </a:solidFill>
                <a:effectLst/>
                <a:latin typeface="Noto Sans" pitchFamily="34" charset="0"/>
                <a:ea typeface="맑은 고딕" pitchFamily="50" charset="-127"/>
                <a:cs typeface="+mj-cs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>
          <a:xfrm>
            <a:off x="519114" y="6724652"/>
            <a:ext cx="2422525" cy="385763"/>
          </a:xfrm>
          <a:prstGeom prst="rect">
            <a:avLst/>
          </a:prstGeom>
        </p:spPr>
        <p:txBody>
          <a:bodyPr/>
          <a:lstStyle/>
          <a:p>
            <a:pPr defTabSz="907612">
              <a:defRPr/>
            </a:pPr>
            <a:endParaRPr lang="ko-KR" altLang="en-US" sz="119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>
          <a:xfrm>
            <a:off x="3548064" y="6724652"/>
            <a:ext cx="3287712" cy="385763"/>
          </a:xfrm>
          <a:prstGeom prst="rect">
            <a:avLst/>
          </a:prstGeom>
        </p:spPr>
        <p:txBody>
          <a:bodyPr/>
          <a:lstStyle/>
          <a:p>
            <a:pPr algn="ctr" defTabSz="907612">
              <a:defRPr/>
            </a:pPr>
            <a:endParaRPr lang="ko-KR" altLang="en-US" sz="119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>
          <a:xfrm>
            <a:off x="7442201" y="6724652"/>
            <a:ext cx="2422525" cy="385763"/>
          </a:xfrm>
          <a:prstGeom prst="rect">
            <a:avLst/>
          </a:prstGeom>
        </p:spPr>
        <p:txBody>
          <a:bodyPr/>
          <a:lstStyle/>
          <a:p>
            <a:pPr algn="r" defTabSz="907612">
              <a:defRPr/>
            </a:pPr>
            <a:fld id="{EE6BC638-39B7-4287-91A7-2A3DDA573295}" type="slidenum">
              <a:rPr lang="ko-KR" altLang="en-US" sz="1094" smtClean="0">
                <a:solidFill>
                  <a:prstClr val="black">
                    <a:tint val="75000"/>
                  </a:prstClr>
                </a:solidFill>
                <a:latin typeface="나눔고딕" pitchFamily="50" charset="-127"/>
                <a:ea typeface="나눔고딕" pitchFamily="50" charset="-127"/>
              </a:rPr>
              <a:pPr algn="r" defTabSz="907612">
                <a:defRPr/>
              </a:pPr>
              <a:t>‹#›</a:t>
            </a:fld>
            <a:endParaRPr lang="ko-KR" altLang="en-US" sz="1094">
              <a:solidFill>
                <a:prstClr val="black">
                  <a:tint val="75000"/>
                </a:prstClr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6" name="내용 개체 틀 2"/>
          <p:cNvSpPr>
            <a:spLocks noGrp="1"/>
          </p:cNvSpPr>
          <p:nvPr>
            <p:ph idx="1"/>
          </p:nvPr>
        </p:nvSpPr>
        <p:spPr>
          <a:xfrm>
            <a:off x="1348659" y="1494534"/>
            <a:ext cx="8806754" cy="4952529"/>
          </a:xfrm>
          <a:prstGeom prst="rect">
            <a:avLst/>
          </a:prstGeom>
        </p:spPr>
        <p:txBody>
          <a:bodyPr/>
          <a:lstStyle>
            <a:lvl1pPr algn="l">
              <a:buNone/>
              <a:defRPr sz="1703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1pPr>
            <a:lvl2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2pPr>
            <a:lvl3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3pPr>
            <a:lvl4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4pPr>
            <a:lvl5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</a:p>
        </p:txBody>
      </p:sp>
      <p:grpSp>
        <p:nvGrpSpPr>
          <p:cNvPr id="8" name="그룹 7"/>
          <p:cNvGrpSpPr>
            <a:grpSpLocks/>
          </p:cNvGrpSpPr>
          <p:nvPr userDrawn="1"/>
        </p:nvGrpSpPr>
        <p:grpSpPr bwMode="auto">
          <a:xfrm>
            <a:off x="8606670" y="225610"/>
            <a:ext cx="1502333" cy="370081"/>
            <a:chOff x="344488" y="540396"/>
            <a:chExt cx="2016224" cy="491053"/>
          </a:xfrm>
        </p:grpSpPr>
        <p:sp>
          <p:nvSpPr>
            <p:cNvPr id="9" name="모서리가 둥근 직사각형 8"/>
            <p:cNvSpPr/>
            <p:nvPr/>
          </p:nvSpPr>
          <p:spPr>
            <a:xfrm>
              <a:off x="344488" y="540396"/>
              <a:ext cx="2016224" cy="49105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00488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9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endParaRPr>
            </a:p>
          </p:txBody>
        </p:sp>
        <p:pic>
          <p:nvPicPr>
            <p:cNvPr id="10" name="그림 8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425" y="562168"/>
              <a:ext cx="1698349" cy="4273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12982668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2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k\Desktop\5.gif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10383838" cy="7254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348657" y="96513"/>
            <a:ext cx="9035183" cy="843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778736" rtl="0" eaLnBrk="1" latinLnBrk="1" hangingPunct="1">
              <a:spcBef>
                <a:spcPct val="0"/>
              </a:spcBef>
              <a:buNone/>
              <a:defRPr lang="ko-KR" altLang="en-US" sz="2129" b="1" kern="1200" baseline="0" dirty="0">
                <a:solidFill>
                  <a:schemeClr val="bg1"/>
                </a:solidFill>
                <a:effectLst/>
                <a:latin typeface="Noto Sans" pitchFamily="34" charset="0"/>
                <a:ea typeface="맑은 고딕" pitchFamily="50" charset="-127"/>
                <a:cs typeface="+mj-cs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>
          <a:xfrm>
            <a:off x="519114" y="6724652"/>
            <a:ext cx="2422525" cy="385763"/>
          </a:xfrm>
          <a:prstGeom prst="rect">
            <a:avLst/>
          </a:prstGeom>
        </p:spPr>
        <p:txBody>
          <a:bodyPr/>
          <a:lstStyle/>
          <a:p>
            <a:pPr defTabSz="907612">
              <a:defRPr/>
            </a:pPr>
            <a:endParaRPr lang="ko-KR" altLang="en-US" sz="119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>
          <a:xfrm>
            <a:off x="3548064" y="6724652"/>
            <a:ext cx="3287712" cy="385763"/>
          </a:xfrm>
          <a:prstGeom prst="rect">
            <a:avLst/>
          </a:prstGeom>
        </p:spPr>
        <p:txBody>
          <a:bodyPr/>
          <a:lstStyle/>
          <a:p>
            <a:pPr algn="ctr" defTabSz="907612">
              <a:defRPr/>
            </a:pPr>
            <a:endParaRPr lang="ko-KR" altLang="en-US" sz="119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>
          <a:xfrm>
            <a:off x="7442201" y="6724652"/>
            <a:ext cx="2422525" cy="385763"/>
          </a:xfrm>
          <a:prstGeom prst="rect">
            <a:avLst/>
          </a:prstGeom>
        </p:spPr>
        <p:txBody>
          <a:bodyPr/>
          <a:lstStyle/>
          <a:p>
            <a:pPr algn="r" defTabSz="907612">
              <a:defRPr/>
            </a:pPr>
            <a:fld id="{EE6BC638-39B7-4287-91A7-2A3DDA573295}" type="slidenum">
              <a:rPr lang="ko-KR" altLang="en-US" sz="1094" smtClean="0">
                <a:solidFill>
                  <a:prstClr val="black">
                    <a:tint val="75000"/>
                  </a:prstClr>
                </a:solidFill>
                <a:latin typeface="나눔고딕" pitchFamily="50" charset="-127"/>
                <a:ea typeface="나눔고딕" pitchFamily="50" charset="-127"/>
              </a:rPr>
              <a:pPr algn="r" defTabSz="907612">
                <a:defRPr/>
              </a:pPr>
              <a:t>‹#›</a:t>
            </a:fld>
            <a:endParaRPr lang="ko-KR" altLang="en-US" sz="1094">
              <a:solidFill>
                <a:prstClr val="black">
                  <a:tint val="75000"/>
                </a:prstClr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6" name="내용 개체 틀 2"/>
          <p:cNvSpPr>
            <a:spLocks noGrp="1"/>
          </p:cNvSpPr>
          <p:nvPr>
            <p:ph idx="1"/>
          </p:nvPr>
        </p:nvSpPr>
        <p:spPr>
          <a:xfrm>
            <a:off x="1348659" y="1494534"/>
            <a:ext cx="8806754" cy="4952529"/>
          </a:xfrm>
          <a:prstGeom prst="rect">
            <a:avLst/>
          </a:prstGeom>
        </p:spPr>
        <p:txBody>
          <a:bodyPr/>
          <a:lstStyle>
            <a:lvl1pPr algn="l">
              <a:buNone/>
              <a:defRPr sz="1703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1pPr>
            <a:lvl2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2pPr>
            <a:lvl3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3pPr>
            <a:lvl4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4pPr>
            <a:lvl5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</a:p>
        </p:txBody>
      </p:sp>
      <p:grpSp>
        <p:nvGrpSpPr>
          <p:cNvPr id="8" name="그룹 7"/>
          <p:cNvGrpSpPr>
            <a:grpSpLocks/>
          </p:cNvGrpSpPr>
          <p:nvPr userDrawn="1"/>
        </p:nvGrpSpPr>
        <p:grpSpPr bwMode="auto">
          <a:xfrm>
            <a:off x="8606670" y="225610"/>
            <a:ext cx="1502333" cy="370081"/>
            <a:chOff x="344488" y="540396"/>
            <a:chExt cx="2016224" cy="491053"/>
          </a:xfrm>
        </p:grpSpPr>
        <p:sp>
          <p:nvSpPr>
            <p:cNvPr id="9" name="모서리가 둥근 직사각형 8"/>
            <p:cNvSpPr/>
            <p:nvPr/>
          </p:nvSpPr>
          <p:spPr>
            <a:xfrm>
              <a:off x="344488" y="540396"/>
              <a:ext cx="2016224" cy="49105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00488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9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endParaRPr>
            </a:p>
          </p:txBody>
        </p:sp>
        <p:pic>
          <p:nvPicPr>
            <p:cNvPr id="10" name="그림 8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425" y="562168"/>
              <a:ext cx="1698349" cy="4273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241188101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3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k\Desktop\5.gif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10383838" cy="7254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348657" y="96513"/>
            <a:ext cx="9035183" cy="843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778736" rtl="0" eaLnBrk="1" latinLnBrk="1" hangingPunct="1">
              <a:spcBef>
                <a:spcPct val="0"/>
              </a:spcBef>
              <a:buNone/>
              <a:defRPr lang="ko-KR" altLang="en-US" sz="2129" b="1" kern="1200" baseline="0" dirty="0">
                <a:solidFill>
                  <a:schemeClr val="bg1"/>
                </a:solidFill>
                <a:effectLst/>
                <a:latin typeface="Noto Sans" pitchFamily="34" charset="0"/>
                <a:ea typeface="맑은 고딕" pitchFamily="50" charset="-127"/>
                <a:cs typeface="+mj-cs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>
          <a:xfrm>
            <a:off x="519114" y="6724652"/>
            <a:ext cx="2422525" cy="385763"/>
          </a:xfrm>
          <a:prstGeom prst="rect">
            <a:avLst/>
          </a:prstGeom>
        </p:spPr>
        <p:txBody>
          <a:bodyPr/>
          <a:lstStyle/>
          <a:p>
            <a:pPr defTabSz="907612">
              <a:defRPr/>
            </a:pPr>
            <a:endParaRPr lang="ko-KR" altLang="en-US" sz="119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>
          <a:xfrm>
            <a:off x="3548064" y="6724652"/>
            <a:ext cx="3287712" cy="385763"/>
          </a:xfrm>
          <a:prstGeom prst="rect">
            <a:avLst/>
          </a:prstGeom>
        </p:spPr>
        <p:txBody>
          <a:bodyPr/>
          <a:lstStyle/>
          <a:p>
            <a:pPr algn="ctr" defTabSz="907612">
              <a:defRPr/>
            </a:pPr>
            <a:endParaRPr lang="ko-KR" altLang="en-US" sz="119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>
          <a:xfrm>
            <a:off x="7442201" y="6724652"/>
            <a:ext cx="2422525" cy="385763"/>
          </a:xfrm>
          <a:prstGeom prst="rect">
            <a:avLst/>
          </a:prstGeom>
        </p:spPr>
        <p:txBody>
          <a:bodyPr/>
          <a:lstStyle/>
          <a:p>
            <a:pPr algn="r" defTabSz="907612">
              <a:defRPr/>
            </a:pPr>
            <a:fld id="{EE6BC638-39B7-4287-91A7-2A3DDA573295}" type="slidenum">
              <a:rPr lang="ko-KR" altLang="en-US" sz="1094" smtClean="0">
                <a:solidFill>
                  <a:prstClr val="black">
                    <a:tint val="75000"/>
                  </a:prstClr>
                </a:solidFill>
                <a:latin typeface="나눔고딕" pitchFamily="50" charset="-127"/>
                <a:ea typeface="나눔고딕" pitchFamily="50" charset="-127"/>
              </a:rPr>
              <a:pPr algn="r" defTabSz="907612">
                <a:defRPr/>
              </a:pPr>
              <a:t>‹#›</a:t>
            </a:fld>
            <a:endParaRPr lang="ko-KR" altLang="en-US" sz="1094">
              <a:solidFill>
                <a:prstClr val="black">
                  <a:tint val="75000"/>
                </a:prstClr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6" name="내용 개체 틀 2"/>
          <p:cNvSpPr>
            <a:spLocks noGrp="1"/>
          </p:cNvSpPr>
          <p:nvPr>
            <p:ph idx="1"/>
          </p:nvPr>
        </p:nvSpPr>
        <p:spPr>
          <a:xfrm>
            <a:off x="1348659" y="1494534"/>
            <a:ext cx="8806754" cy="4952529"/>
          </a:xfrm>
          <a:prstGeom prst="rect">
            <a:avLst/>
          </a:prstGeom>
        </p:spPr>
        <p:txBody>
          <a:bodyPr/>
          <a:lstStyle>
            <a:lvl1pPr algn="l">
              <a:buNone/>
              <a:defRPr sz="1703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1pPr>
            <a:lvl2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2pPr>
            <a:lvl3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3pPr>
            <a:lvl4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4pPr>
            <a:lvl5pPr algn="l">
              <a:buNone/>
              <a:defRPr sz="1532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</a:p>
        </p:txBody>
      </p:sp>
      <p:grpSp>
        <p:nvGrpSpPr>
          <p:cNvPr id="8" name="그룹 7"/>
          <p:cNvGrpSpPr>
            <a:grpSpLocks/>
          </p:cNvGrpSpPr>
          <p:nvPr userDrawn="1"/>
        </p:nvGrpSpPr>
        <p:grpSpPr bwMode="auto">
          <a:xfrm>
            <a:off x="8606670" y="225610"/>
            <a:ext cx="1502333" cy="370081"/>
            <a:chOff x="344488" y="540396"/>
            <a:chExt cx="2016224" cy="491053"/>
          </a:xfrm>
        </p:grpSpPr>
        <p:sp>
          <p:nvSpPr>
            <p:cNvPr id="9" name="모서리가 둥근 직사각형 8"/>
            <p:cNvSpPr/>
            <p:nvPr/>
          </p:nvSpPr>
          <p:spPr>
            <a:xfrm>
              <a:off x="344488" y="540396"/>
              <a:ext cx="2016224" cy="49105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00488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99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endParaRPr>
            </a:p>
          </p:txBody>
        </p:sp>
        <p:pic>
          <p:nvPicPr>
            <p:cNvPr id="10" name="그림 8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425" y="562168"/>
              <a:ext cx="1698349" cy="4273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671659833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4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" y="689"/>
            <a:ext cx="10387751" cy="7257341"/>
          </a:xfrm>
          <a:prstGeom prst="rect">
            <a:avLst/>
          </a:prstGeom>
        </p:spPr>
      </p:pic>
      <p:sp>
        <p:nvSpPr>
          <p:cNvPr id="6" name="슬라이드 번호 개체 틀 2"/>
          <p:cNvSpPr txBox="1">
            <a:spLocks/>
          </p:cNvSpPr>
          <p:nvPr userDrawn="1"/>
        </p:nvSpPr>
        <p:spPr>
          <a:xfrm>
            <a:off x="9691481" y="6968000"/>
            <a:ext cx="631527" cy="322319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828772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0" lang="en-US" altLang="ko-KR" sz="1090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828772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09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  <p:sp>
        <p:nvSpPr>
          <p:cNvPr id="4" name="직사각형 3"/>
          <p:cNvSpPr/>
          <p:nvPr userDrawn="1"/>
        </p:nvSpPr>
        <p:spPr>
          <a:xfrm>
            <a:off x="9079046" y="29012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2630" tIns="32630" rIns="32630" bIns="32630" anchor="ctr" anchorCtr="0">
            <a:noAutofit/>
          </a:bodyPr>
          <a:lstStyle/>
          <a:p>
            <a:pPr marL="0" marR="0" lvl="0" indent="0" algn="ctr" defTabSz="10048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0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90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90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90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90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94224256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5_사용자 지정 레이아웃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텍스트 개체 틀 10"/>
          <p:cNvSpPr>
            <a:spLocks noGrp="1"/>
          </p:cNvSpPr>
          <p:nvPr>
            <p:ph type="body" sz="quarter" idx="10"/>
          </p:nvPr>
        </p:nvSpPr>
        <p:spPr>
          <a:xfrm>
            <a:off x="367764" y="428345"/>
            <a:ext cx="4824159" cy="4567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31">
                <a:solidFill>
                  <a:srgbClr val="32B432"/>
                </a:solidFill>
                <a:latin typeface="교보서체 Light" panose="020B0600000101010101" pitchFamily="50" charset="-127"/>
                <a:ea typeface="교보서체 Light" panose="020B0600000101010101" pitchFamily="50" charset="-127"/>
              </a:defRPr>
            </a:lvl1pPr>
            <a:lvl2pPr>
              <a:defRPr sz="1231">
                <a:solidFill>
                  <a:srgbClr val="32B432"/>
                </a:solidFill>
                <a:latin typeface="교보서체 Light" panose="020B0600000101010101" pitchFamily="50" charset="-127"/>
                <a:ea typeface="교보서체 Light" panose="020B0600000101010101" pitchFamily="50" charset="-127"/>
              </a:defRPr>
            </a:lvl2pPr>
            <a:lvl3pPr>
              <a:defRPr sz="1231">
                <a:solidFill>
                  <a:srgbClr val="32B432"/>
                </a:solidFill>
                <a:latin typeface="교보서체 Light" panose="020B0600000101010101" pitchFamily="50" charset="-127"/>
                <a:ea typeface="교보서체 Light" panose="020B0600000101010101" pitchFamily="50" charset="-127"/>
              </a:defRPr>
            </a:lvl3pPr>
            <a:lvl4pPr>
              <a:defRPr sz="1231">
                <a:solidFill>
                  <a:srgbClr val="32B432"/>
                </a:solidFill>
                <a:latin typeface="교보서체 Light" panose="020B0600000101010101" pitchFamily="50" charset="-127"/>
                <a:ea typeface="교보서체 Light" panose="020B0600000101010101" pitchFamily="50" charset="-127"/>
              </a:defRPr>
            </a:lvl4pPr>
            <a:lvl5pPr>
              <a:defRPr sz="1231">
                <a:solidFill>
                  <a:srgbClr val="32B432"/>
                </a:solidFill>
                <a:latin typeface="교보서체 Light" panose="020B0600000101010101" pitchFamily="50" charset="-127"/>
                <a:ea typeface="교보서체 Light" panose="020B0600000101010101" pitchFamily="50" charset="-127"/>
              </a:defRPr>
            </a:lvl5pPr>
          </a:lstStyle>
          <a:p>
            <a:pPr lvl="0"/>
            <a:endParaRPr lang="ko-KR" altLang="en-US" dirty="0"/>
          </a:p>
        </p:txBody>
      </p:sp>
      <p:sp>
        <p:nvSpPr>
          <p:cNvPr id="2" name="직사각형 1"/>
          <p:cNvSpPr/>
          <p:nvPr userDrawn="1"/>
        </p:nvSpPr>
        <p:spPr>
          <a:xfrm>
            <a:off x="8381012" y="6445919"/>
            <a:ext cx="1806906" cy="6629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048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07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" name="모서리가 둥근 직사각형 2"/>
          <p:cNvSpPr/>
          <p:nvPr userDrawn="1"/>
        </p:nvSpPr>
        <p:spPr>
          <a:xfrm>
            <a:off x="9147446" y="858012"/>
            <a:ext cx="1046381" cy="199710"/>
          </a:xfrm>
          <a:prstGeom prst="roundRect">
            <a:avLst>
              <a:gd name="adj" fmla="val 27347"/>
            </a:avLst>
          </a:prstGeom>
          <a:solidFill>
            <a:srgbClr val="32B4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10048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56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교보서체 SemiBold" panose="020B0600000101010101" pitchFamily="50" charset="-127"/>
                <a:ea typeface="교보서체 SemiBold" panose="020B0600000101010101" pitchFamily="50" charset="-127"/>
                <a:cs typeface="+mn-cs"/>
              </a:rPr>
              <a:t>사내교육용</a:t>
            </a:r>
            <a:endParaRPr kumimoji="0" lang="ko-KR" altLang="en-US" sz="56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교보서체 SemiBold" panose="020B0600000101010101" pitchFamily="50" charset="-127"/>
              <a:ea typeface="교보서체 SemiBold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8848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6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" y="688"/>
            <a:ext cx="10387751" cy="7257341"/>
          </a:xfrm>
          <a:prstGeom prst="rect">
            <a:avLst/>
          </a:prstGeom>
        </p:spPr>
      </p:pic>
      <p:sp>
        <p:nvSpPr>
          <p:cNvPr id="6" name="슬라이드 번호 개체 틀 2"/>
          <p:cNvSpPr txBox="1">
            <a:spLocks/>
          </p:cNvSpPr>
          <p:nvPr userDrawn="1"/>
        </p:nvSpPr>
        <p:spPr>
          <a:xfrm>
            <a:off x="9691481" y="6967999"/>
            <a:ext cx="631527" cy="322319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91202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0" lang="en-US" altLang="ko-KR" sz="1200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912025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  <p:sp>
        <p:nvSpPr>
          <p:cNvPr id="4" name="직사각형 3"/>
          <p:cNvSpPr/>
          <p:nvPr userDrawn="1"/>
        </p:nvSpPr>
        <p:spPr>
          <a:xfrm>
            <a:off x="9079046" y="29012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marL="0" marR="0" lvl="0" indent="0" algn="ctr" defTabSz="10048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  <p:sp>
        <p:nvSpPr>
          <p:cNvPr id="7" name="직사각형 6"/>
          <p:cNvSpPr/>
          <p:nvPr userDrawn="1"/>
        </p:nvSpPr>
        <p:spPr>
          <a:xfrm>
            <a:off x="9079046" y="349232"/>
            <a:ext cx="1277156" cy="265902"/>
          </a:xfrm>
          <a:prstGeom prst="rect">
            <a:avLst/>
          </a:prstGeom>
          <a:ln w="19050">
            <a:solidFill>
              <a:srgbClr val="FF0000"/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marL="0" marR="0" lvl="0" indent="0" algn="ctr" defTabSz="10048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슬라이드 노트 참고 </a:t>
            </a:r>
          </a:p>
        </p:txBody>
      </p:sp>
    </p:spTree>
    <p:extLst>
      <p:ext uri="{BB962C8B-B14F-4D97-AF65-F5344CB8AC3E}">
        <p14:creationId xmlns:p14="http://schemas.microsoft.com/office/powerpoint/2010/main" val="25279489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" y="693"/>
            <a:ext cx="10387754" cy="7257341"/>
          </a:xfrm>
          <a:prstGeom prst="rect">
            <a:avLst/>
          </a:prstGeom>
        </p:spPr>
      </p:pic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6776" y="6598276"/>
            <a:ext cx="2382248" cy="4655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직사각형 5"/>
          <p:cNvSpPr/>
          <p:nvPr userDrawn="1"/>
        </p:nvSpPr>
        <p:spPr>
          <a:xfrm>
            <a:off x="9108993" y="14"/>
            <a:ext cx="1276396" cy="3815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085" tIns="40041" rIns="80085" bIns="40041" rtlCol="0" anchor="ctr"/>
          <a:lstStyle/>
          <a:p>
            <a:pPr algn="ctr" defTabSz="913977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984" dirty="0">
              <a:solidFill>
                <a:prstClr val="white"/>
              </a:solidFill>
            </a:endParaRPr>
          </a:p>
        </p:txBody>
      </p:sp>
      <p:pic>
        <p:nvPicPr>
          <p:cNvPr id="9" name="Picture 4"/>
          <p:cNvPicPr>
            <a:picLocks noChangeAspect="1" noChangeArrowheads="1"/>
          </p:cNvPicPr>
          <p:nvPr userDrawn="1"/>
        </p:nvPicPr>
        <p:blipFill>
          <a:blip r:embed="rId4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2098" y="656294"/>
            <a:ext cx="4563286" cy="2771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그림 9" descr="그림2.png"/>
          <p:cNvPicPr>
            <a:picLocks noChangeAspect="1"/>
          </p:cNvPicPr>
          <p:nvPr userDrawn="1"/>
        </p:nvPicPr>
        <p:blipFill>
          <a:blip r:embed="rId5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0719" y="449116"/>
            <a:ext cx="2531289" cy="3314937"/>
          </a:xfrm>
          <a:prstGeom prst="rect">
            <a:avLst/>
          </a:prstGeom>
        </p:spPr>
      </p:pic>
      <p:sp>
        <p:nvSpPr>
          <p:cNvPr id="11" name="직사각형 10"/>
          <p:cNvSpPr/>
          <p:nvPr userDrawn="1"/>
        </p:nvSpPr>
        <p:spPr>
          <a:xfrm>
            <a:off x="9079046" y="29012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algn="ctr"/>
            <a:r>
              <a:rPr lang="ko-KR" altLang="en-US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사내교육용</a:t>
            </a:r>
            <a:r>
              <a:rPr lang="en-US" altLang="ko-KR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(</a:t>
            </a:r>
            <a:r>
              <a:rPr lang="ko-KR" altLang="en-US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대외비</a:t>
            </a:r>
            <a:r>
              <a:rPr lang="en-US" altLang="ko-KR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)</a:t>
            </a:r>
            <a:r>
              <a:rPr lang="ko-KR" altLang="en-US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86490450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7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4919166" y="6817199"/>
            <a:ext cx="553357" cy="2696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2226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857A28-F895-4803-B0CB-C750C7786042}" type="slidenum">
              <a:rPr kumimoji="0" lang="ko-KR" altLang="en-US" sz="1152" b="0" i="0" u="none" strike="noStrike" kern="1200" cap="none" spc="0" normalizeH="0" baseline="0" noProof="0" smtClean="0">
                <a:ln>
                  <a:solidFill>
                    <a:srgbClr val="4472C4">
                      <a:lumMod val="60000"/>
                      <a:lumOff val="4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 panose="020B0604020202020204" pitchFamily="34" charset="0"/>
              </a:rPr>
              <a:pPr marL="0" marR="0" lvl="0" indent="0" algn="ctr" defTabSz="92226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152" b="0" i="0" u="none" strike="noStrike" kern="1200" cap="none" spc="0" normalizeH="0" baseline="0" noProof="0" dirty="0">
              <a:ln>
                <a:solidFill>
                  <a:srgbClr val="4472C4">
                    <a:lumMod val="60000"/>
                    <a:lumOff val="4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나눔고딕 ExtraBold" panose="020D0904000000000000" pitchFamily="50" charset="-127"/>
              <a:ea typeface="나눔고딕 ExtraBold" panose="020D0904000000000000" pitchFamily="50" charset="-127"/>
              <a:cs typeface="Arial" panose="020B0604020202020204" pitchFamily="34" charset="0"/>
            </a:endParaRPr>
          </a:p>
        </p:txBody>
      </p:sp>
      <p:pic>
        <p:nvPicPr>
          <p:cNvPr id="6" name="그림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7752" y="6669795"/>
            <a:ext cx="2149294" cy="391998"/>
          </a:xfrm>
          <a:prstGeom prst="rect">
            <a:avLst/>
          </a:prstGeom>
        </p:spPr>
      </p:pic>
      <p:cxnSp>
        <p:nvCxnSpPr>
          <p:cNvPr id="7" name="직선 연결선 6"/>
          <p:cNvCxnSpPr/>
          <p:nvPr userDrawn="1"/>
        </p:nvCxnSpPr>
        <p:spPr>
          <a:xfrm>
            <a:off x="826390" y="868087"/>
            <a:ext cx="9190506" cy="0"/>
          </a:xfrm>
          <a:prstGeom prst="line">
            <a:avLst/>
          </a:prstGeom>
          <a:ln w="25400">
            <a:solidFill>
              <a:srgbClr val="2098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그림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06233" y="449798"/>
            <a:ext cx="529877" cy="418291"/>
          </a:xfrm>
          <a:prstGeom prst="rect">
            <a:avLst/>
          </a:prstGeom>
        </p:spPr>
      </p:pic>
      <p:grpSp>
        <p:nvGrpSpPr>
          <p:cNvPr id="11" name="그룹 10">
            <a:extLst>
              <a:ext uri="{FF2B5EF4-FFF2-40B4-BE49-F238E27FC236}">
                <a16:creationId xmlns:a16="http://schemas.microsoft.com/office/drawing/2014/main" id="{46257DF8-2E73-4438-9D26-302E6098BB44}"/>
              </a:ext>
            </a:extLst>
          </p:cNvPr>
          <p:cNvGrpSpPr/>
          <p:nvPr userDrawn="1"/>
        </p:nvGrpSpPr>
        <p:grpSpPr>
          <a:xfrm>
            <a:off x="9105269" y="916772"/>
            <a:ext cx="911629" cy="254813"/>
            <a:chOff x="3124343" y="3279046"/>
            <a:chExt cx="4494108" cy="832102"/>
          </a:xfrm>
        </p:grpSpPr>
        <p:sp>
          <p:nvSpPr>
            <p:cNvPr id="12" name="사각형: 둥근 위쪽 모서리 2">
              <a:extLst>
                <a:ext uri="{FF2B5EF4-FFF2-40B4-BE49-F238E27FC236}">
                  <a16:creationId xmlns:a16="http://schemas.microsoft.com/office/drawing/2014/main" id="{1822F719-38E4-439D-85F5-677F43662299}"/>
                </a:ext>
              </a:extLst>
            </p:cNvPr>
            <p:cNvSpPr/>
            <p:nvPr/>
          </p:nvSpPr>
          <p:spPr>
            <a:xfrm rot="5400000">
              <a:off x="5045151" y="1442160"/>
              <a:ext cx="652492" cy="4494108"/>
            </a:xfrm>
            <a:prstGeom prst="round2SameRect">
              <a:avLst>
                <a:gd name="adj1" fmla="val 50000"/>
                <a:gd name="adj2" fmla="val 44213"/>
              </a:avLst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5538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2768A57-19FB-4D5F-8790-06E1A9B23289}"/>
                </a:ext>
              </a:extLst>
            </p:cNvPr>
            <p:cNvSpPr txBox="1"/>
            <p:nvPr/>
          </p:nvSpPr>
          <p:spPr>
            <a:xfrm>
              <a:off x="3556964" y="3279046"/>
              <a:ext cx="3621112" cy="83210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5538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56" b="0" i="0" u="none" strike="noStrike" kern="1200" cap="none" spc="-29" normalizeH="0" baseline="0" noProof="0" dirty="0" smtClean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나눔고딕 ExtraBold" panose="020D0904000000000000" pitchFamily="50" charset="-127"/>
                  <a:ea typeface="나눔고딕 ExtraBold" panose="020D0904000000000000" pitchFamily="50" charset="-127"/>
                  <a:cs typeface="+mn-cs"/>
                </a:rPr>
                <a:t>교육용</a:t>
              </a:r>
              <a:endParaRPr kumimoji="0" lang="ko-KR" altLang="en-US" sz="1056" b="0" i="0" u="none" strike="noStrike" kern="1200" cap="none" spc="-29" normalizeH="0" baseline="0" noProof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213772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8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4919166" y="6817199"/>
            <a:ext cx="553357" cy="2696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2226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857A28-F895-4803-B0CB-C750C7786042}" type="slidenum">
              <a:rPr kumimoji="0" lang="ko-KR" altLang="en-US" sz="1152" b="0" i="0" u="none" strike="noStrike" kern="1200" cap="none" spc="0" normalizeH="0" baseline="0" noProof="0" smtClean="0">
                <a:ln>
                  <a:solidFill>
                    <a:srgbClr val="4472C4">
                      <a:lumMod val="60000"/>
                      <a:lumOff val="4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 panose="020B0604020202020204" pitchFamily="34" charset="0"/>
              </a:rPr>
              <a:pPr marL="0" marR="0" lvl="0" indent="0" algn="ctr" defTabSz="92226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152" b="0" i="0" u="none" strike="noStrike" kern="1200" cap="none" spc="0" normalizeH="0" baseline="0" noProof="0" dirty="0">
              <a:ln>
                <a:solidFill>
                  <a:srgbClr val="4472C4">
                    <a:lumMod val="60000"/>
                    <a:lumOff val="4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나눔고딕 ExtraBold" panose="020D0904000000000000" pitchFamily="50" charset="-127"/>
              <a:ea typeface="나눔고딕 ExtraBold" panose="020D0904000000000000" pitchFamily="50" charset="-127"/>
              <a:cs typeface="Arial" panose="020B0604020202020204" pitchFamily="34" charset="0"/>
            </a:endParaRPr>
          </a:p>
        </p:txBody>
      </p:sp>
      <p:pic>
        <p:nvPicPr>
          <p:cNvPr id="6" name="그림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7752" y="6669795"/>
            <a:ext cx="2149294" cy="391998"/>
          </a:xfrm>
          <a:prstGeom prst="rect">
            <a:avLst/>
          </a:prstGeom>
        </p:spPr>
      </p:pic>
      <p:cxnSp>
        <p:nvCxnSpPr>
          <p:cNvPr id="7" name="직선 연결선 6"/>
          <p:cNvCxnSpPr/>
          <p:nvPr userDrawn="1"/>
        </p:nvCxnSpPr>
        <p:spPr>
          <a:xfrm>
            <a:off x="826390" y="868087"/>
            <a:ext cx="9190506" cy="0"/>
          </a:xfrm>
          <a:prstGeom prst="line">
            <a:avLst/>
          </a:prstGeom>
          <a:ln w="25400">
            <a:solidFill>
              <a:srgbClr val="2098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그림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06233" y="449798"/>
            <a:ext cx="529877" cy="418291"/>
          </a:xfrm>
          <a:prstGeom prst="rect">
            <a:avLst/>
          </a:prstGeom>
        </p:spPr>
      </p:pic>
      <p:grpSp>
        <p:nvGrpSpPr>
          <p:cNvPr id="11" name="그룹 10">
            <a:extLst>
              <a:ext uri="{FF2B5EF4-FFF2-40B4-BE49-F238E27FC236}">
                <a16:creationId xmlns:a16="http://schemas.microsoft.com/office/drawing/2014/main" id="{46257DF8-2E73-4438-9D26-302E6098BB44}"/>
              </a:ext>
            </a:extLst>
          </p:cNvPr>
          <p:cNvGrpSpPr/>
          <p:nvPr userDrawn="1"/>
        </p:nvGrpSpPr>
        <p:grpSpPr>
          <a:xfrm>
            <a:off x="9105269" y="916772"/>
            <a:ext cx="911629" cy="254813"/>
            <a:chOff x="3124343" y="3279046"/>
            <a:chExt cx="4494108" cy="832102"/>
          </a:xfrm>
        </p:grpSpPr>
        <p:sp>
          <p:nvSpPr>
            <p:cNvPr id="12" name="사각형: 둥근 위쪽 모서리 2">
              <a:extLst>
                <a:ext uri="{FF2B5EF4-FFF2-40B4-BE49-F238E27FC236}">
                  <a16:creationId xmlns:a16="http://schemas.microsoft.com/office/drawing/2014/main" id="{1822F719-38E4-439D-85F5-677F43662299}"/>
                </a:ext>
              </a:extLst>
            </p:cNvPr>
            <p:cNvSpPr/>
            <p:nvPr/>
          </p:nvSpPr>
          <p:spPr>
            <a:xfrm rot="5400000">
              <a:off x="5045151" y="1442160"/>
              <a:ext cx="652492" cy="4494108"/>
            </a:xfrm>
            <a:prstGeom prst="round2SameRect">
              <a:avLst>
                <a:gd name="adj1" fmla="val 50000"/>
                <a:gd name="adj2" fmla="val 44213"/>
              </a:avLst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5538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2768A57-19FB-4D5F-8790-06E1A9B23289}"/>
                </a:ext>
              </a:extLst>
            </p:cNvPr>
            <p:cNvSpPr txBox="1"/>
            <p:nvPr/>
          </p:nvSpPr>
          <p:spPr>
            <a:xfrm>
              <a:off x="3556964" y="3279046"/>
              <a:ext cx="3621112" cy="83210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5538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56" b="0" i="0" u="none" strike="noStrike" kern="1200" cap="none" spc="-29" normalizeH="0" baseline="0" noProof="0" dirty="0" smtClean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나눔고딕 ExtraBold" panose="020D0904000000000000" pitchFamily="50" charset="-127"/>
                  <a:ea typeface="나눔고딕 ExtraBold" panose="020D0904000000000000" pitchFamily="50" charset="-127"/>
                  <a:cs typeface="+mn-cs"/>
                </a:rPr>
                <a:t>교육용</a:t>
              </a:r>
              <a:endParaRPr kumimoji="0" lang="ko-KR" altLang="en-US" sz="1056" b="0" i="0" u="none" strike="noStrike" kern="1200" cap="none" spc="-29" normalizeH="0" baseline="0" noProof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96376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9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681AC72-F9FD-45E0-9AF8-FD19DA013F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4839" y="199563"/>
            <a:ext cx="8955831" cy="457050"/>
          </a:xfrm>
          <a:prstGeom prst="rect">
            <a:avLst/>
          </a:prstGeom>
        </p:spPr>
        <p:txBody>
          <a:bodyPr/>
          <a:lstStyle>
            <a:lvl1pPr algn="l">
              <a:defRPr sz="2516" b="1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259766451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0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id="{6681AC72-F9FD-45E0-9AF8-FD19DA013F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4839" y="199563"/>
            <a:ext cx="8955831" cy="457050"/>
          </a:xfrm>
          <a:prstGeom prst="rect">
            <a:avLst/>
          </a:prstGeom>
        </p:spPr>
        <p:txBody>
          <a:bodyPr/>
          <a:lstStyle>
            <a:lvl1pPr algn="l">
              <a:defRPr sz="2516" b="1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1570093017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4919166" y="6817199"/>
            <a:ext cx="553357" cy="2696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2226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857A28-F895-4803-B0CB-C750C7786042}" type="slidenum">
              <a:rPr kumimoji="0" lang="ko-KR" altLang="en-US" sz="1152" b="0" i="0" u="none" strike="noStrike" kern="1200" cap="none" spc="0" normalizeH="0" baseline="0" noProof="0" smtClean="0">
                <a:ln>
                  <a:solidFill>
                    <a:srgbClr val="4472C4">
                      <a:lumMod val="60000"/>
                      <a:lumOff val="4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 panose="020B0604020202020204" pitchFamily="34" charset="0"/>
              </a:rPr>
              <a:pPr marL="0" marR="0" lvl="0" indent="0" algn="ctr" defTabSz="92226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152" b="0" i="0" u="none" strike="noStrike" kern="1200" cap="none" spc="0" normalizeH="0" baseline="0" noProof="0" dirty="0">
              <a:ln>
                <a:solidFill>
                  <a:srgbClr val="4472C4">
                    <a:lumMod val="60000"/>
                    <a:lumOff val="4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나눔고딕 ExtraBold" panose="020D0904000000000000" pitchFamily="50" charset="-127"/>
              <a:ea typeface="나눔고딕 ExtraBold" panose="020D0904000000000000" pitchFamily="50" charset="-127"/>
              <a:cs typeface="Arial" panose="020B0604020202020204" pitchFamily="34" charset="0"/>
            </a:endParaRPr>
          </a:p>
        </p:txBody>
      </p:sp>
      <p:pic>
        <p:nvPicPr>
          <p:cNvPr id="6" name="그림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7752" y="6669795"/>
            <a:ext cx="2149294" cy="391998"/>
          </a:xfrm>
          <a:prstGeom prst="rect">
            <a:avLst/>
          </a:prstGeom>
        </p:spPr>
      </p:pic>
      <p:cxnSp>
        <p:nvCxnSpPr>
          <p:cNvPr id="7" name="직선 연결선 6"/>
          <p:cNvCxnSpPr/>
          <p:nvPr userDrawn="1"/>
        </p:nvCxnSpPr>
        <p:spPr>
          <a:xfrm>
            <a:off x="826390" y="868087"/>
            <a:ext cx="9190506" cy="0"/>
          </a:xfrm>
          <a:prstGeom prst="line">
            <a:avLst/>
          </a:prstGeom>
          <a:ln w="25400">
            <a:solidFill>
              <a:srgbClr val="2098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그림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06233" y="449798"/>
            <a:ext cx="529877" cy="418291"/>
          </a:xfrm>
          <a:prstGeom prst="rect">
            <a:avLst/>
          </a:prstGeom>
        </p:spPr>
      </p:pic>
      <p:grpSp>
        <p:nvGrpSpPr>
          <p:cNvPr id="11" name="그룹 10">
            <a:extLst>
              <a:ext uri="{FF2B5EF4-FFF2-40B4-BE49-F238E27FC236}">
                <a16:creationId xmlns:a16="http://schemas.microsoft.com/office/drawing/2014/main" id="{46257DF8-2E73-4438-9D26-302E6098BB44}"/>
              </a:ext>
            </a:extLst>
          </p:cNvPr>
          <p:cNvGrpSpPr/>
          <p:nvPr userDrawn="1"/>
        </p:nvGrpSpPr>
        <p:grpSpPr>
          <a:xfrm>
            <a:off x="9105269" y="916772"/>
            <a:ext cx="911629" cy="254813"/>
            <a:chOff x="3124343" y="3279046"/>
            <a:chExt cx="4494108" cy="832102"/>
          </a:xfrm>
        </p:grpSpPr>
        <p:sp>
          <p:nvSpPr>
            <p:cNvPr id="12" name="사각형: 둥근 위쪽 모서리 2">
              <a:extLst>
                <a:ext uri="{FF2B5EF4-FFF2-40B4-BE49-F238E27FC236}">
                  <a16:creationId xmlns:a16="http://schemas.microsoft.com/office/drawing/2014/main" id="{1822F719-38E4-439D-85F5-677F43662299}"/>
                </a:ext>
              </a:extLst>
            </p:cNvPr>
            <p:cNvSpPr/>
            <p:nvPr/>
          </p:nvSpPr>
          <p:spPr>
            <a:xfrm rot="5400000">
              <a:off x="5045151" y="1442160"/>
              <a:ext cx="652492" cy="4494108"/>
            </a:xfrm>
            <a:prstGeom prst="round2SameRect">
              <a:avLst>
                <a:gd name="adj1" fmla="val 50000"/>
                <a:gd name="adj2" fmla="val 44213"/>
              </a:avLst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5538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2768A57-19FB-4D5F-8790-06E1A9B23289}"/>
                </a:ext>
              </a:extLst>
            </p:cNvPr>
            <p:cNvSpPr txBox="1"/>
            <p:nvPr/>
          </p:nvSpPr>
          <p:spPr>
            <a:xfrm>
              <a:off x="3556964" y="3279046"/>
              <a:ext cx="3621112" cy="83210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5538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56" b="0" i="0" u="none" strike="noStrike" kern="1200" cap="none" spc="-29" normalizeH="0" baseline="0" noProof="0" dirty="0" smtClean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나눔고딕 ExtraBold" panose="020D0904000000000000" pitchFamily="50" charset="-127"/>
                  <a:ea typeface="나눔고딕 ExtraBold" panose="020D0904000000000000" pitchFamily="50" charset="-127"/>
                  <a:cs typeface="+mn-cs"/>
                </a:rPr>
                <a:t>교육용</a:t>
              </a:r>
              <a:endParaRPr kumimoji="0" lang="ko-KR" altLang="en-US" sz="1056" b="0" i="0" u="none" strike="noStrike" kern="1200" cap="none" spc="-29" normalizeH="0" baseline="0" noProof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959607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2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4919166" y="6817199"/>
            <a:ext cx="553357" cy="2696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2226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857A28-F895-4803-B0CB-C750C7786042}" type="slidenum">
              <a:rPr kumimoji="0" lang="ko-KR" altLang="en-US" sz="1152" b="0" i="0" u="none" strike="noStrike" kern="1200" cap="none" spc="0" normalizeH="0" baseline="0" noProof="0" smtClean="0">
                <a:ln>
                  <a:solidFill>
                    <a:srgbClr val="4472C4">
                      <a:lumMod val="60000"/>
                      <a:lumOff val="4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 panose="020B0604020202020204" pitchFamily="34" charset="0"/>
              </a:rPr>
              <a:pPr marL="0" marR="0" lvl="0" indent="0" algn="ctr" defTabSz="92226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152" b="0" i="0" u="none" strike="noStrike" kern="1200" cap="none" spc="0" normalizeH="0" baseline="0" noProof="0" dirty="0">
              <a:ln>
                <a:solidFill>
                  <a:srgbClr val="4472C4">
                    <a:lumMod val="60000"/>
                    <a:lumOff val="4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나눔고딕 ExtraBold" panose="020D0904000000000000" pitchFamily="50" charset="-127"/>
              <a:ea typeface="나눔고딕 ExtraBold" panose="020D0904000000000000" pitchFamily="50" charset="-127"/>
              <a:cs typeface="Arial" panose="020B0604020202020204" pitchFamily="34" charset="0"/>
            </a:endParaRPr>
          </a:p>
        </p:txBody>
      </p:sp>
      <p:pic>
        <p:nvPicPr>
          <p:cNvPr id="6" name="그림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7752" y="6669795"/>
            <a:ext cx="2149294" cy="391998"/>
          </a:xfrm>
          <a:prstGeom prst="rect">
            <a:avLst/>
          </a:prstGeom>
        </p:spPr>
      </p:pic>
      <p:cxnSp>
        <p:nvCxnSpPr>
          <p:cNvPr id="7" name="직선 연결선 6"/>
          <p:cNvCxnSpPr/>
          <p:nvPr userDrawn="1"/>
        </p:nvCxnSpPr>
        <p:spPr>
          <a:xfrm>
            <a:off x="826390" y="868087"/>
            <a:ext cx="9190506" cy="0"/>
          </a:xfrm>
          <a:prstGeom prst="line">
            <a:avLst/>
          </a:prstGeom>
          <a:ln w="25400">
            <a:solidFill>
              <a:srgbClr val="2098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그림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06233" y="449798"/>
            <a:ext cx="529877" cy="418291"/>
          </a:xfrm>
          <a:prstGeom prst="rect">
            <a:avLst/>
          </a:prstGeom>
        </p:spPr>
      </p:pic>
      <p:grpSp>
        <p:nvGrpSpPr>
          <p:cNvPr id="11" name="그룹 10">
            <a:extLst>
              <a:ext uri="{FF2B5EF4-FFF2-40B4-BE49-F238E27FC236}">
                <a16:creationId xmlns:a16="http://schemas.microsoft.com/office/drawing/2014/main" id="{46257DF8-2E73-4438-9D26-302E6098BB44}"/>
              </a:ext>
            </a:extLst>
          </p:cNvPr>
          <p:cNvGrpSpPr/>
          <p:nvPr userDrawn="1"/>
        </p:nvGrpSpPr>
        <p:grpSpPr>
          <a:xfrm>
            <a:off x="9105269" y="916772"/>
            <a:ext cx="911629" cy="254813"/>
            <a:chOff x="3124343" y="3279046"/>
            <a:chExt cx="4494108" cy="832102"/>
          </a:xfrm>
        </p:grpSpPr>
        <p:sp>
          <p:nvSpPr>
            <p:cNvPr id="12" name="사각형: 둥근 위쪽 모서리 2">
              <a:extLst>
                <a:ext uri="{FF2B5EF4-FFF2-40B4-BE49-F238E27FC236}">
                  <a16:creationId xmlns:a16="http://schemas.microsoft.com/office/drawing/2014/main" id="{1822F719-38E4-439D-85F5-677F43662299}"/>
                </a:ext>
              </a:extLst>
            </p:cNvPr>
            <p:cNvSpPr/>
            <p:nvPr/>
          </p:nvSpPr>
          <p:spPr>
            <a:xfrm rot="5400000">
              <a:off x="5045151" y="1442160"/>
              <a:ext cx="652492" cy="4494108"/>
            </a:xfrm>
            <a:prstGeom prst="round2SameRect">
              <a:avLst>
                <a:gd name="adj1" fmla="val 50000"/>
                <a:gd name="adj2" fmla="val 44213"/>
              </a:avLst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5538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2768A57-19FB-4D5F-8790-06E1A9B23289}"/>
                </a:ext>
              </a:extLst>
            </p:cNvPr>
            <p:cNvSpPr txBox="1"/>
            <p:nvPr/>
          </p:nvSpPr>
          <p:spPr>
            <a:xfrm>
              <a:off x="3556964" y="3279046"/>
              <a:ext cx="3621112" cy="83210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5538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56" b="0" i="0" u="none" strike="noStrike" kern="1200" cap="none" spc="-29" normalizeH="0" baseline="0" noProof="0" dirty="0" smtClean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나눔고딕 ExtraBold" panose="020D0904000000000000" pitchFamily="50" charset="-127"/>
                  <a:ea typeface="나눔고딕 ExtraBold" panose="020D0904000000000000" pitchFamily="50" charset="-127"/>
                  <a:cs typeface="+mn-cs"/>
                </a:rPr>
                <a:t>교육용</a:t>
              </a:r>
              <a:endParaRPr kumimoji="0" lang="ko-KR" altLang="en-US" sz="1056" b="0" i="0" u="none" strike="noStrike" kern="1200" cap="none" spc="-29" normalizeH="0" baseline="0" noProof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62214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3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4919166" y="6817199"/>
            <a:ext cx="553357" cy="2696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2226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857A28-F895-4803-B0CB-C750C7786042}" type="slidenum">
              <a:rPr kumimoji="0" lang="ko-KR" altLang="en-US" sz="1152" b="0" i="0" u="none" strike="noStrike" kern="1200" cap="none" spc="0" normalizeH="0" baseline="0" noProof="0" smtClean="0">
                <a:ln>
                  <a:solidFill>
                    <a:srgbClr val="4472C4">
                      <a:lumMod val="60000"/>
                      <a:lumOff val="4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 panose="020B0604020202020204" pitchFamily="34" charset="0"/>
              </a:rPr>
              <a:pPr marL="0" marR="0" lvl="0" indent="0" algn="ctr" defTabSz="92226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152" b="0" i="0" u="none" strike="noStrike" kern="1200" cap="none" spc="0" normalizeH="0" baseline="0" noProof="0" dirty="0">
              <a:ln>
                <a:solidFill>
                  <a:srgbClr val="4472C4">
                    <a:lumMod val="60000"/>
                    <a:lumOff val="4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나눔고딕 ExtraBold" panose="020D0904000000000000" pitchFamily="50" charset="-127"/>
              <a:ea typeface="나눔고딕 ExtraBold" panose="020D0904000000000000" pitchFamily="50" charset="-127"/>
              <a:cs typeface="Arial" panose="020B0604020202020204" pitchFamily="34" charset="0"/>
            </a:endParaRPr>
          </a:p>
        </p:txBody>
      </p:sp>
      <p:pic>
        <p:nvPicPr>
          <p:cNvPr id="6" name="그림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7752" y="6669795"/>
            <a:ext cx="2149294" cy="391998"/>
          </a:xfrm>
          <a:prstGeom prst="rect">
            <a:avLst/>
          </a:prstGeom>
        </p:spPr>
      </p:pic>
      <p:cxnSp>
        <p:nvCxnSpPr>
          <p:cNvPr id="7" name="직선 연결선 6"/>
          <p:cNvCxnSpPr/>
          <p:nvPr userDrawn="1"/>
        </p:nvCxnSpPr>
        <p:spPr>
          <a:xfrm>
            <a:off x="826390" y="868087"/>
            <a:ext cx="9190506" cy="0"/>
          </a:xfrm>
          <a:prstGeom prst="line">
            <a:avLst/>
          </a:prstGeom>
          <a:ln w="25400">
            <a:solidFill>
              <a:srgbClr val="2098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그림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06233" y="449798"/>
            <a:ext cx="529877" cy="418291"/>
          </a:xfrm>
          <a:prstGeom prst="rect">
            <a:avLst/>
          </a:prstGeom>
        </p:spPr>
      </p:pic>
      <p:grpSp>
        <p:nvGrpSpPr>
          <p:cNvPr id="11" name="그룹 10">
            <a:extLst>
              <a:ext uri="{FF2B5EF4-FFF2-40B4-BE49-F238E27FC236}">
                <a16:creationId xmlns:a16="http://schemas.microsoft.com/office/drawing/2014/main" id="{46257DF8-2E73-4438-9D26-302E6098BB44}"/>
              </a:ext>
            </a:extLst>
          </p:cNvPr>
          <p:cNvGrpSpPr/>
          <p:nvPr userDrawn="1"/>
        </p:nvGrpSpPr>
        <p:grpSpPr>
          <a:xfrm>
            <a:off x="9105269" y="916772"/>
            <a:ext cx="911629" cy="254813"/>
            <a:chOff x="3124343" y="3279046"/>
            <a:chExt cx="4494108" cy="832102"/>
          </a:xfrm>
        </p:grpSpPr>
        <p:sp>
          <p:nvSpPr>
            <p:cNvPr id="12" name="사각형: 둥근 위쪽 모서리 2">
              <a:extLst>
                <a:ext uri="{FF2B5EF4-FFF2-40B4-BE49-F238E27FC236}">
                  <a16:creationId xmlns:a16="http://schemas.microsoft.com/office/drawing/2014/main" id="{1822F719-38E4-439D-85F5-677F43662299}"/>
                </a:ext>
              </a:extLst>
            </p:cNvPr>
            <p:cNvSpPr/>
            <p:nvPr/>
          </p:nvSpPr>
          <p:spPr>
            <a:xfrm rot="5400000">
              <a:off x="5045151" y="1442160"/>
              <a:ext cx="652492" cy="4494108"/>
            </a:xfrm>
            <a:prstGeom prst="round2SameRect">
              <a:avLst>
                <a:gd name="adj1" fmla="val 50000"/>
                <a:gd name="adj2" fmla="val 44213"/>
              </a:avLst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5538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2768A57-19FB-4D5F-8790-06E1A9B23289}"/>
                </a:ext>
              </a:extLst>
            </p:cNvPr>
            <p:cNvSpPr txBox="1"/>
            <p:nvPr/>
          </p:nvSpPr>
          <p:spPr>
            <a:xfrm>
              <a:off x="3556964" y="3279046"/>
              <a:ext cx="3621112" cy="83210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5538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56" b="0" i="0" u="none" strike="noStrike" kern="1200" cap="none" spc="-29" normalizeH="0" baseline="0" noProof="0" dirty="0" smtClean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나눔고딕 ExtraBold" panose="020D0904000000000000" pitchFamily="50" charset="-127"/>
                  <a:ea typeface="나눔고딕 ExtraBold" panose="020D0904000000000000" pitchFamily="50" charset="-127"/>
                  <a:cs typeface="+mn-cs"/>
                </a:rPr>
                <a:t>교육용</a:t>
              </a:r>
              <a:endParaRPr kumimoji="0" lang="ko-KR" altLang="en-US" sz="1056" b="0" i="0" u="none" strike="noStrike" kern="1200" cap="none" spc="-29" normalizeH="0" baseline="0" noProof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3106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4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4919166" y="6817199"/>
            <a:ext cx="553357" cy="2696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2226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857A28-F895-4803-B0CB-C750C7786042}" type="slidenum">
              <a:rPr kumimoji="0" lang="ko-KR" altLang="en-US" sz="1152" b="0" i="0" u="none" strike="noStrike" kern="1200" cap="none" spc="0" normalizeH="0" baseline="0" noProof="0" smtClean="0">
                <a:ln>
                  <a:solidFill>
                    <a:srgbClr val="4472C4">
                      <a:lumMod val="60000"/>
                      <a:lumOff val="4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 panose="020B0604020202020204" pitchFamily="34" charset="0"/>
              </a:rPr>
              <a:pPr marL="0" marR="0" lvl="0" indent="0" algn="ctr" defTabSz="92226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152" b="0" i="0" u="none" strike="noStrike" kern="1200" cap="none" spc="0" normalizeH="0" baseline="0" noProof="0" dirty="0">
              <a:ln>
                <a:solidFill>
                  <a:srgbClr val="4472C4">
                    <a:lumMod val="60000"/>
                    <a:lumOff val="4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나눔고딕 ExtraBold" panose="020D0904000000000000" pitchFamily="50" charset="-127"/>
              <a:ea typeface="나눔고딕 ExtraBold" panose="020D0904000000000000" pitchFamily="50" charset="-127"/>
              <a:cs typeface="Arial" panose="020B0604020202020204" pitchFamily="34" charset="0"/>
            </a:endParaRPr>
          </a:p>
        </p:txBody>
      </p:sp>
      <p:pic>
        <p:nvPicPr>
          <p:cNvPr id="6" name="그림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7752" y="6669795"/>
            <a:ext cx="2149294" cy="391998"/>
          </a:xfrm>
          <a:prstGeom prst="rect">
            <a:avLst/>
          </a:prstGeom>
        </p:spPr>
      </p:pic>
      <p:cxnSp>
        <p:nvCxnSpPr>
          <p:cNvPr id="7" name="직선 연결선 6"/>
          <p:cNvCxnSpPr/>
          <p:nvPr userDrawn="1"/>
        </p:nvCxnSpPr>
        <p:spPr>
          <a:xfrm>
            <a:off x="826390" y="868087"/>
            <a:ext cx="9190506" cy="0"/>
          </a:xfrm>
          <a:prstGeom prst="line">
            <a:avLst/>
          </a:prstGeom>
          <a:ln w="25400">
            <a:solidFill>
              <a:srgbClr val="2098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그림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06233" y="449798"/>
            <a:ext cx="529877" cy="418291"/>
          </a:xfrm>
          <a:prstGeom prst="rect">
            <a:avLst/>
          </a:prstGeom>
        </p:spPr>
      </p:pic>
      <p:grpSp>
        <p:nvGrpSpPr>
          <p:cNvPr id="11" name="그룹 10">
            <a:extLst>
              <a:ext uri="{FF2B5EF4-FFF2-40B4-BE49-F238E27FC236}">
                <a16:creationId xmlns:a16="http://schemas.microsoft.com/office/drawing/2014/main" id="{46257DF8-2E73-4438-9D26-302E6098BB44}"/>
              </a:ext>
            </a:extLst>
          </p:cNvPr>
          <p:cNvGrpSpPr/>
          <p:nvPr userDrawn="1"/>
        </p:nvGrpSpPr>
        <p:grpSpPr>
          <a:xfrm>
            <a:off x="9105269" y="916772"/>
            <a:ext cx="911629" cy="254813"/>
            <a:chOff x="3124343" y="3279046"/>
            <a:chExt cx="4494108" cy="832102"/>
          </a:xfrm>
        </p:grpSpPr>
        <p:sp>
          <p:nvSpPr>
            <p:cNvPr id="12" name="사각형: 둥근 위쪽 모서리 2">
              <a:extLst>
                <a:ext uri="{FF2B5EF4-FFF2-40B4-BE49-F238E27FC236}">
                  <a16:creationId xmlns:a16="http://schemas.microsoft.com/office/drawing/2014/main" id="{1822F719-38E4-439D-85F5-677F43662299}"/>
                </a:ext>
              </a:extLst>
            </p:cNvPr>
            <p:cNvSpPr/>
            <p:nvPr/>
          </p:nvSpPr>
          <p:spPr>
            <a:xfrm rot="5400000">
              <a:off x="5045151" y="1442160"/>
              <a:ext cx="652492" cy="4494108"/>
            </a:xfrm>
            <a:prstGeom prst="round2SameRect">
              <a:avLst>
                <a:gd name="adj1" fmla="val 50000"/>
                <a:gd name="adj2" fmla="val 44213"/>
              </a:avLst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5538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2768A57-19FB-4D5F-8790-06E1A9B23289}"/>
                </a:ext>
              </a:extLst>
            </p:cNvPr>
            <p:cNvSpPr txBox="1"/>
            <p:nvPr/>
          </p:nvSpPr>
          <p:spPr>
            <a:xfrm>
              <a:off x="3556964" y="3279046"/>
              <a:ext cx="3621112" cy="83210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5538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56" b="0" i="0" u="none" strike="noStrike" kern="1200" cap="none" spc="-29" normalizeH="0" baseline="0" noProof="0" dirty="0" smtClean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나눔고딕 ExtraBold" panose="020D0904000000000000" pitchFamily="50" charset="-127"/>
                  <a:ea typeface="나눔고딕 ExtraBold" panose="020D0904000000000000" pitchFamily="50" charset="-127"/>
                  <a:cs typeface="+mn-cs"/>
                </a:rPr>
                <a:t>교육용</a:t>
              </a:r>
              <a:endParaRPr kumimoji="0" lang="ko-KR" altLang="en-US" sz="1056" b="0" i="0" u="none" strike="noStrike" kern="1200" cap="none" spc="-29" normalizeH="0" baseline="0" noProof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06767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5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4919166" y="6817199"/>
            <a:ext cx="553357" cy="2696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2226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857A28-F895-4803-B0CB-C750C7786042}" type="slidenum">
              <a:rPr kumimoji="0" lang="ko-KR" altLang="en-US" sz="1152" b="0" i="0" u="none" strike="noStrike" kern="1200" cap="none" spc="0" normalizeH="0" baseline="0" noProof="0" smtClean="0">
                <a:ln>
                  <a:solidFill>
                    <a:srgbClr val="4472C4">
                      <a:lumMod val="60000"/>
                      <a:lumOff val="4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 panose="020B0604020202020204" pitchFamily="34" charset="0"/>
              </a:rPr>
              <a:pPr marL="0" marR="0" lvl="0" indent="0" algn="ctr" defTabSz="92226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152" b="0" i="0" u="none" strike="noStrike" kern="1200" cap="none" spc="0" normalizeH="0" baseline="0" noProof="0" dirty="0">
              <a:ln>
                <a:solidFill>
                  <a:srgbClr val="4472C4">
                    <a:lumMod val="60000"/>
                    <a:lumOff val="4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나눔고딕 ExtraBold" panose="020D0904000000000000" pitchFamily="50" charset="-127"/>
              <a:ea typeface="나눔고딕 ExtraBold" panose="020D0904000000000000" pitchFamily="50" charset="-127"/>
              <a:cs typeface="Arial" panose="020B0604020202020204" pitchFamily="34" charset="0"/>
            </a:endParaRPr>
          </a:p>
        </p:txBody>
      </p:sp>
      <p:pic>
        <p:nvPicPr>
          <p:cNvPr id="6" name="그림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7752" y="6669795"/>
            <a:ext cx="2149294" cy="391998"/>
          </a:xfrm>
          <a:prstGeom prst="rect">
            <a:avLst/>
          </a:prstGeom>
        </p:spPr>
      </p:pic>
      <p:cxnSp>
        <p:nvCxnSpPr>
          <p:cNvPr id="7" name="직선 연결선 6"/>
          <p:cNvCxnSpPr/>
          <p:nvPr userDrawn="1"/>
        </p:nvCxnSpPr>
        <p:spPr>
          <a:xfrm>
            <a:off x="826390" y="868087"/>
            <a:ext cx="9190506" cy="0"/>
          </a:xfrm>
          <a:prstGeom prst="line">
            <a:avLst/>
          </a:prstGeom>
          <a:ln w="25400">
            <a:solidFill>
              <a:srgbClr val="2098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그림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06233" y="449798"/>
            <a:ext cx="529877" cy="418291"/>
          </a:xfrm>
          <a:prstGeom prst="rect">
            <a:avLst/>
          </a:prstGeom>
        </p:spPr>
      </p:pic>
      <p:grpSp>
        <p:nvGrpSpPr>
          <p:cNvPr id="11" name="그룹 10">
            <a:extLst>
              <a:ext uri="{FF2B5EF4-FFF2-40B4-BE49-F238E27FC236}">
                <a16:creationId xmlns:a16="http://schemas.microsoft.com/office/drawing/2014/main" id="{46257DF8-2E73-4438-9D26-302E6098BB44}"/>
              </a:ext>
            </a:extLst>
          </p:cNvPr>
          <p:cNvGrpSpPr/>
          <p:nvPr userDrawn="1"/>
        </p:nvGrpSpPr>
        <p:grpSpPr>
          <a:xfrm>
            <a:off x="9105269" y="916772"/>
            <a:ext cx="911629" cy="254813"/>
            <a:chOff x="3124343" y="3279046"/>
            <a:chExt cx="4494108" cy="832102"/>
          </a:xfrm>
        </p:grpSpPr>
        <p:sp>
          <p:nvSpPr>
            <p:cNvPr id="12" name="사각형: 둥근 위쪽 모서리 2">
              <a:extLst>
                <a:ext uri="{FF2B5EF4-FFF2-40B4-BE49-F238E27FC236}">
                  <a16:creationId xmlns:a16="http://schemas.microsoft.com/office/drawing/2014/main" id="{1822F719-38E4-439D-85F5-677F43662299}"/>
                </a:ext>
              </a:extLst>
            </p:cNvPr>
            <p:cNvSpPr/>
            <p:nvPr/>
          </p:nvSpPr>
          <p:spPr>
            <a:xfrm rot="5400000">
              <a:off x="5045151" y="1442160"/>
              <a:ext cx="652492" cy="4494108"/>
            </a:xfrm>
            <a:prstGeom prst="round2SameRect">
              <a:avLst>
                <a:gd name="adj1" fmla="val 50000"/>
                <a:gd name="adj2" fmla="val 44213"/>
              </a:avLst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5538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2768A57-19FB-4D5F-8790-06E1A9B23289}"/>
                </a:ext>
              </a:extLst>
            </p:cNvPr>
            <p:cNvSpPr txBox="1"/>
            <p:nvPr/>
          </p:nvSpPr>
          <p:spPr>
            <a:xfrm>
              <a:off x="3556964" y="3279046"/>
              <a:ext cx="3621112" cy="83210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5538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56" b="0" i="0" u="none" strike="noStrike" kern="1200" cap="none" spc="-29" normalizeH="0" baseline="0" noProof="0" dirty="0" smtClean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나눔고딕 ExtraBold" panose="020D0904000000000000" pitchFamily="50" charset="-127"/>
                  <a:ea typeface="나눔고딕 ExtraBold" panose="020D0904000000000000" pitchFamily="50" charset="-127"/>
                  <a:cs typeface="+mn-cs"/>
                </a:rPr>
                <a:t>교육용</a:t>
              </a:r>
              <a:endParaRPr kumimoji="0" lang="ko-KR" altLang="en-US" sz="1056" b="0" i="0" u="none" strike="noStrike" kern="1200" cap="none" spc="-29" normalizeH="0" baseline="0" noProof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39825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6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4919166" y="6817199"/>
            <a:ext cx="553357" cy="2696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2226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857A28-F895-4803-B0CB-C750C7786042}" type="slidenum">
              <a:rPr kumimoji="0" lang="ko-KR" altLang="en-US" sz="1152" b="0" i="0" u="none" strike="noStrike" kern="1200" cap="none" spc="0" normalizeH="0" baseline="0" noProof="0" smtClean="0">
                <a:ln>
                  <a:solidFill>
                    <a:srgbClr val="4472C4">
                      <a:lumMod val="60000"/>
                      <a:lumOff val="4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 panose="020B0604020202020204" pitchFamily="34" charset="0"/>
              </a:rPr>
              <a:pPr marL="0" marR="0" lvl="0" indent="0" algn="ctr" defTabSz="92226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152" b="0" i="0" u="none" strike="noStrike" kern="1200" cap="none" spc="0" normalizeH="0" baseline="0" noProof="0" dirty="0">
              <a:ln>
                <a:solidFill>
                  <a:srgbClr val="4472C4">
                    <a:lumMod val="60000"/>
                    <a:lumOff val="4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나눔고딕 ExtraBold" panose="020D0904000000000000" pitchFamily="50" charset="-127"/>
              <a:ea typeface="나눔고딕 ExtraBold" panose="020D0904000000000000" pitchFamily="50" charset="-127"/>
              <a:cs typeface="Arial" panose="020B0604020202020204" pitchFamily="34" charset="0"/>
            </a:endParaRPr>
          </a:p>
        </p:txBody>
      </p:sp>
      <p:pic>
        <p:nvPicPr>
          <p:cNvPr id="6" name="그림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7752" y="6669795"/>
            <a:ext cx="2149294" cy="391998"/>
          </a:xfrm>
          <a:prstGeom prst="rect">
            <a:avLst/>
          </a:prstGeom>
        </p:spPr>
      </p:pic>
      <p:cxnSp>
        <p:nvCxnSpPr>
          <p:cNvPr id="7" name="직선 연결선 6"/>
          <p:cNvCxnSpPr/>
          <p:nvPr userDrawn="1"/>
        </p:nvCxnSpPr>
        <p:spPr>
          <a:xfrm>
            <a:off x="826390" y="868087"/>
            <a:ext cx="9190506" cy="0"/>
          </a:xfrm>
          <a:prstGeom prst="line">
            <a:avLst/>
          </a:prstGeom>
          <a:ln w="25400">
            <a:solidFill>
              <a:srgbClr val="2098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그림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06233" y="449798"/>
            <a:ext cx="529877" cy="418291"/>
          </a:xfrm>
          <a:prstGeom prst="rect">
            <a:avLst/>
          </a:prstGeom>
        </p:spPr>
      </p:pic>
      <p:grpSp>
        <p:nvGrpSpPr>
          <p:cNvPr id="11" name="그룹 10">
            <a:extLst>
              <a:ext uri="{FF2B5EF4-FFF2-40B4-BE49-F238E27FC236}">
                <a16:creationId xmlns:a16="http://schemas.microsoft.com/office/drawing/2014/main" id="{46257DF8-2E73-4438-9D26-302E6098BB44}"/>
              </a:ext>
            </a:extLst>
          </p:cNvPr>
          <p:cNvGrpSpPr/>
          <p:nvPr userDrawn="1"/>
        </p:nvGrpSpPr>
        <p:grpSpPr>
          <a:xfrm>
            <a:off x="9105269" y="916772"/>
            <a:ext cx="911629" cy="254813"/>
            <a:chOff x="3124343" y="3279046"/>
            <a:chExt cx="4494108" cy="832102"/>
          </a:xfrm>
        </p:grpSpPr>
        <p:sp>
          <p:nvSpPr>
            <p:cNvPr id="12" name="사각형: 둥근 위쪽 모서리 2">
              <a:extLst>
                <a:ext uri="{FF2B5EF4-FFF2-40B4-BE49-F238E27FC236}">
                  <a16:creationId xmlns:a16="http://schemas.microsoft.com/office/drawing/2014/main" id="{1822F719-38E4-439D-85F5-677F43662299}"/>
                </a:ext>
              </a:extLst>
            </p:cNvPr>
            <p:cNvSpPr/>
            <p:nvPr/>
          </p:nvSpPr>
          <p:spPr>
            <a:xfrm rot="5400000">
              <a:off x="5045151" y="1442160"/>
              <a:ext cx="652492" cy="4494108"/>
            </a:xfrm>
            <a:prstGeom prst="round2SameRect">
              <a:avLst>
                <a:gd name="adj1" fmla="val 50000"/>
                <a:gd name="adj2" fmla="val 44213"/>
              </a:avLst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5538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2768A57-19FB-4D5F-8790-06E1A9B23289}"/>
                </a:ext>
              </a:extLst>
            </p:cNvPr>
            <p:cNvSpPr txBox="1"/>
            <p:nvPr/>
          </p:nvSpPr>
          <p:spPr>
            <a:xfrm>
              <a:off x="3556964" y="3279046"/>
              <a:ext cx="3621112" cy="83210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5538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56" b="0" i="0" u="none" strike="noStrike" kern="1200" cap="none" spc="-29" normalizeH="0" baseline="0" noProof="0" dirty="0" smtClean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나눔고딕 ExtraBold" panose="020D0904000000000000" pitchFamily="50" charset="-127"/>
                  <a:ea typeface="나눔고딕 ExtraBold" panose="020D0904000000000000" pitchFamily="50" charset="-127"/>
                  <a:cs typeface="+mn-cs"/>
                </a:rPr>
                <a:t>교육용</a:t>
              </a:r>
              <a:endParaRPr kumimoji="0" lang="ko-KR" altLang="en-US" sz="1056" b="0" i="0" u="none" strike="noStrike" kern="1200" cap="none" spc="-29" normalizeH="0" baseline="0" noProof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979478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 descr="img_university_program_03.jpg"/>
          <p:cNvPicPr>
            <a:picLocks noChangeAspect="1"/>
          </p:cNvPicPr>
          <p:nvPr userDrawn="1"/>
        </p:nvPicPr>
        <p:blipFill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lum brigh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3616661"/>
            <a:ext cx="10383839" cy="3671027"/>
          </a:xfrm>
          <a:prstGeom prst="rect">
            <a:avLst/>
          </a:prstGeom>
        </p:spPr>
      </p:pic>
      <p:sp>
        <p:nvSpPr>
          <p:cNvPr id="3" name="Rectangle 5"/>
          <p:cNvSpPr>
            <a:spLocks noChangeArrowheads="1"/>
          </p:cNvSpPr>
          <p:nvPr userDrawn="1"/>
        </p:nvSpPr>
        <p:spPr bwMode="auto">
          <a:xfrm>
            <a:off x="9789204" y="7011439"/>
            <a:ext cx="577827" cy="251523"/>
          </a:xfrm>
          <a:prstGeom prst="rect">
            <a:avLst/>
          </a:prstGeom>
          <a:noFill/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lIns="87084" tIns="43546" rIns="87084" bIns="43546" anchor="ctr" anchorCtr="0"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r" defTabSz="871339">
              <a:defRPr/>
            </a:pPr>
            <a:r>
              <a:rPr lang="ko-KR" altLang="en-US" sz="1400" b="1" dirty="0">
                <a:solidFill>
                  <a:prstClr val="black"/>
                </a:solidFill>
              </a:rPr>
              <a:t> </a:t>
            </a:r>
            <a:fld id="{16B1565D-7790-4B20-9C8C-6E71895AF331}" type="slidenum">
              <a:rPr lang="ko-KR" altLang="en-US" sz="1400" b="1">
                <a:solidFill>
                  <a:prstClr val="black"/>
                </a:solidFill>
              </a:rPr>
              <a:pPr algn="r" defTabSz="871339">
                <a:defRPr/>
              </a:pPr>
              <a:t>‹#›</a:t>
            </a:fld>
            <a:endParaRPr lang="en-US" altLang="ko-KR" sz="1400" b="1" dirty="0">
              <a:solidFill>
                <a:prstClr val="black"/>
              </a:solidFill>
            </a:endParaRPr>
          </a:p>
        </p:txBody>
      </p:sp>
      <p:sp>
        <p:nvSpPr>
          <p:cNvPr id="4" name="직사각형 3"/>
          <p:cNvSpPr/>
          <p:nvPr userDrawn="1"/>
        </p:nvSpPr>
        <p:spPr>
          <a:xfrm>
            <a:off x="12" y="15"/>
            <a:ext cx="10383838" cy="37655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078" tIns="40037" rIns="80078" bIns="40037" rtlCol="0" anchor="ctr"/>
          <a:lstStyle/>
          <a:p>
            <a:pPr algn="ctr" defTabSz="913977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984" dirty="0">
              <a:solidFill>
                <a:prstClr val="white"/>
              </a:solidFill>
            </a:endParaRPr>
          </a:p>
        </p:txBody>
      </p:sp>
      <p:pic>
        <p:nvPicPr>
          <p:cNvPr id="9" name="그림 8">
            <a:extLst>
              <a:ext uri="{FF2B5EF4-FFF2-40B4-BE49-F238E27FC236}">
                <a16:creationId xmlns:a16="http://schemas.microsoft.com/office/drawing/2014/main" id="{0F3651F7-2466-4722-9C4C-94595706F0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24660" y="-1"/>
            <a:ext cx="5915818" cy="7573916"/>
          </a:xfrm>
          <a:prstGeom prst="rect">
            <a:avLst/>
          </a:prstGeom>
        </p:spPr>
      </p:pic>
      <p:pic>
        <p:nvPicPr>
          <p:cNvPr id="14" name="Picture 3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4308" y="4594303"/>
            <a:ext cx="675297" cy="1041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직사각형 7"/>
          <p:cNvSpPr/>
          <p:nvPr userDrawn="1"/>
        </p:nvSpPr>
        <p:spPr>
          <a:xfrm>
            <a:off x="9079046" y="29012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algn="ctr"/>
            <a:r>
              <a:rPr lang="ko-KR" altLang="en-US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사내교육용</a:t>
            </a:r>
            <a:r>
              <a:rPr lang="en-US" altLang="ko-KR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(</a:t>
            </a:r>
            <a:r>
              <a:rPr lang="ko-KR" altLang="en-US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대외비</a:t>
            </a:r>
            <a:r>
              <a:rPr lang="en-US" altLang="ko-KR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)</a:t>
            </a:r>
            <a:r>
              <a:rPr lang="ko-KR" altLang="en-US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</a:p>
        </p:txBody>
      </p:sp>
    </p:spTree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7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4919166" y="6817199"/>
            <a:ext cx="553357" cy="2696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2226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857A28-F895-4803-B0CB-C750C7786042}" type="slidenum">
              <a:rPr kumimoji="0" lang="ko-KR" altLang="en-US" sz="1152" b="0" i="0" u="none" strike="noStrike" kern="1200" cap="none" spc="0" normalizeH="0" baseline="0" noProof="0" smtClean="0">
                <a:ln>
                  <a:solidFill>
                    <a:srgbClr val="4472C4">
                      <a:lumMod val="60000"/>
                      <a:lumOff val="4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 panose="020B0604020202020204" pitchFamily="34" charset="0"/>
              </a:rPr>
              <a:pPr marL="0" marR="0" lvl="0" indent="0" algn="ctr" defTabSz="92226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152" b="0" i="0" u="none" strike="noStrike" kern="1200" cap="none" spc="0" normalizeH="0" baseline="0" noProof="0" dirty="0">
              <a:ln>
                <a:solidFill>
                  <a:srgbClr val="4472C4">
                    <a:lumMod val="60000"/>
                    <a:lumOff val="4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나눔고딕 ExtraBold" panose="020D0904000000000000" pitchFamily="50" charset="-127"/>
              <a:ea typeface="나눔고딕 ExtraBold" panose="020D0904000000000000" pitchFamily="50" charset="-127"/>
              <a:cs typeface="Arial" panose="020B0604020202020204" pitchFamily="34" charset="0"/>
            </a:endParaRPr>
          </a:p>
        </p:txBody>
      </p:sp>
      <p:pic>
        <p:nvPicPr>
          <p:cNvPr id="6" name="그림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7752" y="6669795"/>
            <a:ext cx="2149294" cy="391998"/>
          </a:xfrm>
          <a:prstGeom prst="rect">
            <a:avLst/>
          </a:prstGeom>
        </p:spPr>
      </p:pic>
      <p:cxnSp>
        <p:nvCxnSpPr>
          <p:cNvPr id="7" name="직선 연결선 6"/>
          <p:cNvCxnSpPr/>
          <p:nvPr userDrawn="1"/>
        </p:nvCxnSpPr>
        <p:spPr>
          <a:xfrm>
            <a:off x="826390" y="868087"/>
            <a:ext cx="9190506" cy="0"/>
          </a:xfrm>
          <a:prstGeom prst="line">
            <a:avLst/>
          </a:prstGeom>
          <a:ln w="25400">
            <a:solidFill>
              <a:srgbClr val="2098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그림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06233" y="449798"/>
            <a:ext cx="529877" cy="418291"/>
          </a:xfrm>
          <a:prstGeom prst="rect">
            <a:avLst/>
          </a:prstGeom>
        </p:spPr>
      </p:pic>
      <p:grpSp>
        <p:nvGrpSpPr>
          <p:cNvPr id="11" name="그룹 10">
            <a:extLst>
              <a:ext uri="{FF2B5EF4-FFF2-40B4-BE49-F238E27FC236}">
                <a16:creationId xmlns:a16="http://schemas.microsoft.com/office/drawing/2014/main" id="{46257DF8-2E73-4438-9D26-302E6098BB44}"/>
              </a:ext>
            </a:extLst>
          </p:cNvPr>
          <p:cNvGrpSpPr/>
          <p:nvPr userDrawn="1"/>
        </p:nvGrpSpPr>
        <p:grpSpPr>
          <a:xfrm>
            <a:off x="9105269" y="916772"/>
            <a:ext cx="911629" cy="254813"/>
            <a:chOff x="3124343" y="3279046"/>
            <a:chExt cx="4494108" cy="832102"/>
          </a:xfrm>
        </p:grpSpPr>
        <p:sp>
          <p:nvSpPr>
            <p:cNvPr id="12" name="사각형: 둥근 위쪽 모서리 2">
              <a:extLst>
                <a:ext uri="{FF2B5EF4-FFF2-40B4-BE49-F238E27FC236}">
                  <a16:creationId xmlns:a16="http://schemas.microsoft.com/office/drawing/2014/main" id="{1822F719-38E4-439D-85F5-677F43662299}"/>
                </a:ext>
              </a:extLst>
            </p:cNvPr>
            <p:cNvSpPr/>
            <p:nvPr/>
          </p:nvSpPr>
          <p:spPr>
            <a:xfrm rot="5400000">
              <a:off x="5045151" y="1442160"/>
              <a:ext cx="652492" cy="4494108"/>
            </a:xfrm>
            <a:prstGeom prst="round2SameRect">
              <a:avLst>
                <a:gd name="adj1" fmla="val 50000"/>
                <a:gd name="adj2" fmla="val 44213"/>
              </a:avLst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5538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2768A57-19FB-4D5F-8790-06E1A9B23289}"/>
                </a:ext>
              </a:extLst>
            </p:cNvPr>
            <p:cNvSpPr txBox="1"/>
            <p:nvPr/>
          </p:nvSpPr>
          <p:spPr>
            <a:xfrm>
              <a:off x="3556964" y="3279046"/>
              <a:ext cx="3621112" cy="83210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5538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56" b="0" i="0" u="none" strike="noStrike" kern="1200" cap="none" spc="-29" normalizeH="0" baseline="0" noProof="0" dirty="0" smtClean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나눔고딕 ExtraBold" panose="020D0904000000000000" pitchFamily="50" charset="-127"/>
                  <a:ea typeface="나눔고딕 ExtraBold" panose="020D0904000000000000" pitchFamily="50" charset="-127"/>
                  <a:cs typeface="+mn-cs"/>
                </a:rPr>
                <a:t>교육용</a:t>
              </a:r>
              <a:endParaRPr kumimoji="0" lang="ko-KR" altLang="en-US" sz="1056" b="0" i="0" u="none" strike="noStrike" kern="1200" cap="none" spc="-29" normalizeH="0" baseline="0" noProof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39710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8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4919166" y="6817199"/>
            <a:ext cx="553357" cy="2696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2226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857A28-F895-4803-B0CB-C750C7786042}" type="slidenum">
              <a:rPr kumimoji="0" lang="ko-KR" altLang="en-US" sz="1152" b="0" i="0" u="none" strike="noStrike" kern="1200" cap="none" spc="0" normalizeH="0" baseline="0" noProof="0" smtClean="0">
                <a:ln>
                  <a:solidFill>
                    <a:srgbClr val="4472C4">
                      <a:lumMod val="60000"/>
                      <a:lumOff val="4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 panose="020B0604020202020204" pitchFamily="34" charset="0"/>
              </a:rPr>
              <a:pPr marL="0" marR="0" lvl="0" indent="0" algn="ctr" defTabSz="92226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152" b="0" i="0" u="none" strike="noStrike" kern="1200" cap="none" spc="0" normalizeH="0" baseline="0" noProof="0" dirty="0">
              <a:ln>
                <a:solidFill>
                  <a:srgbClr val="4472C4">
                    <a:lumMod val="60000"/>
                    <a:lumOff val="4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나눔고딕 ExtraBold" panose="020D0904000000000000" pitchFamily="50" charset="-127"/>
              <a:ea typeface="나눔고딕 ExtraBold" panose="020D0904000000000000" pitchFamily="50" charset="-127"/>
              <a:cs typeface="Arial" panose="020B0604020202020204" pitchFamily="34" charset="0"/>
            </a:endParaRPr>
          </a:p>
        </p:txBody>
      </p:sp>
      <p:pic>
        <p:nvPicPr>
          <p:cNvPr id="6" name="그림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7752" y="6669795"/>
            <a:ext cx="2149294" cy="391998"/>
          </a:xfrm>
          <a:prstGeom prst="rect">
            <a:avLst/>
          </a:prstGeom>
        </p:spPr>
      </p:pic>
      <p:cxnSp>
        <p:nvCxnSpPr>
          <p:cNvPr id="7" name="직선 연결선 6"/>
          <p:cNvCxnSpPr/>
          <p:nvPr userDrawn="1"/>
        </p:nvCxnSpPr>
        <p:spPr>
          <a:xfrm>
            <a:off x="826390" y="868087"/>
            <a:ext cx="9190506" cy="0"/>
          </a:xfrm>
          <a:prstGeom prst="line">
            <a:avLst/>
          </a:prstGeom>
          <a:ln w="25400">
            <a:solidFill>
              <a:srgbClr val="2098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그림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06233" y="449798"/>
            <a:ext cx="529877" cy="418291"/>
          </a:xfrm>
          <a:prstGeom prst="rect">
            <a:avLst/>
          </a:prstGeom>
        </p:spPr>
      </p:pic>
      <p:grpSp>
        <p:nvGrpSpPr>
          <p:cNvPr id="11" name="그룹 10">
            <a:extLst>
              <a:ext uri="{FF2B5EF4-FFF2-40B4-BE49-F238E27FC236}">
                <a16:creationId xmlns:a16="http://schemas.microsoft.com/office/drawing/2014/main" id="{46257DF8-2E73-4438-9D26-302E6098BB44}"/>
              </a:ext>
            </a:extLst>
          </p:cNvPr>
          <p:cNvGrpSpPr/>
          <p:nvPr userDrawn="1"/>
        </p:nvGrpSpPr>
        <p:grpSpPr>
          <a:xfrm>
            <a:off x="9105269" y="916772"/>
            <a:ext cx="911629" cy="254813"/>
            <a:chOff x="3124343" y="3279046"/>
            <a:chExt cx="4494108" cy="832102"/>
          </a:xfrm>
        </p:grpSpPr>
        <p:sp>
          <p:nvSpPr>
            <p:cNvPr id="12" name="사각형: 둥근 위쪽 모서리 2">
              <a:extLst>
                <a:ext uri="{FF2B5EF4-FFF2-40B4-BE49-F238E27FC236}">
                  <a16:creationId xmlns:a16="http://schemas.microsoft.com/office/drawing/2014/main" id="{1822F719-38E4-439D-85F5-677F43662299}"/>
                </a:ext>
              </a:extLst>
            </p:cNvPr>
            <p:cNvSpPr/>
            <p:nvPr/>
          </p:nvSpPr>
          <p:spPr>
            <a:xfrm rot="5400000">
              <a:off x="5045151" y="1442160"/>
              <a:ext cx="652492" cy="4494108"/>
            </a:xfrm>
            <a:prstGeom prst="round2SameRect">
              <a:avLst>
                <a:gd name="adj1" fmla="val 50000"/>
                <a:gd name="adj2" fmla="val 44213"/>
              </a:avLst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5538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2768A57-19FB-4D5F-8790-06E1A9B23289}"/>
                </a:ext>
              </a:extLst>
            </p:cNvPr>
            <p:cNvSpPr txBox="1"/>
            <p:nvPr/>
          </p:nvSpPr>
          <p:spPr>
            <a:xfrm>
              <a:off x="3556964" y="3279046"/>
              <a:ext cx="3621112" cy="83210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5538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56" b="0" i="0" u="none" strike="noStrike" kern="1200" cap="none" spc="-29" normalizeH="0" baseline="0" noProof="0" dirty="0" smtClean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나눔고딕 ExtraBold" panose="020D0904000000000000" pitchFamily="50" charset="-127"/>
                  <a:ea typeface="나눔고딕 ExtraBold" panose="020D0904000000000000" pitchFamily="50" charset="-127"/>
                  <a:cs typeface="+mn-cs"/>
                </a:rPr>
                <a:t>교육용</a:t>
              </a:r>
              <a:endParaRPr kumimoji="0" lang="ko-KR" altLang="en-US" sz="1056" b="0" i="0" u="none" strike="noStrike" kern="1200" cap="none" spc="-29" normalizeH="0" baseline="0" noProof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859906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9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4919166" y="6817199"/>
            <a:ext cx="553357" cy="2696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2226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857A28-F895-4803-B0CB-C750C7786042}" type="slidenum">
              <a:rPr kumimoji="0" lang="ko-KR" altLang="en-US" sz="1152" b="0" i="0" u="none" strike="noStrike" kern="1200" cap="none" spc="0" normalizeH="0" baseline="0" noProof="0" smtClean="0">
                <a:ln>
                  <a:solidFill>
                    <a:srgbClr val="4472C4">
                      <a:lumMod val="60000"/>
                      <a:lumOff val="4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 panose="020B0604020202020204" pitchFamily="34" charset="0"/>
              </a:rPr>
              <a:pPr marL="0" marR="0" lvl="0" indent="0" algn="ctr" defTabSz="92226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152" b="0" i="0" u="none" strike="noStrike" kern="1200" cap="none" spc="0" normalizeH="0" baseline="0" noProof="0" dirty="0">
              <a:ln>
                <a:solidFill>
                  <a:srgbClr val="4472C4">
                    <a:lumMod val="60000"/>
                    <a:lumOff val="4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나눔고딕 ExtraBold" panose="020D0904000000000000" pitchFamily="50" charset="-127"/>
              <a:ea typeface="나눔고딕 ExtraBold" panose="020D0904000000000000" pitchFamily="50" charset="-127"/>
              <a:cs typeface="Arial" panose="020B0604020202020204" pitchFamily="34" charset="0"/>
            </a:endParaRPr>
          </a:p>
        </p:txBody>
      </p:sp>
      <p:pic>
        <p:nvPicPr>
          <p:cNvPr id="6" name="그림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7752" y="6669795"/>
            <a:ext cx="2149294" cy="391998"/>
          </a:xfrm>
          <a:prstGeom prst="rect">
            <a:avLst/>
          </a:prstGeom>
        </p:spPr>
      </p:pic>
      <p:cxnSp>
        <p:nvCxnSpPr>
          <p:cNvPr id="7" name="직선 연결선 6"/>
          <p:cNvCxnSpPr/>
          <p:nvPr userDrawn="1"/>
        </p:nvCxnSpPr>
        <p:spPr>
          <a:xfrm>
            <a:off x="826390" y="868087"/>
            <a:ext cx="9190506" cy="0"/>
          </a:xfrm>
          <a:prstGeom prst="line">
            <a:avLst/>
          </a:prstGeom>
          <a:ln w="25400">
            <a:solidFill>
              <a:srgbClr val="2098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그림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06233" y="449798"/>
            <a:ext cx="529877" cy="418291"/>
          </a:xfrm>
          <a:prstGeom prst="rect">
            <a:avLst/>
          </a:prstGeom>
        </p:spPr>
      </p:pic>
      <p:grpSp>
        <p:nvGrpSpPr>
          <p:cNvPr id="11" name="그룹 10">
            <a:extLst>
              <a:ext uri="{FF2B5EF4-FFF2-40B4-BE49-F238E27FC236}">
                <a16:creationId xmlns:a16="http://schemas.microsoft.com/office/drawing/2014/main" id="{46257DF8-2E73-4438-9D26-302E6098BB44}"/>
              </a:ext>
            </a:extLst>
          </p:cNvPr>
          <p:cNvGrpSpPr/>
          <p:nvPr userDrawn="1"/>
        </p:nvGrpSpPr>
        <p:grpSpPr>
          <a:xfrm>
            <a:off x="9105269" y="916772"/>
            <a:ext cx="911629" cy="254813"/>
            <a:chOff x="3124343" y="3279046"/>
            <a:chExt cx="4494108" cy="832102"/>
          </a:xfrm>
        </p:grpSpPr>
        <p:sp>
          <p:nvSpPr>
            <p:cNvPr id="12" name="사각형: 둥근 위쪽 모서리 2">
              <a:extLst>
                <a:ext uri="{FF2B5EF4-FFF2-40B4-BE49-F238E27FC236}">
                  <a16:creationId xmlns:a16="http://schemas.microsoft.com/office/drawing/2014/main" id="{1822F719-38E4-439D-85F5-677F43662299}"/>
                </a:ext>
              </a:extLst>
            </p:cNvPr>
            <p:cNvSpPr/>
            <p:nvPr/>
          </p:nvSpPr>
          <p:spPr>
            <a:xfrm rot="5400000">
              <a:off x="5045151" y="1442160"/>
              <a:ext cx="652492" cy="4494108"/>
            </a:xfrm>
            <a:prstGeom prst="round2SameRect">
              <a:avLst>
                <a:gd name="adj1" fmla="val 50000"/>
                <a:gd name="adj2" fmla="val 44213"/>
              </a:avLst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5538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2768A57-19FB-4D5F-8790-06E1A9B23289}"/>
                </a:ext>
              </a:extLst>
            </p:cNvPr>
            <p:cNvSpPr txBox="1"/>
            <p:nvPr/>
          </p:nvSpPr>
          <p:spPr>
            <a:xfrm>
              <a:off x="3556964" y="3279046"/>
              <a:ext cx="3621112" cy="83210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5538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56" b="0" i="0" u="none" strike="noStrike" kern="1200" cap="none" spc="-29" normalizeH="0" baseline="0" noProof="0" dirty="0" smtClean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나눔고딕 ExtraBold" panose="020D0904000000000000" pitchFamily="50" charset="-127"/>
                  <a:ea typeface="나눔고딕 ExtraBold" panose="020D0904000000000000" pitchFamily="50" charset="-127"/>
                  <a:cs typeface="+mn-cs"/>
                </a:rPr>
                <a:t>교육용</a:t>
              </a:r>
              <a:endParaRPr kumimoji="0" lang="ko-KR" altLang="en-US" sz="1056" b="0" i="0" u="none" strike="noStrike" kern="1200" cap="none" spc="-29" normalizeH="0" baseline="0" noProof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711626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0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4919166" y="6817199"/>
            <a:ext cx="553357" cy="2696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2226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857A28-F895-4803-B0CB-C750C7786042}" type="slidenum">
              <a:rPr kumimoji="0" lang="ko-KR" altLang="en-US" sz="1152" b="0" i="0" u="none" strike="noStrike" kern="1200" cap="none" spc="0" normalizeH="0" baseline="0" noProof="0" smtClean="0">
                <a:ln>
                  <a:solidFill>
                    <a:srgbClr val="4472C4">
                      <a:lumMod val="60000"/>
                      <a:lumOff val="4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 panose="020B0604020202020204" pitchFamily="34" charset="0"/>
              </a:rPr>
              <a:pPr marL="0" marR="0" lvl="0" indent="0" algn="ctr" defTabSz="92226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152" b="0" i="0" u="none" strike="noStrike" kern="1200" cap="none" spc="0" normalizeH="0" baseline="0" noProof="0" dirty="0">
              <a:ln>
                <a:solidFill>
                  <a:srgbClr val="4472C4">
                    <a:lumMod val="60000"/>
                    <a:lumOff val="4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나눔고딕 ExtraBold" panose="020D0904000000000000" pitchFamily="50" charset="-127"/>
              <a:ea typeface="나눔고딕 ExtraBold" panose="020D0904000000000000" pitchFamily="50" charset="-127"/>
              <a:cs typeface="Arial" panose="020B0604020202020204" pitchFamily="34" charset="0"/>
            </a:endParaRPr>
          </a:p>
        </p:txBody>
      </p:sp>
      <p:pic>
        <p:nvPicPr>
          <p:cNvPr id="6" name="그림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7752" y="6669795"/>
            <a:ext cx="2149294" cy="391998"/>
          </a:xfrm>
          <a:prstGeom prst="rect">
            <a:avLst/>
          </a:prstGeom>
        </p:spPr>
      </p:pic>
      <p:cxnSp>
        <p:nvCxnSpPr>
          <p:cNvPr id="7" name="직선 연결선 6"/>
          <p:cNvCxnSpPr/>
          <p:nvPr userDrawn="1"/>
        </p:nvCxnSpPr>
        <p:spPr>
          <a:xfrm>
            <a:off x="826390" y="868087"/>
            <a:ext cx="9190506" cy="0"/>
          </a:xfrm>
          <a:prstGeom prst="line">
            <a:avLst/>
          </a:prstGeom>
          <a:ln w="25400">
            <a:solidFill>
              <a:srgbClr val="2098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그림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06233" y="449798"/>
            <a:ext cx="529877" cy="418291"/>
          </a:xfrm>
          <a:prstGeom prst="rect">
            <a:avLst/>
          </a:prstGeom>
        </p:spPr>
      </p:pic>
      <p:grpSp>
        <p:nvGrpSpPr>
          <p:cNvPr id="11" name="그룹 10">
            <a:extLst>
              <a:ext uri="{FF2B5EF4-FFF2-40B4-BE49-F238E27FC236}">
                <a16:creationId xmlns:a16="http://schemas.microsoft.com/office/drawing/2014/main" id="{46257DF8-2E73-4438-9D26-302E6098BB44}"/>
              </a:ext>
            </a:extLst>
          </p:cNvPr>
          <p:cNvGrpSpPr/>
          <p:nvPr userDrawn="1"/>
        </p:nvGrpSpPr>
        <p:grpSpPr>
          <a:xfrm>
            <a:off x="9105269" y="916772"/>
            <a:ext cx="911629" cy="254813"/>
            <a:chOff x="3124343" y="3279046"/>
            <a:chExt cx="4494108" cy="832102"/>
          </a:xfrm>
        </p:grpSpPr>
        <p:sp>
          <p:nvSpPr>
            <p:cNvPr id="12" name="사각형: 둥근 위쪽 모서리 2">
              <a:extLst>
                <a:ext uri="{FF2B5EF4-FFF2-40B4-BE49-F238E27FC236}">
                  <a16:creationId xmlns:a16="http://schemas.microsoft.com/office/drawing/2014/main" id="{1822F719-38E4-439D-85F5-677F43662299}"/>
                </a:ext>
              </a:extLst>
            </p:cNvPr>
            <p:cNvSpPr/>
            <p:nvPr/>
          </p:nvSpPr>
          <p:spPr>
            <a:xfrm rot="5400000">
              <a:off x="5045151" y="1442160"/>
              <a:ext cx="652492" cy="4494108"/>
            </a:xfrm>
            <a:prstGeom prst="round2SameRect">
              <a:avLst>
                <a:gd name="adj1" fmla="val 50000"/>
                <a:gd name="adj2" fmla="val 44213"/>
              </a:avLst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5538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2768A57-19FB-4D5F-8790-06E1A9B23289}"/>
                </a:ext>
              </a:extLst>
            </p:cNvPr>
            <p:cNvSpPr txBox="1"/>
            <p:nvPr/>
          </p:nvSpPr>
          <p:spPr>
            <a:xfrm>
              <a:off x="3556964" y="3279046"/>
              <a:ext cx="3621112" cy="83210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5538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56" b="0" i="0" u="none" strike="noStrike" kern="1200" cap="none" spc="-29" normalizeH="0" baseline="0" noProof="0" dirty="0" smtClean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나눔고딕 ExtraBold" panose="020D0904000000000000" pitchFamily="50" charset="-127"/>
                  <a:ea typeface="나눔고딕 ExtraBold" panose="020D0904000000000000" pitchFamily="50" charset="-127"/>
                  <a:cs typeface="+mn-cs"/>
                </a:rPr>
                <a:t>교육용</a:t>
              </a:r>
              <a:endParaRPr kumimoji="0" lang="ko-KR" altLang="en-US" sz="1056" b="0" i="0" u="none" strike="noStrike" kern="1200" cap="none" spc="-29" normalizeH="0" baseline="0" noProof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83369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4919166" y="6817199"/>
            <a:ext cx="553357" cy="2696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2226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857A28-F895-4803-B0CB-C750C7786042}" type="slidenum">
              <a:rPr kumimoji="0" lang="ko-KR" altLang="en-US" sz="1152" b="0" i="0" u="none" strike="noStrike" kern="1200" cap="none" spc="0" normalizeH="0" baseline="0" noProof="0" smtClean="0">
                <a:ln>
                  <a:solidFill>
                    <a:srgbClr val="4472C4">
                      <a:lumMod val="60000"/>
                      <a:lumOff val="4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 panose="020B0604020202020204" pitchFamily="34" charset="0"/>
              </a:rPr>
              <a:pPr marL="0" marR="0" lvl="0" indent="0" algn="ctr" defTabSz="92226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152" b="0" i="0" u="none" strike="noStrike" kern="1200" cap="none" spc="0" normalizeH="0" baseline="0" noProof="0" dirty="0">
              <a:ln>
                <a:solidFill>
                  <a:srgbClr val="4472C4">
                    <a:lumMod val="60000"/>
                    <a:lumOff val="4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나눔고딕 ExtraBold" panose="020D0904000000000000" pitchFamily="50" charset="-127"/>
              <a:ea typeface="나눔고딕 ExtraBold" panose="020D0904000000000000" pitchFamily="50" charset="-127"/>
              <a:cs typeface="Arial" panose="020B0604020202020204" pitchFamily="34" charset="0"/>
            </a:endParaRPr>
          </a:p>
        </p:txBody>
      </p:sp>
      <p:pic>
        <p:nvPicPr>
          <p:cNvPr id="6" name="그림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7752" y="6669795"/>
            <a:ext cx="2149294" cy="391998"/>
          </a:xfrm>
          <a:prstGeom prst="rect">
            <a:avLst/>
          </a:prstGeom>
        </p:spPr>
      </p:pic>
      <p:cxnSp>
        <p:nvCxnSpPr>
          <p:cNvPr id="7" name="직선 연결선 6"/>
          <p:cNvCxnSpPr/>
          <p:nvPr userDrawn="1"/>
        </p:nvCxnSpPr>
        <p:spPr>
          <a:xfrm>
            <a:off x="826390" y="868087"/>
            <a:ext cx="9190506" cy="0"/>
          </a:xfrm>
          <a:prstGeom prst="line">
            <a:avLst/>
          </a:prstGeom>
          <a:ln w="25400">
            <a:solidFill>
              <a:srgbClr val="2098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그림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06233" y="449798"/>
            <a:ext cx="529877" cy="418291"/>
          </a:xfrm>
          <a:prstGeom prst="rect">
            <a:avLst/>
          </a:prstGeom>
        </p:spPr>
      </p:pic>
      <p:grpSp>
        <p:nvGrpSpPr>
          <p:cNvPr id="11" name="그룹 10">
            <a:extLst>
              <a:ext uri="{FF2B5EF4-FFF2-40B4-BE49-F238E27FC236}">
                <a16:creationId xmlns:a16="http://schemas.microsoft.com/office/drawing/2014/main" id="{46257DF8-2E73-4438-9D26-302E6098BB44}"/>
              </a:ext>
            </a:extLst>
          </p:cNvPr>
          <p:cNvGrpSpPr/>
          <p:nvPr userDrawn="1"/>
        </p:nvGrpSpPr>
        <p:grpSpPr>
          <a:xfrm>
            <a:off x="9105269" y="916772"/>
            <a:ext cx="911629" cy="254813"/>
            <a:chOff x="3124343" y="3279046"/>
            <a:chExt cx="4494108" cy="832102"/>
          </a:xfrm>
        </p:grpSpPr>
        <p:sp>
          <p:nvSpPr>
            <p:cNvPr id="12" name="사각형: 둥근 위쪽 모서리 2">
              <a:extLst>
                <a:ext uri="{FF2B5EF4-FFF2-40B4-BE49-F238E27FC236}">
                  <a16:creationId xmlns:a16="http://schemas.microsoft.com/office/drawing/2014/main" id="{1822F719-38E4-439D-85F5-677F43662299}"/>
                </a:ext>
              </a:extLst>
            </p:cNvPr>
            <p:cNvSpPr/>
            <p:nvPr/>
          </p:nvSpPr>
          <p:spPr>
            <a:xfrm rot="5400000">
              <a:off x="5045151" y="1442160"/>
              <a:ext cx="652492" cy="4494108"/>
            </a:xfrm>
            <a:prstGeom prst="round2SameRect">
              <a:avLst>
                <a:gd name="adj1" fmla="val 50000"/>
                <a:gd name="adj2" fmla="val 44213"/>
              </a:avLst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5538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2768A57-19FB-4D5F-8790-06E1A9B23289}"/>
                </a:ext>
              </a:extLst>
            </p:cNvPr>
            <p:cNvSpPr txBox="1"/>
            <p:nvPr/>
          </p:nvSpPr>
          <p:spPr>
            <a:xfrm>
              <a:off x="3556964" y="3279046"/>
              <a:ext cx="3621112" cy="83210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5538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56" b="0" i="0" u="none" strike="noStrike" kern="1200" cap="none" spc="-29" normalizeH="0" baseline="0" noProof="0" dirty="0" smtClean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나눔고딕 ExtraBold" panose="020D0904000000000000" pitchFamily="50" charset="-127"/>
                  <a:ea typeface="나눔고딕 ExtraBold" panose="020D0904000000000000" pitchFamily="50" charset="-127"/>
                  <a:cs typeface="+mn-cs"/>
                </a:rPr>
                <a:t>교육용</a:t>
              </a:r>
              <a:endParaRPr kumimoji="0" lang="ko-KR" altLang="en-US" sz="1056" b="0" i="0" u="none" strike="noStrike" kern="1200" cap="none" spc="-29" normalizeH="0" baseline="0" noProof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56760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2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4919166" y="6817199"/>
            <a:ext cx="553357" cy="2696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2226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857A28-F895-4803-B0CB-C750C7786042}" type="slidenum">
              <a:rPr kumimoji="0" lang="ko-KR" altLang="en-US" sz="1152" b="0" i="0" u="none" strike="noStrike" kern="1200" cap="none" spc="0" normalizeH="0" baseline="0" noProof="0" smtClean="0">
                <a:ln>
                  <a:solidFill>
                    <a:srgbClr val="4472C4">
                      <a:lumMod val="60000"/>
                      <a:lumOff val="4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 panose="020B0604020202020204" pitchFamily="34" charset="0"/>
              </a:rPr>
              <a:pPr marL="0" marR="0" lvl="0" indent="0" algn="ctr" defTabSz="92226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152" b="0" i="0" u="none" strike="noStrike" kern="1200" cap="none" spc="0" normalizeH="0" baseline="0" noProof="0" dirty="0">
              <a:ln>
                <a:solidFill>
                  <a:srgbClr val="4472C4">
                    <a:lumMod val="60000"/>
                    <a:lumOff val="4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나눔고딕 ExtraBold" panose="020D0904000000000000" pitchFamily="50" charset="-127"/>
              <a:ea typeface="나눔고딕 ExtraBold" panose="020D0904000000000000" pitchFamily="50" charset="-127"/>
              <a:cs typeface="Arial" panose="020B0604020202020204" pitchFamily="34" charset="0"/>
            </a:endParaRPr>
          </a:p>
        </p:txBody>
      </p:sp>
      <p:pic>
        <p:nvPicPr>
          <p:cNvPr id="6" name="그림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7752" y="6669795"/>
            <a:ext cx="2149294" cy="391998"/>
          </a:xfrm>
          <a:prstGeom prst="rect">
            <a:avLst/>
          </a:prstGeom>
        </p:spPr>
      </p:pic>
      <p:cxnSp>
        <p:nvCxnSpPr>
          <p:cNvPr id="7" name="직선 연결선 6"/>
          <p:cNvCxnSpPr/>
          <p:nvPr userDrawn="1"/>
        </p:nvCxnSpPr>
        <p:spPr>
          <a:xfrm>
            <a:off x="826390" y="868087"/>
            <a:ext cx="9190506" cy="0"/>
          </a:xfrm>
          <a:prstGeom prst="line">
            <a:avLst/>
          </a:prstGeom>
          <a:ln w="25400">
            <a:solidFill>
              <a:srgbClr val="2098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그림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06233" y="449798"/>
            <a:ext cx="529877" cy="418291"/>
          </a:xfrm>
          <a:prstGeom prst="rect">
            <a:avLst/>
          </a:prstGeom>
        </p:spPr>
      </p:pic>
      <p:grpSp>
        <p:nvGrpSpPr>
          <p:cNvPr id="11" name="그룹 10">
            <a:extLst>
              <a:ext uri="{FF2B5EF4-FFF2-40B4-BE49-F238E27FC236}">
                <a16:creationId xmlns:a16="http://schemas.microsoft.com/office/drawing/2014/main" id="{46257DF8-2E73-4438-9D26-302E6098BB44}"/>
              </a:ext>
            </a:extLst>
          </p:cNvPr>
          <p:cNvGrpSpPr/>
          <p:nvPr userDrawn="1"/>
        </p:nvGrpSpPr>
        <p:grpSpPr>
          <a:xfrm>
            <a:off x="9105269" y="916772"/>
            <a:ext cx="911629" cy="254813"/>
            <a:chOff x="3124343" y="3279046"/>
            <a:chExt cx="4494108" cy="832102"/>
          </a:xfrm>
        </p:grpSpPr>
        <p:sp>
          <p:nvSpPr>
            <p:cNvPr id="12" name="사각형: 둥근 위쪽 모서리 2">
              <a:extLst>
                <a:ext uri="{FF2B5EF4-FFF2-40B4-BE49-F238E27FC236}">
                  <a16:creationId xmlns:a16="http://schemas.microsoft.com/office/drawing/2014/main" id="{1822F719-38E4-439D-85F5-677F43662299}"/>
                </a:ext>
              </a:extLst>
            </p:cNvPr>
            <p:cNvSpPr/>
            <p:nvPr/>
          </p:nvSpPr>
          <p:spPr>
            <a:xfrm rot="5400000">
              <a:off x="5045151" y="1442160"/>
              <a:ext cx="652492" cy="4494108"/>
            </a:xfrm>
            <a:prstGeom prst="round2SameRect">
              <a:avLst>
                <a:gd name="adj1" fmla="val 50000"/>
                <a:gd name="adj2" fmla="val 44213"/>
              </a:avLst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5538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2768A57-19FB-4D5F-8790-06E1A9B23289}"/>
                </a:ext>
              </a:extLst>
            </p:cNvPr>
            <p:cNvSpPr txBox="1"/>
            <p:nvPr/>
          </p:nvSpPr>
          <p:spPr>
            <a:xfrm>
              <a:off x="3556964" y="3279046"/>
              <a:ext cx="3621112" cy="83210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5538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56" b="0" i="0" u="none" strike="noStrike" kern="1200" cap="none" spc="-29" normalizeH="0" baseline="0" noProof="0" dirty="0" smtClean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나눔고딕 ExtraBold" panose="020D0904000000000000" pitchFamily="50" charset="-127"/>
                  <a:ea typeface="나눔고딕 ExtraBold" panose="020D0904000000000000" pitchFamily="50" charset="-127"/>
                  <a:cs typeface="+mn-cs"/>
                </a:rPr>
                <a:t>교육용</a:t>
              </a:r>
              <a:endParaRPr kumimoji="0" lang="ko-KR" altLang="en-US" sz="1056" b="0" i="0" u="none" strike="noStrike" kern="1200" cap="none" spc="-29" normalizeH="0" baseline="0" noProof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44585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3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4919166" y="6817199"/>
            <a:ext cx="553357" cy="2696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2226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857A28-F895-4803-B0CB-C750C7786042}" type="slidenum">
              <a:rPr kumimoji="0" lang="ko-KR" altLang="en-US" sz="1152" b="0" i="0" u="none" strike="noStrike" kern="1200" cap="none" spc="0" normalizeH="0" baseline="0" noProof="0" smtClean="0">
                <a:ln>
                  <a:solidFill>
                    <a:srgbClr val="4472C4">
                      <a:lumMod val="60000"/>
                      <a:lumOff val="4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 panose="020B0604020202020204" pitchFamily="34" charset="0"/>
              </a:rPr>
              <a:pPr marL="0" marR="0" lvl="0" indent="0" algn="ctr" defTabSz="92226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152" b="0" i="0" u="none" strike="noStrike" kern="1200" cap="none" spc="0" normalizeH="0" baseline="0" noProof="0" dirty="0">
              <a:ln>
                <a:solidFill>
                  <a:srgbClr val="4472C4">
                    <a:lumMod val="60000"/>
                    <a:lumOff val="4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나눔고딕 ExtraBold" panose="020D0904000000000000" pitchFamily="50" charset="-127"/>
              <a:ea typeface="나눔고딕 ExtraBold" panose="020D0904000000000000" pitchFamily="50" charset="-127"/>
              <a:cs typeface="Arial" panose="020B0604020202020204" pitchFamily="34" charset="0"/>
            </a:endParaRPr>
          </a:p>
        </p:txBody>
      </p:sp>
      <p:pic>
        <p:nvPicPr>
          <p:cNvPr id="6" name="그림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7752" y="6669795"/>
            <a:ext cx="2149294" cy="391998"/>
          </a:xfrm>
          <a:prstGeom prst="rect">
            <a:avLst/>
          </a:prstGeom>
        </p:spPr>
      </p:pic>
      <p:cxnSp>
        <p:nvCxnSpPr>
          <p:cNvPr id="7" name="직선 연결선 6"/>
          <p:cNvCxnSpPr/>
          <p:nvPr userDrawn="1"/>
        </p:nvCxnSpPr>
        <p:spPr>
          <a:xfrm>
            <a:off x="826390" y="868087"/>
            <a:ext cx="9190506" cy="0"/>
          </a:xfrm>
          <a:prstGeom prst="line">
            <a:avLst/>
          </a:prstGeom>
          <a:ln w="25400">
            <a:solidFill>
              <a:srgbClr val="2098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그림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06233" y="449798"/>
            <a:ext cx="529877" cy="418291"/>
          </a:xfrm>
          <a:prstGeom prst="rect">
            <a:avLst/>
          </a:prstGeom>
        </p:spPr>
      </p:pic>
      <p:grpSp>
        <p:nvGrpSpPr>
          <p:cNvPr id="11" name="그룹 10">
            <a:extLst>
              <a:ext uri="{FF2B5EF4-FFF2-40B4-BE49-F238E27FC236}">
                <a16:creationId xmlns:a16="http://schemas.microsoft.com/office/drawing/2014/main" id="{46257DF8-2E73-4438-9D26-302E6098BB44}"/>
              </a:ext>
            </a:extLst>
          </p:cNvPr>
          <p:cNvGrpSpPr/>
          <p:nvPr userDrawn="1"/>
        </p:nvGrpSpPr>
        <p:grpSpPr>
          <a:xfrm>
            <a:off x="9105269" y="916772"/>
            <a:ext cx="911629" cy="254813"/>
            <a:chOff x="3124343" y="3279046"/>
            <a:chExt cx="4494108" cy="832102"/>
          </a:xfrm>
        </p:grpSpPr>
        <p:sp>
          <p:nvSpPr>
            <p:cNvPr id="12" name="사각형: 둥근 위쪽 모서리 2">
              <a:extLst>
                <a:ext uri="{FF2B5EF4-FFF2-40B4-BE49-F238E27FC236}">
                  <a16:creationId xmlns:a16="http://schemas.microsoft.com/office/drawing/2014/main" id="{1822F719-38E4-439D-85F5-677F43662299}"/>
                </a:ext>
              </a:extLst>
            </p:cNvPr>
            <p:cNvSpPr/>
            <p:nvPr/>
          </p:nvSpPr>
          <p:spPr>
            <a:xfrm rot="5400000">
              <a:off x="5045151" y="1442160"/>
              <a:ext cx="652492" cy="4494108"/>
            </a:xfrm>
            <a:prstGeom prst="round2SameRect">
              <a:avLst>
                <a:gd name="adj1" fmla="val 50000"/>
                <a:gd name="adj2" fmla="val 44213"/>
              </a:avLst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5538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2768A57-19FB-4D5F-8790-06E1A9B23289}"/>
                </a:ext>
              </a:extLst>
            </p:cNvPr>
            <p:cNvSpPr txBox="1"/>
            <p:nvPr/>
          </p:nvSpPr>
          <p:spPr>
            <a:xfrm>
              <a:off x="3556964" y="3279046"/>
              <a:ext cx="3621112" cy="83210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5538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56" b="0" i="0" u="none" strike="noStrike" kern="1200" cap="none" spc="-29" normalizeH="0" baseline="0" noProof="0" dirty="0" smtClean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나눔고딕 ExtraBold" panose="020D0904000000000000" pitchFamily="50" charset="-127"/>
                  <a:ea typeface="나눔고딕 ExtraBold" panose="020D0904000000000000" pitchFamily="50" charset="-127"/>
                  <a:cs typeface="+mn-cs"/>
                </a:rPr>
                <a:t>교육용</a:t>
              </a:r>
              <a:endParaRPr kumimoji="0" lang="ko-KR" altLang="en-US" sz="1056" b="0" i="0" u="none" strike="noStrike" kern="1200" cap="none" spc="-29" normalizeH="0" baseline="0" noProof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83904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4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4919166" y="6817199"/>
            <a:ext cx="553357" cy="2696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2226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857A28-F895-4803-B0CB-C750C7786042}" type="slidenum">
              <a:rPr kumimoji="0" lang="ko-KR" altLang="en-US" sz="1152" b="0" i="0" u="none" strike="noStrike" kern="1200" cap="none" spc="0" normalizeH="0" baseline="0" noProof="0" smtClean="0">
                <a:ln>
                  <a:solidFill>
                    <a:srgbClr val="4472C4">
                      <a:lumMod val="60000"/>
                      <a:lumOff val="4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 panose="020B0604020202020204" pitchFamily="34" charset="0"/>
              </a:rPr>
              <a:pPr marL="0" marR="0" lvl="0" indent="0" algn="ctr" defTabSz="92226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152" b="0" i="0" u="none" strike="noStrike" kern="1200" cap="none" spc="0" normalizeH="0" baseline="0" noProof="0" dirty="0">
              <a:ln>
                <a:solidFill>
                  <a:srgbClr val="4472C4">
                    <a:lumMod val="60000"/>
                    <a:lumOff val="4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나눔고딕 ExtraBold" panose="020D0904000000000000" pitchFamily="50" charset="-127"/>
              <a:ea typeface="나눔고딕 ExtraBold" panose="020D0904000000000000" pitchFamily="50" charset="-127"/>
              <a:cs typeface="Arial" panose="020B0604020202020204" pitchFamily="34" charset="0"/>
            </a:endParaRPr>
          </a:p>
        </p:txBody>
      </p:sp>
      <p:pic>
        <p:nvPicPr>
          <p:cNvPr id="6" name="그림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7752" y="6669795"/>
            <a:ext cx="2149294" cy="391998"/>
          </a:xfrm>
          <a:prstGeom prst="rect">
            <a:avLst/>
          </a:prstGeom>
        </p:spPr>
      </p:pic>
      <p:cxnSp>
        <p:nvCxnSpPr>
          <p:cNvPr id="7" name="직선 연결선 6"/>
          <p:cNvCxnSpPr/>
          <p:nvPr userDrawn="1"/>
        </p:nvCxnSpPr>
        <p:spPr>
          <a:xfrm>
            <a:off x="826390" y="868087"/>
            <a:ext cx="9190506" cy="0"/>
          </a:xfrm>
          <a:prstGeom prst="line">
            <a:avLst/>
          </a:prstGeom>
          <a:ln w="25400">
            <a:solidFill>
              <a:srgbClr val="2098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그림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06233" y="449798"/>
            <a:ext cx="529877" cy="418291"/>
          </a:xfrm>
          <a:prstGeom prst="rect">
            <a:avLst/>
          </a:prstGeom>
        </p:spPr>
      </p:pic>
      <p:grpSp>
        <p:nvGrpSpPr>
          <p:cNvPr id="11" name="그룹 10">
            <a:extLst>
              <a:ext uri="{FF2B5EF4-FFF2-40B4-BE49-F238E27FC236}">
                <a16:creationId xmlns:a16="http://schemas.microsoft.com/office/drawing/2014/main" id="{46257DF8-2E73-4438-9D26-302E6098BB44}"/>
              </a:ext>
            </a:extLst>
          </p:cNvPr>
          <p:cNvGrpSpPr/>
          <p:nvPr userDrawn="1"/>
        </p:nvGrpSpPr>
        <p:grpSpPr>
          <a:xfrm>
            <a:off x="9105269" y="916772"/>
            <a:ext cx="911629" cy="254813"/>
            <a:chOff x="3124343" y="3279046"/>
            <a:chExt cx="4494108" cy="832102"/>
          </a:xfrm>
        </p:grpSpPr>
        <p:sp>
          <p:nvSpPr>
            <p:cNvPr id="12" name="사각형: 둥근 위쪽 모서리 2">
              <a:extLst>
                <a:ext uri="{FF2B5EF4-FFF2-40B4-BE49-F238E27FC236}">
                  <a16:creationId xmlns:a16="http://schemas.microsoft.com/office/drawing/2014/main" id="{1822F719-38E4-439D-85F5-677F43662299}"/>
                </a:ext>
              </a:extLst>
            </p:cNvPr>
            <p:cNvSpPr/>
            <p:nvPr/>
          </p:nvSpPr>
          <p:spPr>
            <a:xfrm rot="5400000">
              <a:off x="5045151" y="1442160"/>
              <a:ext cx="652492" cy="4494108"/>
            </a:xfrm>
            <a:prstGeom prst="round2SameRect">
              <a:avLst>
                <a:gd name="adj1" fmla="val 50000"/>
                <a:gd name="adj2" fmla="val 44213"/>
              </a:avLst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5538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2768A57-19FB-4D5F-8790-06E1A9B23289}"/>
                </a:ext>
              </a:extLst>
            </p:cNvPr>
            <p:cNvSpPr txBox="1"/>
            <p:nvPr/>
          </p:nvSpPr>
          <p:spPr>
            <a:xfrm>
              <a:off x="3556964" y="3279046"/>
              <a:ext cx="3621112" cy="83210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5538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56" b="0" i="0" u="none" strike="noStrike" kern="1200" cap="none" spc="-29" normalizeH="0" baseline="0" noProof="0" dirty="0" smtClean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나눔고딕 ExtraBold" panose="020D0904000000000000" pitchFamily="50" charset="-127"/>
                  <a:ea typeface="나눔고딕 ExtraBold" panose="020D0904000000000000" pitchFamily="50" charset="-127"/>
                  <a:cs typeface="+mn-cs"/>
                </a:rPr>
                <a:t>교육용</a:t>
              </a:r>
              <a:endParaRPr kumimoji="0" lang="ko-KR" altLang="en-US" sz="1056" b="0" i="0" u="none" strike="noStrike" kern="1200" cap="none" spc="-29" normalizeH="0" baseline="0" noProof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15940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5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4919166" y="6817199"/>
            <a:ext cx="553357" cy="2696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2226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857A28-F895-4803-B0CB-C750C7786042}" type="slidenum">
              <a:rPr kumimoji="0" lang="ko-KR" altLang="en-US" sz="1152" b="0" i="0" u="none" strike="noStrike" kern="1200" cap="none" spc="0" normalizeH="0" baseline="0" noProof="0" smtClean="0">
                <a:ln>
                  <a:solidFill>
                    <a:srgbClr val="4472C4">
                      <a:lumMod val="60000"/>
                      <a:lumOff val="40000"/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Arial" panose="020B0604020202020204" pitchFamily="34" charset="0"/>
              </a:rPr>
              <a:pPr marL="0" marR="0" lvl="0" indent="0" algn="ctr" defTabSz="92226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152" b="0" i="0" u="none" strike="noStrike" kern="1200" cap="none" spc="0" normalizeH="0" baseline="0" noProof="0" dirty="0">
              <a:ln>
                <a:solidFill>
                  <a:srgbClr val="4472C4">
                    <a:lumMod val="60000"/>
                    <a:lumOff val="40000"/>
                    <a:alpha val="0"/>
                  </a:srgb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나눔고딕 ExtraBold" panose="020D0904000000000000" pitchFamily="50" charset="-127"/>
              <a:ea typeface="나눔고딕 ExtraBold" panose="020D0904000000000000" pitchFamily="50" charset="-127"/>
              <a:cs typeface="Arial" panose="020B0604020202020204" pitchFamily="34" charset="0"/>
            </a:endParaRPr>
          </a:p>
        </p:txBody>
      </p:sp>
      <p:pic>
        <p:nvPicPr>
          <p:cNvPr id="6" name="그림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7752" y="6669795"/>
            <a:ext cx="2149294" cy="391998"/>
          </a:xfrm>
          <a:prstGeom prst="rect">
            <a:avLst/>
          </a:prstGeom>
        </p:spPr>
      </p:pic>
      <p:cxnSp>
        <p:nvCxnSpPr>
          <p:cNvPr id="7" name="직선 연결선 6"/>
          <p:cNvCxnSpPr/>
          <p:nvPr userDrawn="1"/>
        </p:nvCxnSpPr>
        <p:spPr>
          <a:xfrm>
            <a:off x="826390" y="868087"/>
            <a:ext cx="9190506" cy="0"/>
          </a:xfrm>
          <a:prstGeom prst="line">
            <a:avLst/>
          </a:prstGeom>
          <a:ln w="25400">
            <a:solidFill>
              <a:srgbClr val="2098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그림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06233" y="449798"/>
            <a:ext cx="529877" cy="418291"/>
          </a:xfrm>
          <a:prstGeom prst="rect">
            <a:avLst/>
          </a:prstGeom>
        </p:spPr>
      </p:pic>
      <p:grpSp>
        <p:nvGrpSpPr>
          <p:cNvPr id="11" name="그룹 10">
            <a:extLst>
              <a:ext uri="{FF2B5EF4-FFF2-40B4-BE49-F238E27FC236}">
                <a16:creationId xmlns:a16="http://schemas.microsoft.com/office/drawing/2014/main" id="{46257DF8-2E73-4438-9D26-302E6098BB44}"/>
              </a:ext>
            </a:extLst>
          </p:cNvPr>
          <p:cNvGrpSpPr/>
          <p:nvPr userDrawn="1"/>
        </p:nvGrpSpPr>
        <p:grpSpPr>
          <a:xfrm>
            <a:off x="9105269" y="916772"/>
            <a:ext cx="911629" cy="254813"/>
            <a:chOff x="3124343" y="3279046"/>
            <a:chExt cx="4494108" cy="832102"/>
          </a:xfrm>
        </p:grpSpPr>
        <p:sp>
          <p:nvSpPr>
            <p:cNvPr id="12" name="사각형: 둥근 위쪽 모서리 2">
              <a:extLst>
                <a:ext uri="{FF2B5EF4-FFF2-40B4-BE49-F238E27FC236}">
                  <a16:creationId xmlns:a16="http://schemas.microsoft.com/office/drawing/2014/main" id="{1822F719-38E4-439D-85F5-677F43662299}"/>
                </a:ext>
              </a:extLst>
            </p:cNvPr>
            <p:cNvSpPr/>
            <p:nvPr/>
          </p:nvSpPr>
          <p:spPr>
            <a:xfrm rot="5400000">
              <a:off x="5045151" y="1442160"/>
              <a:ext cx="652492" cy="4494108"/>
            </a:xfrm>
            <a:prstGeom prst="round2SameRect">
              <a:avLst>
                <a:gd name="adj1" fmla="val 50000"/>
                <a:gd name="adj2" fmla="val 44213"/>
              </a:avLst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5538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56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바른고딕" panose="020B0603020101020101" pitchFamily="50" charset="-127"/>
                <a:ea typeface="나눔바른고딕" panose="020B0603020101020101" pitchFamily="50" charset="-127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2768A57-19FB-4D5F-8790-06E1A9B23289}"/>
                </a:ext>
              </a:extLst>
            </p:cNvPr>
            <p:cNvSpPr txBox="1"/>
            <p:nvPr/>
          </p:nvSpPr>
          <p:spPr>
            <a:xfrm>
              <a:off x="3556964" y="3279046"/>
              <a:ext cx="3621112" cy="83210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5538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56" b="0" i="0" u="none" strike="noStrike" kern="1200" cap="none" spc="-29" normalizeH="0" baseline="0" noProof="0" dirty="0" smtClean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나눔고딕 ExtraBold" panose="020D0904000000000000" pitchFamily="50" charset="-127"/>
                  <a:ea typeface="나눔고딕 ExtraBold" panose="020D0904000000000000" pitchFamily="50" charset="-127"/>
                  <a:cs typeface="+mn-cs"/>
                </a:rPr>
                <a:t>교육용</a:t>
              </a:r>
              <a:endParaRPr kumimoji="0" lang="ko-KR" altLang="en-US" sz="1056" b="0" i="0" u="none" strike="noStrike" kern="1200" cap="none" spc="-29" normalizeH="0" baseline="0" noProof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09459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6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" y="688"/>
            <a:ext cx="10387751" cy="7257341"/>
          </a:xfrm>
          <a:prstGeom prst="rect">
            <a:avLst/>
          </a:prstGeom>
        </p:spPr>
      </p:pic>
      <p:sp>
        <p:nvSpPr>
          <p:cNvPr id="6" name="슬라이드 번호 개체 틀 2"/>
          <p:cNvSpPr txBox="1">
            <a:spLocks/>
          </p:cNvSpPr>
          <p:nvPr userDrawn="1"/>
        </p:nvSpPr>
        <p:spPr>
          <a:xfrm>
            <a:off x="9691481" y="6967999"/>
            <a:ext cx="631527" cy="322319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91202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0" lang="en-US" altLang="ko-KR" sz="1200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912025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  <p:sp>
        <p:nvSpPr>
          <p:cNvPr id="4" name="직사각형 3"/>
          <p:cNvSpPr/>
          <p:nvPr userDrawn="1"/>
        </p:nvSpPr>
        <p:spPr>
          <a:xfrm>
            <a:off x="9079046" y="29012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marL="0" marR="0" lvl="0" indent="0" algn="ctr" defTabSz="10048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  <p:sp>
        <p:nvSpPr>
          <p:cNvPr id="7" name="직사각형 6"/>
          <p:cNvSpPr/>
          <p:nvPr userDrawn="1"/>
        </p:nvSpPr>
        <p:spPr>
          <a:xfrm>
            <a:off x="9079046" y="349232"/>
            <a:ext cx="1277156" cy="265902"/>
          </a:xfrm>
          <a:prstGeom prst="rect">
            <a:avLst/>
          </a:prstGeom>
          <a:ln w="19050">
            <a:solidFill>
              <a:srgbClr val="FF0000"/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marL="0" marR="0" lvl="0" indent="0" algn="ctr" defTabSz="10048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슬라이드 노트 참고 </a:t>
            </a:r>
          </a:p>
        </p:txBody>
      </p:sp>
    </p:spTree>
    <p:extLst>
      <p:ext uri="{BB962C8B-B14F-4D97-AF65-F5344CB8AC3E}">
        <p14:creationId xmlns:p14="http://schemas.microsoft.com/office/powerpoint/2010/main" val="40931600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" y="693"/>
            <a:ext cx="10387754" cy="7257341"/>
          </a:xfrm>
          <a:prstGeom prst="rect">
            <a:avLst/>
          </a:prstGeom>
        </p:spPr>
      </p:pic>
      <p:sp>
        <p:nvSpPr>
          <p:cNvPr id="6" name="타원 5"/>
          <p:cNvSpPr/>
          <p:nvPr userDrawn="1"/>
        </p:nvSpPr>
        <p:spPr>
          <a:xfrm>
            <a:off x="8194762" y="3933618"/>
            <a:ext cx="2130741" cy="2149978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>
            <a:outerShdw blurRad="381000" dist="419100" dir="5400000" sx="90000" sy="90000" algn="t" rotWithShape="0">
              <a:prstClr val="black">
                <a:alpha val="20000"/>
              </a:prstClr>
            </a:outerShdw>
          </a:effectLst>
        </p:spPr>
        <p:txBody>
          <a:bodyPr lIns="86918" tIns="43457" rIns="86918" bIns="43457" rtlCol="0" anchor="ctr"/>
          <a:lstStyle/>
          <a:p>
            <a:pPr algn="ctr" defTabSz="869148">
              <a:defRPr/>
            </a:pPr>
            <a:endParaRPr lang="ko-KR" altLang="en-US" sz="1200" kern="0" dirty="0">
              <a:solidFill>
                <a:srgbClr val="FFFFFF"/>
              </a:solidFill>
              <a:ea typeface="나눔고딕" panose="020D0604000000000000" pitchFamily="50" charset="-127"/>
            </a:endParaRPr>
          </a:p>
        </p:txBody>
      </p:sp>
      <p:sp>
        <p:nvSpPr>
          <p:cNvPr id="8" name="타원 7"/>
          <p:cNvSpPr/>
          <p:nvPr userDrawn="1"/>
        </p:nvSpPr>
        <p:spPr>
          <a:xfrm>
            <a:off x="5419956" y="5143491"/>
            <a:ext cx="494227" cy="498689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>
            <a:outerShdw blurRad="177800" dist="127000" dir="5400000" algn="t" rotWithShape="0">
              <a:prstClr val="black">
                <a:alpha val="17000"/>
              </a:prstClr>
            </a:outerShdw>
          </a:effectLst>
        </p:spPr>
        <p:txBody>
          <a:bodyPr lIns="86918" tIns="43457" rIns="86918" bIns="43457" rtlCol="0" anchor="ctr"/>
          <a:lstStyle/>
          <a:p>
            <a:pPr algn="ctr" defTabSz="869148">
              <a:defRPr/>
            </a:pPr>
            <a:endParaRPr lang="ko-KR" altLang="en-US" sz="1200" kern="0" dirty="0">
              <a:solidFill>
                <a:srgbClr val="FFFFFF"/>
              </a:solidFill>
              <a:ea typeface="나눔고딕" panose="020D0604000000000000" pitchFamily="50" charset="-127"/>
            </a:endParaRPr>
          </a:p>
        </p:txBody>
      </p:sp>
      <p:sp>
        <p:nvSpPr>
          <p:cNvPr id="9" name="타원 8"/>
          <p:cNvSpPr/>
          <p:nvPr userDrawn="1"/>
        </p:nvSpPr>
        <p:spPr>
          <a:xfrm>
            <a:off x="4625127" y="5697660"/>
            <a:ext cx="1270025" cy="1281492"/>
          </a:xfrm>
          <a:prstGeom prst="ellipse">
            <a:avLst/>
          </a:prstGeom>
          <a:solidFill>
            <a:srgbClr val="99FF99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txBody>
          <a:bodyPr vert="horz" lIns="86918" tIns="43457" rIns="86918" bIns="43457" rtlCol="0" anchor="ctr">
            <a:normAutofit/>
          </a:bodyPr>
          <a:lstStyle/>
          <a:p>
            <a:pPr algn="ctr" defTabSz="869148">
              <a:lnSpc>
                <a:spcPct val="90000"/>
              </a:lnSpc>
              <a:spcBef>
                <a:spcPts val="955"/>
              </a:spcBef>
              <a:defRPr/>
            </a:pPr>
            <a:endParaRPr lang="ko-KR" altLang="en-US" sz="1200" kern="0" dirty="0">
              <a:solidFill>
                <a:srgbClr val="FFFFFF"/>
              </a:solidFill>
              <a:ea typeface="나눔고딕" panose="020D0604000000000000" pitchFamily="50" charset="-127"/>
            </a:endParaRPr>
          </a:p>
        </p:txBody>
      </p:sp>
      <p:sp>
        <p:nvSpPr>
          <p:cNvPr id="10" name="그림 개체 틀 56"/>
          <p:cNvSpPr txBox="1">
            <a:spLocks/>
          </p:cNvSpPr>
          <p:nvPr userDrawn="1"/>
        </p:nvSpPr>
        <p:spPr>
          <a:xfrm>
            <a:off x="8801701" y="4832011"/>
            <a:ext cx="1449315" cy="146240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 w="25400" cap="flat" cmpd="sng" algn="ctr">
            <a:noFill/>
            <a:prstDash val="solid"/>
            <a:miter lim="800000"/>
          </a:ln>
          <a:effectLst>
            <a:outerShdw blurRad="393700" dist="177800" dir="5400000" algn="t" rotWithShape="0">
              <a:prstClr val="black">
                <a:alpha val="23000"/>
              </a:prstClr>
            </a:outerShdw>
          </a:effectLst>
        </p:spPr>
        <p:txBody>
          <a:bodyPr vert="horz" lIns="87032" tIns="43518" rIns="87032" bIns="43518" rtlCol="0" anchor="ctr">
            <a:normAutofit/>
          </a:bodyPr>
          <a:lstStyle>
            <a:lvl1pPr marL="0" indent="0" algn="l" defTabSz="913424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ko-KR" altLang="en-US" sz="800" kern="1200" dirty="0">
                <a:solidFill>
                  <a:srgbClr val="B05989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defRPr>
            </a:lvl1pPr>
            <a:lvl2pPr marL="685067" indent="-228355" algn="l" defTabSz="913424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1778" indent="-228355" algn="l" defTabSz="913424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98488" indent="-228355" algn="l" defTabSz="913424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5200" indent="-228355" algn="l" defTabSz="913424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1912" indent="-228355" algn="l" defTabSz="913424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68622" indent="-228355" algn="l" defTabSz="913424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5333" indent="-228355" algn="l" defTabSz="913424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2043" indent="-228355" algn="l" defTabSz="913424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sz="800"/>
          </a:p>
        </p:txBody>
      </p:sp>
      <p:sp>
        <p:nvSpPr>
          <p:cNvPr id="11" name="타원 10"/>
          <p:cNvSpPr/>
          <p:nvPr userDrawn="1"/>
        </p:nvSpPr>
        <p:spPr>
          <a:xfrm>
            <a:off x="5664262" y="3221111"/>
            <a:ext cx="3368330" cy="3335801"/>
          </a:xfrm>
          <a:prstGeom prst="ellipse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131" tIns="43562" rIns="87131" bIns="43562" rtlCol="0" anchor="ctr"/>
          <a:lstStyle/>
          <a:p>
            <a:pPr algn="ctr" defTabSz="871242"/>
            <a:endParaRPr lang="ko-KR" altLang="en-US" sz="1984" dirty="0">
              <a:solidFill>
                <a:prstClr val="white"/>
              </a:solidFill>
            </a:endParaRPr>
          </a:p>
        </p:txBody>
      </p:sp>
      <p:sp>
        <p:nvSpPr>
          <p:cNvPr id="13" name="직사각형 12"/>
          <p:cNvSpPr/>
          <p:nvPr userDrawn="1"/>
        </p:nvSpPr>
        <p:spPr>
          <a:xfrm>
            <a:off x="9079046" y="29012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algn="ctr"/>
            <a:r>
              <a:rPr lang="ko-KR" altLang="en-US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사내교육용</a:t>
            </a:r>
            <a:r>
              <a:rPr lang="en-US" altLang="ko-KR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(</a:t>
            </a:r>
            <a:r>
              <a:rPr lang="ko-KR" altLang="en-US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대외비</a:t>
            </a:r>
            <a:r>
              <a:rPr lang="en-US" altLang="ko-KR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)</a:t>
            </a:r>
            <a:r>
              <a:rPr lang="ko-KR" altLang="en-US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</a:p>
        </p:txBody>
      </p:sp>
      <p:pic>
        <p:nvPicPr>
          <p:cNvPr id="12" name="그림 1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920448">
            <a:off x="6692246" y="869740"/>
            <a:ext cx="3358891" cy="1889376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34864904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 userDrawn="1"/>
        </p:nvSpPr>
        <p:spPr>
          <a:xfrm>
            <a:off x="9079046" y="29012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algn="ctr"/>
            <a:r>
              <a:rPr lang="ko-KR" altLang="en-US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사내교육용</a:t>
            </a:r>
            <a:r>
              <a:rPr lang="en-US" altLang="ko-KR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(</a:t>
            </a:r>
            <a:r>
              <a:rPr lang="ko-KR" altLang="en-US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대외비</a:t>
            </a:r>
            <a:r>
              <a:rPr lang="en-US" altLang="ko-KR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)</a:t>
            </a:r>
            <a:r>
              <a:rPr lang="ko-KR" altLang="en-US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</a:p>
        </p:txBody>
      </p:sp>
    </p:spTree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7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 descr="img_university_program_03.jpg"/>
          <p:cNvPicPr>
            <a:picLocks noChangeAspect="1"/>
          </p:cNvPicPr>
          <p:nvPr userDrawn="1"/>
        </p:nvPicPr>
        <p:blipFill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lum brigh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3616661"/>
            <a:ext cx="10383839" cy="3671027"/>
          </a:xfrm>
          <a:prstGeom prst="rect">
            <a:avLst/>
          </a:prstGeom>
        </p:spPr>
      </p:pic>
      <p:sp>
        <p:nvSpPr>
          <p:cNvPr id="4" name="직사각형 3"/>
          <p:cNvSpPr/>
          <p:nvPr userDrawn="1"/>
        </p:nvSpPr>
        <p:spPr>
          <a:xfrm>
            <a:off x="0" y="0"/>
            <a:ext cx="10383838" cy="3765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078" tIns="40037" rIns="80078" bIns="40037" anchor="ctr"/>
          <a:lstStyle/>
          <a:p>
            <a:pPr marL="0" marR="0" lvl="0" indent="0" algn="ctr" defTabSz="913977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984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0F3651F7-2466-4722-9C4C-94595706F0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660" y="-1"/>
            <a:ext cx="5915818" cy="7573916"/>
          </a:xfrm>
          <a:prstGeom prst="rect">
            <a:avLst/>
          </a:prstGeom>
        </p:spPr>
      </p:pic>
      <p:sp>
        <p:nvSpPr>
          <p:cNvPr id="11" name="Rectangle 5"/>
          <p:cNvSpPr>
            <a:spLocks noChangeArrowheads="1"/>
          </p:cNvSpPr>
          <p:nvPr userDrawn="1"/>
        </p:nvSpPr>
        <p:spPr bwMode="auto">
          <a:xfrm>
            <a:off x="5911850" y="42865"/>
            <a:ext cx="4471988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5412" tIns="47708" rIns="95412" bIns="47708"/>
          <a:lstStyle/>
          <a:p>
            <a:pPr marL="0" marR="0" lvl="0" indent="0" algn="r" defTabSz="95471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344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FP </a:t>
            </a:r>
            <a:r>
              <a:rPr kumimoji="0" lang="ko-KR" altLang="en-US" sz="1344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교육용</a:t>
            </a:r>
            <a:endParaRPr kumimoji="0" lang="en-US" altLang="ko-KR" sz="1344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39253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8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 descr="img_university_program_03.jpg"/>
          <p:cNvPicPr>
            <a:picLocks noChangeAspect="1"/>
          </p:cNvPicPr>
          <p:nvPr userDrawn="1"/>
        </p:nvPicPr>
        <p:blipFill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lum brigh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3616661"/>
            <a:ext cx="10383839" cy="3671027"/>
          </a:xfrm>
          <a:prstGeom prst="rect">
            <a:avLst/>
          </a:prstGeom>
        </p:spPr>
      </p:pic>
      <p:sp>
        <p:nvSpPr>
          <p:cNvPr id="4" name="직사각형 3"/>
          <p:cNvSpPr/>
          <p:nvPr userDrawn="1"/>
        </p:nvSpPr>
        <p:spPr>
          <a:xfrm>
            <a:off x="0" y="0"/>
            <a:ext cx="10383838" cy="3765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078" tIns="40037" rIns="80078" bIns="40037" anchor="ctr"/>
          <a:lstStyle/>
          <a:p>
            <a:pPr marL="0" marR="0" lvl="0" indent="0" algn="ctr" defTabSz="913977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984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0F3651F7-2466-4722-9C4C-94595706F0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660" y="-1"/>
            <a:ext cx="5915818" cy="7573916"/>
          </a:xfrm>
          <a:prstGeom prst="rect">
            <a:avLst/>
          </a:prstGeom>
        </p:spPr>
      </p:pic>
      <p:sp>
        <p:nvSpPr>
          <p:cNvPr id="11" name="Rectangle 5"/>
          <p:cNvSpPr>
            <a:spLocks noChangeArrowheads="1"/>
          </p:cNvSpPr>
          <p:nvPr userDrawn="1"/>
        </p:nvSpPr>
        <p:spPr bwMode="auto">
          <a:xfrm>
            <a:off x="5911850" y="42865"/>
            <a:ext cx="4471988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5412" tIns="47708" rIns="95412" bIns="47708"/>
          <a:lstStyle/>
          <a:p>
            <a:pPr marL="0" marR="0" lvl="0" indent="0" algn="r" defTabSz="95471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344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FP </a:t>
            </a:r>
            <a:r>
              <a:rPr kumimoji="0" lang="ko-KR" altLang="en-US" sz="1344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교육용</a:t>
            </a:r>
            <a:endParaRPr kumimoji="0" lang="en-US" altLang="ko-KR" sz="1344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7275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9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 descr="img_university_program_03.jpg"/>
          <p:cNvPicPr>
            <a:picLocks noChangeAspect="1"/>
          </p:cNvPicPr>
          <p:nvPr userDrawn="1"/>
        </p:nvPicPr>
        <p:blipFill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lum brigh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3616661"/>
            <a:ext cx="10383839" cy="3671027"/>
          </a:xfrm>
          <a:prstGeom prst="rect">
            <a:avLst/>
          </a:prstGeom>
        </p:spPr>
      </p:pic>
      <p:sp>
        <p:nvSpPr>
          <p:cNvPr id="4" name="직사각형 3"/>
          <p:cNvSpPr/>
          <p:nvPr userDrawn="1"/>
        </p:nvSpPr>
        <p:spPr>
          <a:xfrm>
            <a:off x="0" y="0"/>
            <a:ext cx="10383838" cy="3765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078" tIns="40037" rIns="80078" bIns="40037" anchor="ctr"/>
          <a:lstStyle/>
          <a:p>
            <a:pPr marL="0" marR="0" lvl="0" indent="0" algn="ctr" defTabSz="913977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984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0F3651F7-2466-4722-9C4C-94595706F0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660" y="-1"/>
            <a:ext cx="5915818" cy="7573916"/>
          </a:xfrm>
          <a:prstGeom prst="rect">
            <a:avLst/>
          </a:prstGeom>
        </p:spPr>
      </p:pic>
      <p:sp>
        <p:nvSpPr>
          <p:cNvPr id="11" name="Rectangle 5"/>
          <p:cNvSpPr>
            <a:spLocks noChangeArrowheads="1"/>
          </p:cNvSpPr>
          <p:nvPr userDrawn="1"/>
        </p:nvSpPr>
        <p:spPr bwMode="auto">
          <a:xfrm>
            <a:off x="5911850" y="42865"/>
            <a:ext cx="4471988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5412" tIns="47708" rIns="95412" bIns="47708"/>
          <a:lstStyle/>
          <a:p>
            <a:pPr marL="0" marR="0" lvl="0" indent="0" algn="r" defTabSz="95471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344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FP </a:t>
            </a:r>
            <a:r>
              <a:rPr kumimoji="0" lang="ko-KR" altLang="en-US" sz="1344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교육용</a:t>
            </a:r>
            <a:endParaRPr kumimoji="0" lang="en-US" altLang="ko-KR" sz="1344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34875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0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 descr="img_university_program_03.jpg"/>
          <p:cNvPicPr>
            <a:picLocks noChangeAspect="1"/>
          </p:cNvPicPr>
          <p:nvPr userDrawn="1"/>
        </p:nvPicPr>
        <p:blipFill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lum brigh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3616661"/>
            <a:ext cx="10383839" cy="3671027"/>
          </a:xfrm>
          <a:prstGeom prst="rect">
            <a:avLst/>
          </a:prstGeom>
        </p:spPr>
      </p:pic>
      <p:sp>
        <p:nvSpPr>
          <p:cNvPr id="4" name="직사각형 3"/>
          <p:cNvSpPr/>
          <p:nvPr userDrawn="1"/>
        </p:nvSpPr>
        <p:spPr>
          <a:xfrm>
            <a:off x="0" y="0"/>
            <a:ext cx="10383838" cy="3765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078" tIns="40037" rIns="80078" bIns="40037" anchor="ctr"/>
          <a:lstStyle/>
          <a:p>
            <a:pPr marL="0" marR="0" lvl="0" indent="0" algn="ctr" defTabSz="913977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984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0F3651F7-2466-4722-9C4C-94595706F0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660" y="-1"/>
            <a:ext cx="5915818" cy="7573916"/>
          </a:xfrm>
          <a:prstGeom prst="rect">
            <a:avLst/>
          </a:prstGeom>
        </p:spPr>
      </p:pic>
      <p:sp>
        <p:nvSpPr>
          <p:cNvPr id="11" name="Rectangle 5"/>
          <p:cNvSpPr>
            <a:spLocks noChangeArrowheads="1"/>
          </p:cNvSpPr>
          <p:nvPr userDrawn="1"/>
        </p:nvSpPr>
        <p:spPr bwMode="auto">
          <a:xfrm>
            <a:off x="5911850" y="42865"/>
            <a:ext cx="4471988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5412" tIns="47708" rIns="95412" bIns="47708"/>
          <a:lstStyle/>
          <a:p>
            <a:pPr marL="0" marR="0" lvl="0" indent="0" algn="r" defTabSz="95471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344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FP </a:t>
            </a:r>
            <a:r>
              <a:rPr kumimoji="0" lang="ko-KR" altLang="en-US" sz="1344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교육용</a:t>
            </a:r>
            <a:endParaRPr kumimoji="0" lang="en-US" altLang="ko-KR" sz="1344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142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 descr="img_university_program_03.jpg"/>
          <p:cNvPicPr>
            <a:picLocks noChangeAspect="1"/>
          </p:cNvPicPr>
          <p:nvPr userDrawn="1"/>
        </p:nvPicPr>
        <p:blipFill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lum brigh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3616661"/>
            <a:ext cx="10383839" cy="3671027"/>
          </a:xfrm>
          <a:prstGeom prst="rect">
            <a:avLst/>
          </a:prstGeom>
        </p:spPr>
      </p:pic>
      <p:sp>
        <p:nvSpPr>
          <p:cNvPr id="4" name="직사각형 3"/>
          <p:cNvSpPr/>
          <p:nvPr userDrawn="1"/>
        </p:nvSpPr>
        <p:spPr>
          <a:xfrm>
            <a:off x="0" y="0"/>
            <a:ext cx="10383838" cy="3765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078" tIns="40037" rIns="80078" bIns="40037" anchor="ctr"/>
          <a:lstStyle/>
          <a:p>
            <a:pPr marL="0" marR="0" lvl="0" indent="0" algn="ctr" defTabSz="913977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984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0F3651F7-2466-4722-9C4C-94595706F0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660" y="-1"/>
            <a:ext cx="5915818" cy="7573916"/>
          </a:xfrm>
          <a:prstGeom prst="rect">
            <a:avLst/>
          </a:prstGeom>
        </p:spPr>
      </p:pic>
      <p:sp>
        <p:nvSpPr>
          <p:cNvPr id="11" name="Rectangle 5"/>
          <p:cNvSpPr>
            <a:spLocks noChangeArrowheads="1"/>
          </p:cNvSpPr>
          <p:nvPr userDrawn="1"/>
        </p:nvSpPr>
        <p:spPr bwMode="auto">
          <a:xfrm>
            <a:off x="5911850" y="42865"/>
            <a:ext cx="4471988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5412" tIns="47708" rIns="95412" bIns="47708"/>
          <a:lstStyle/>
          <a:p>
            <a:pPr marL="0" marR="0" lvl="0" indent="0" algn="r" defTabSz="95471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344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FP </a:t>
            </a:r>
            <a:r>
              <a:rPr kumimoji="0" lang="ko-KR" altLang="en-US" sz="1344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교육용</a:t>
            </a:r>
            <a:endParaRPr kumimoji="0" lang="en-US" altLang="ko-KR" sz="1344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0129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2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" y="688"/>
            <a:ext cx="10387751" cy="7257341"/>
          </a:xfrm>
          <a:prstGeom prst="rect">
            <a:avLst/>
          </a:prstGeom>
        </p:spPr>
      </p:pic>
      <p:sp>
        <p:nvSpPr>
          <p:cNvPr id="6" name="슬라이드 번호 개체 틀 2"/>
          <p:cNvSpPr txBox="1">
            <a:spLocks/>
          </p:cNvSpPr>
          <p:nvPr userDrawn="1"/>
        </p:nvSpPr>
        <p:spPr>
          <a:xfrm>
            <a:off x="9691481" y="6967999"/>
            <a:ext cx="631527" cy="322319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91202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0" lang="en-US" altLang="ko-KR" sz="1200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912025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  <p:sp>
        <p:nvSpPr>
          <p:cNvPr id="4" name="직사각형 3"/>
          <p:cNvSpPr/>
          <p:nvPr userDrawn="1"/>
        </p:nvSpPr>
        <p:spPr>
          <a:xfrm>
            <a:off x="9079046" y="29012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marL="0" marR="0" lvl="0" indent="0" algn="ctr" defTabSz="10048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  <p:sp>
        <p:nvSpPr>
          <p:cNvPr id="7" name="직사각형 6"/>
          <p:cNvSpPr/>
          <p:nvPr userDrawn="1"/>
        </p:nvSpPr>
        <p:spPr>
          <a:xfrm>
            <a:off x="9079046" y="349232"/>
            <a:ext cx="1277156" cy="265902"/>
          </a:xfrm>
          <a:prstGeom prst="rect">
            <a:avLst/>
          </a:prstGeom>
          <a:ln w="19050">
            <a:solidFill>
              <a:srgbClr val="FF0000"/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marL="0" marR="0" lvl="0" indent="0" algn="ctr" defTabSz="10048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슬라이드 노트 참고 </a:t>
            </a:r>
          </a:p>
        </p:txBody>
      </p:sp>
    </p:spTree>
    <p:extLst>
      <p:ext uri="{BB962C8B-B14F-4D97-AF65-F5344CB8AC3E}">
        <p14:creationId xmlns:p14="http://schemas.microsoft.com/office/powerpoint/2010/main" val="1768971884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3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" y="672"/>
            <a:ext cx="10387751" cy="7257342"/>
          </a:xfrm>
          <a:prstGeom prst="rect">
            <a:avLst/>
          </a:prstGeom>
        </p:spPr>
      </p:pic>
      <p:sp>
        <p:nvSpPr>
          <p:cNvPr id="5" name="슬라이드 번호 개체 틀 2"/>
          <p:cNvSpPr txBox="1">
            <a:spLocks/>
          </p:cNvSpPr>
          <p:nvPr userDrawn="1"/>
        </p:nvSpPr>
        <p:spPr>
          <a:xfrm>
            <a:off x="9761527" y="6944386"/>
            <a:ext cx="583040" cy="396381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778587" rtl="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1" lang="en-US" altLang="ko-KR" sz="852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778587" rtl="0" eaLnBrk="1" fontAlgn="base" latinLnBrk="1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en-US" altLang="ko-KR" sz="852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0868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4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" y="672"/>
            <a:ext cx="10387751" cy="7257342"/>
          </a:xfrm>
          <a:prstGeom prst="rect">
            <a:avLst/>
          </a:prstGeom>
        </p:spPr>
      </p:pic>
      <p:sp>
        <p:nvSpPr>
          <p:cNvPr id="5" name="슬라이드 번호 개체 틀 2"/>
          <p:cNvSpPr txBox="1">
            <a:spLocks/>
          </p:cNvSpPr>
          <p:nvPr userDrawn="1"/>
        </p:nvSpPr>
        <p:spPr>
          <a:xfrm>
            <a:off x="9761527" y="6944386"/>
            <a:ext cx="583040" cy="396381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778587" rtl="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1" lang="en-US" altLang="ko-KR" sz="852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778587" rtl="0" eaLnBrk="1" fontAlgn="base" latinLnBrk="1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en-US" altLang="ko-KR" sz="852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917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5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" y="672"/>
            <a:ext cx="10387751" cy="7257342"/>
          </a:xfrm>
          <a:prstGeom prst="rect">
            <a:avLst/>
          </a:prstGeom>
        </p:spPr>
      </p:pic>
      <p:sp>
        <p:nvSpPr>
          <p:cNvPr id="5" name="슬라이드 번호 개체 틀 2"/>
          <p:cNvSpPr txBox="1">
            <a:spLocks/>
          </p:cNvSpPr>
          <p:nvPr userDrawn="1"/>
        </p:nvSpPr>
        <p:spPr>
          <a:xfrm>
            <a:off x="9761527" y="6944386"/>
            <a:ext cx="583040" cy="396381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778587" rtl="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1" lang="en-US" altLang="ko-KR" sz="852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778587" rtl="0" eaLnBrk="1" fontAlgn="base" latinLnBrk="1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en-US" altLang="ko-KR" sz="852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1854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6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" y="672"/>
            <a:ext cx="10387751" cy="7257342"/>
          </a:xfrm>
          <a:prstGeom prst="rect">
            <a:avLst/>
          </a:prstGeom>
        </p:spPr>
      </p:pic>
      <p:sp>
        <p:nvSpPr>
          <p:cNvPr id="5" name="슬라이드 번호 개체 틀 2"/>
          <p:cNvSpPr txBox="1">
            <a:spLocks/>
          </p:cNvSpPr>
          <p:nvPr userDrawn="1"/>
        </p:nvSpPr>
        <p:spPr>
          <a:xfrm>
            <a:off x="9761527" y="6944386"/>
            <a:ext cx="583040" cy="396381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778587" rtl="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1" lang="en-US" altLang="ko-KR" sz="852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778587" rtl="0" eaLnBrk="1" fontAlgn="base" latinLnBrk="1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en-US" altLang="ko-KR" sz="852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48441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7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" y="672"/>
            <a:ext cx="10387751" cy="7257342"/>
          </a:xfrm>
          <a:prstGeom prst="rect">
            <a:avLst/>
          </a:prstGeom>
        </p:spPr>
      </p:pic>
      <p:sp>
        <p:nvSpPr>
          <p:cNvPr id="5" name="슬라이드 번호 개체 틀 2"/>
          <p:cNvSpPr txBox="1">
            <a:spLocks/>
          </p:cNvSpPr>
          <p:nvPr userDrawn="1"/>
        </p:nvSpPr>
        <p:spPr>
          <a:xfrm>
            <a:off x="9761527" y="6944386"/>
            <a:ext cx="583040" cy="396381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778587" rtl="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1" lang="en-US" altLang="ko-KR" sz="852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778587" rtl="0" eaLnBrk="1" fontAlgn="base" latinLnBrk="1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en-US" altLang="ko-KR" sz="852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43245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8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" y="672"/>
            <a:ext cx="10387751" cy="7257342"/>
          </a:xfrm>
          <a:prstGeom prst="rect">
            <a:avLst/>
          </a:prstGeom>
        </p:spPr>
      </p:pic>
      <p:sp>
        <p:nvSpPr>
          <p:cNvPr id="5" name="슬라이드 번호 개체 틀 2"/>
          <p:cNvSpPr txBox="1">
            <a:spLocks/>
          </p:cNvSpPr>
          <p:nvPr userDrawn="1"/>
        </p:nvSpPr>
        <p:spPr>
          <a:xfrm>
            <a:off x="9761527" y="6944386"/>
            <a:ext cx="583040" cy="396381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778587" rtl="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1" lang="en-US" altLang="ko-KR" sz="852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778587" rtl="0" eaLnBrk="1" fontAlgn="base" latinLnBrk="1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en-US" altLang="ko-KR" sz="852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6879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9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" y="672"/>
            <a:ext cx="10387751" cy="7257342"/>
          </a:xfrm>
          <a:prstGeom prst="rect">
            <a:avLst/>
          </a:prstGeom>
        </p:spPr>
      </p:pic>
      <p:sp>
        <p:nvSpPr>
          <p:cNvPr id="5" name="슬라이드 번호 개체 틀 2"/>
          <p:cNvSpPr txBox="1">
            <a:spLocks/>
          </p:cNvSpPr>
          <p:nvPr userDrawn="1"/>
        </p:nvSpPr>
        <p:spPr>
          <a:xfrm>
            <a:off x="9761527" y="6944386"/>
            <a:ext cx="583040" cy="396381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778587" rtl="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1" lang="en-US" altLang="ko-KR" sz="852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778587" rtl="0" eaLnBrk="1" fontAlgn="base" latinLnBrk="1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en-US" altLang="ko-KR" sz="852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06734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0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" y="672"/>
            <a:ext cx="10387751" cy="7257342"/>
          </a:xfrm>
          <a:prstGeom prst="rect">
            <a:avLst/>
          </a:prstGeom>
        </p:spPr>
      </p:pic>
      <p:sp>
        <p:nvSpPr>
          <p:cNvPr id="5" name="슬라이드 번호 개체 틀 2"/>
          <p:cNvSpPr txBox="1">
            <a:spLocks/>
          </p:cNvSpPr>
          <p:nvPr userDrawn="1"/>
        </p:nvSpPr>
        <p:spPr>
          <a:xfrm>
            <a:off x="9761527" y="6944386"/>
            <a:ext cx="583040" cy="396381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778587" rtl="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1" lang="en-US" altLang="ko-KR" sz="852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778587" rtl="0" eaLnBrk="1" fontAlgn="base" latinLnBrk="1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en-US" altLang="ko-KR" sz="852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0977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1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" y="672"/>
            <a:ext cx="10387751" cy="7257342"/>
          </a:xfrm>
          <a:prstGeom prst="rect">
            <a:avLst/>
          </a:prstGeom>
        </p:spPr>
      </p:pic>
      <p:sp>
        <p:nvSpPr>
          <p:cNvPr id="5" name="슬라이드 번호 개체 틀 2"/>
          <p:cNvSpPr txBox="1">
            <a:spLocks/>
          </p:cNvSpPr>
          <p:nvPr userDrawn="1"/>
        </p:nvSpPr>
        <p:spPr>
          <a:xfrm>
            <a:off x="9761527" y="6944386"/>
            <a:ext cx="583040" cy="396381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778587" rtl="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1" lang="en-US" altLang="ko-KR" sz="852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778587" rtl="0" eaLnBrk="1" fontAlgn="base" latinLnBrk="1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en-US" altLang="ko-KR" sz="852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4958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2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" y="672"/>
            <a:ext cx="10387751" cy="7257342"/>
          </a:xfrm>
          <a:prstGeom prst="rect">
            <a:avLst/>
          </a:prstGeom>
        </p:spPr>
      </p:pic>
      <p:sp>
        <p:nvSpPr>
          <p:cNvPr id="5" name="슬라이드 번호 개체 틀 2"/>
          <p:cNvSpPr txBox="1">
            <a:spLocks/>
          </p:cNvSpPr>
          <p:nvPr userDrawn="1"/>
        </p:nvSpPr>
        <p:spPr>
          <a:xfrm>
            <a:off x="9761527" y="6944386"/>
            <a:ext cx="583040" cy="396381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778587" rtl="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1" lang="en-US" altLang="ko-KR" sz="852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778587" rtl="0" eaLnBrk="1" fontAlgn="base" latinLnBrk="1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en-US" altLang="ko-KR" sz="852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48474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3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" y="672"/>
            <a:ext cx="10387751" cy="7257342"/>
          </a:xfrm>
          <a:prstGeom prst="rect">
            <a:avLst/>
          </a:prstGeom>
        </p:spPr>
      </p:pic>
      <p:sp>
        <p:nvSpPr>
          <p:cNvPr id="5" name="슬라이드 번호 개체 틀 2"/>
          <p:cNvSpPr txBox="1">
            <a:spLocks/>
          </p:cNvSpPr>
          <p:nvPr userDrawn="1"/>
        </p:nvSpPr>
        <p:spPr>
          <a:xfrm>
            <a:off x="9761527" y="6944386"/>
            <a:ext cx="583040" cy="396381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778587" rtl="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1" lang="en-US" altLang="ko-KR" sz="852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778587" rtl="0" eaLnBrk="1" fontAlgn="base" latinLnBrk="1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en-US" altLang="ko-KR" sz="852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1314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4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" y="672"/>
            <a:ext cx="10387751" cy="7257342"/>
          </a:xfrm>
          <a:prstGeom prst="rect">
            <a:avLst/>
          </a:prstGeom>
        </p:spPr>
      </p:pic>
      <p:sp>
        <p:nvSpPr>
          <p:cNvPr id="5" name="슬라이드 번호 개체 틀 2"/>
          <p:cNvSpPr txBox="1">
            <a:spLocks/>
          </p:cNvSpPr>
          <p:nvPr userDrawn="1"/>
        </p:nvSpPr>
        <p:spPr>
          <a:xfrm>
            <a:off x="9761527" y="6944386"/>
            <a:ext cx="583040" cy="396381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778587" rtl="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1" lang="en-US" altLang="ko-KR" sz="852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778587" rtl="0" eaLnBrk="1" fontAlgn="base" latinLnBrk="1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en-US" altLang="ko-KR" sz="852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12517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5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" y="672"/>
            <a:ext cx="10387751" cy="7257342"/>
          </a:xfrm>
          <a:prstGeom prst="rect">
            <a:avLst/>
          </a:prstGeom>
        </p:spPr>
      </p:pic>
      <p:sp>
        <p:nvSpPr>
          <p:cNvPr id="5" name="슬라이드 번호 개체 틀 2"/>
          <p:cNvSpPr txBox="1">
            <a:spLocks/>
          </p:cNvSpPr>
          <p:nvPr userDrawn="1"/>
        </p:nvSpPr>
        <p:spPr>
          <a:xfrm>
            <a:off x="9761527" y="6944386"/>
            <a:ext cx="583040" cy="396381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778587" rtl="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1" lang="en-US" altLang="ko-KR" sz="852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778587" rtl="0" eaLnBrk="1" fontAlgn="base" latinLnBrk="1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en-US" altLang="ko-KR" sz="852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80224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6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 descr="img_university_program_03.jpg"/>
          <p:cNvPicPr>
            <a:picLocks noChangeAspect="1"/>
          </p:cNvPicPr>
          <p:nvPr userDrawn="1"/>
        </p:nvPicPr>
        <p:blipFill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lum brigh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3616661"/>
            <a:ext cx="10383839" cy="3671027"/>
          </a:xfrm>
          <a:prstGeom prst="rect">
            <a:avLst/>
          </a:prstGeom>
        </p:spPr>
      </p:pic>
      <p:sp>
        <p:nvSpPr>
          <p:cNvPr id="4" name="직사각형 3"/>
          <p:cNvSpPr/>
          <p:nvPr userDrawn="1"/>
        </p:nvSpPr>
        <p:spPr>
          <a:xfrm>
            <a:off x="0" y="0"/>
            <a:ext cx="10383838" cy="3765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078" tIns="40037" rIns="80078" bIns="40037" anchor="ctr"/>
          <a:lstStyle/>
          <a:p>
            <a:pPr marL="0" marR="0" lvl="0" indent="0" algn="ctr" defTabSz="913977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984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0F3651F7-2466-4722-9C4C-94595706F0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660" y="-1"/>
            <a:ext cx="5915818" cy="7573916"/>
          </a:xfrm>
          <a:prstGeom prst="rect">
            <a:avLst/>
          </a:prstGeom>
        </p:spPr>
      </p:pic>
      <p:sp>
        <p:nvSpPr>
          <p:cNvPr id="11" name="Rectangle 5"/>
          <p:cNvSpPr>
            <a:spLocks noChangeArrowheads="1"/>
          </p:cNvSpPr>
          <p:nvPr userDrawn="1"/>
        </p:nvSpPr>
        <p:spPr bwMode="auto">
          <a:xfrm>
            <a:off x="5911850" y="42865"/>
            <a:ext cx="4471988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5412" tIns="47708" rIns="95412" bIns="47708"/>
          <a:lstStyle/>
          <a:p>
            <a:pPr marL="0" marR="0" lvl="0" indent="0" algn="r" defTabSz="95471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344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FP </a:t>
            </a:r>
            <a:r>
              <a:rPr kumimoji="0" lang="ko-KR" altLang="en-US" sz="1344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교육용</a:t>
            </a:r>
            <a:endParaRPr kumimoji="0" lang="en-US" altLang="ko-KR" sz="1344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40816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5262" y="397448"/>
            <a:ext cx="6048584" cy="36755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그림 10" descr="그림1.png"/>
          <p:cNvPicPr>
            <a:picLocks noChangeAspect="1"/>
          </p:cNvPicPr>
          <p:nvPr userDrawn="1"/>
        </p:nvPicPr>
        <p:blipFill>
          <a:blip r:embed="rId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1487" y="-6075"/>
            <a:ext cx="6084771" cy="6050660"/>
          </a:xfrm>
          <a:prstGeom prst="rect">
            <a:avLst/>
          </a:prstGeom>
        </p:spPr>
      </p:pic>
      <p:pic>
        <p:nvPicPr>
          <p:cNvPr id="13" name="그림 12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99" y="-2459"/>
            <a:ext cx="10387755" cy="7257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490450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7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 descr="img_university_program_03.jpg"/>
          <p:cNvPicPr>
            <a:picLocks noChangeAspect="1"/>
          </p:cNvPicPr>
          <p:nvPr userDrawn="1"/>
        </p:nvPicPr>
        <p:blipFill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lum brigh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3616661"/>
            <a:ext cx="10383839" cy="3671027"/>
          </a:xfrm>
          <a:prstGeom prst="rect">
            <a:avLst/>
          </a:prstGeom>
        </p:spPr>
      </p:pic>
      <p:sp>
        <p:nvSpPr>
          <p:cNvPr id="4" name="직사각형 3"/>
          <p:cNvSpPr/>
          <p:nvPr userDrawn="1"/>
        </p:nvSpPr>
        <p:spPr>
          <a:xfrm>
            <a:off x="0" y="0"/>
            <a:ext cx="10383838" cy="3765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078" tIns="40037" rIns="80078" bIns="40037" anchor="ctr"/>
          <a:lstStyle/>
          <a:p>
            <a:pPr marL="0" marR="0" lvl="0" indent="0" algn="ctr" defTabSz="913977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984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0F3651F7-2466-4722-9C4C-94595706F0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660" y="-1"/>
            <a:ext cx="5915818" cy="7573916"/>
          </a:xfrm>
          <a:prstGeom prst="rect">
            <a:avLst/>
          </a:prstGeom>
        </p:spPr>
      </p:pic>
      <p:sp>
        <p:nvSpPr>
          <p:cNvPr id="11" name="Rectangle 5"/>
          <p:cNvSpPr>
            <a:spLocks noChangeArrowheads="1"/>
          </p:cNvSpPr>
          <p:nvPr userDrawn="1"/>
        </p:nvSpPr>
        <p:spPr bwMode="auto">
          <a:xfrm>
            <a:off x="5911850" y="42865"/>
            <a:ext cx="4471988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5412" tIns="47708" rIns="95412" bIns="47708"/>
          <a:lstStyle/>
          <a:p>
            <a:pPr marL="0" marR="0" lvl="0" indent="0" algn="r" defTabSz="95471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344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FP </a:t>
            </a:r>
            <a:r>
              <a:rPr kumimoji="0" lang="ko-KR" altLang="en-US" sz="1344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교육용</a:t>
            </a:r>
            <a:endParaRPr kumimoji="0" lang="en-US" altLang="ko-KR" sz="1344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11783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8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 descr="img_university_program_03.jpg"/>
          <p:cNvPicPr>
            <a:picLocks noChangeAspect="1"/>
          </p:cNvPicPr>
          <p:nvPr userDrawn="1"/>
        </p:nvPicPr>
        <p:blipFill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lum brigh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3616661"/>
            <a:ext cx="10383839" cy="3671027"/>
          </a:xfrm>
          <a:prstGeom prst="rect">
            <a:avLst/>
          </a:prstGeom>
        </p:spPr>
      </p:pic>
      <p:sp>
        <p:nvSpPr>
          <p:cNvPr id="4" name="직사각형 3"/>
          <p:cNvSpPr/>
          <p:nvPr userDrawn="1"/>
        </p:nvSpPr>
        <p:spPr>
          <a:xfrm>
            <a:off x="0" y="0"/>
            <a:ext cx="10383838" cy="3765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078" tIns="40037" rIns="80078" bIns="40037" anchor="ctr"/>
          <a:lstStyle/>
          <a:p>
            <a:pPr marL="0" marR="0" lvl="0" indent="0" algn="ctr" defTabSz="913977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ko-KR" altLang="en-US" sz="1984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0F3651F7-2466-4722-9C4C-94595706F0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660" y="-1"/>
            <a:ext cx="5915818" cy="7573916"/>
          </a:xfrm>
          <a:prstGeom prst="rect">
            <a:avLst/>
          </a:prstGeom>
        </p:spPr>
      </p:pic>
      <p:sp>
        <p:nvSpPr>
          <p:cNvPr id="11" name="Rectangle 5"/>
          <p:cNvSpPr>
            <a:spLocks noChangeArrowheads="1"/>
          </p:cNvSpPr>
          <p:nvPr userDrawn="1"/>
        </p:nvSpPr>
        <p:spPr bwMode="auto">
          <a:xfrm>
            <a:off x="5911850" y="42865"/>
            <a:ext cx="4471988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5412" tIns="47708" rIns="95412" bIns="47708"/>
          <a:lstStyle/>
          <a:p>
            <a:pPr marL="0" marR="0" lvl="0" indent="0" algn="r" defTabSz="95471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344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FP </a:t>
            </a:r>
            <a:r>
              <a:rPr kumimoji="0" lang="ko-KR" altLang="en-US" sz="1344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교육용</a:t>
            </a:r>
            <a:endParaRPr kumimoji="0" lang="en-US" altLang="ko-KR" sz="1344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16210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9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" y="676"/>
            <a:ext cx="10387752" cy="7257341"/>
          </a:xfrm>
          <a:prstGeom prst="rect">
            <a:avLst/>
          </a:prstGeom>
        </p:spPr>
      </p:pic>
      <p:pic>
        <p:nvPicPr>
          <p:cNvPr id="9" name="그림 8" descr="kyobo_logo_typeB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1302" y="167856"/>
            <a:ext cx="1298201" cy="460273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9800667" y="6948403"/>
            <a:ext cx="704869" cy="267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4711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919BE6-35B0-4E23-90C0-D183B1D5ADB3}" type="slidenum">
              <a:rPr kumimoji="0" lang="ko-KR" altLang="en-US" sz="1139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pPr marL="0" marR="0" lvl="0" indent="0" algn="ctr" defTabSz="94711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139" b="0" i="0" u="none" strike="noStrike" kern="1200" cap="none" spc="0" normalizeH="0" baseline="0" noProof="0" dirty="0" smtClean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8099" y="7003241"/>
            <a:ext cx="4369679" cy="2368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543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39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※ </a:t>
            </a:r>
            <a:r>
              <a:rPr kumimoji="0" lang="ko-KR" altLang="en-US" sz="939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본 교육자료는 컨설턴트 교육용으로 고객안내자료로 활용할 수 없습니다</a:t>
            </a:r>
            <a:r>
              <a:rPr kumimoji="0" lang="en-US" altLang="ko-KR" sz="939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.</a:t>
            </a:r>
            <a:endParaRPr kumimoji="0" lang="ko-KR" altLang="en-US" sz="939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교보서체 Regular" panose="020B0600000101010101" pitchFamily="50" charset="-127"/>
              <a:ea typeface="교보서체 Regular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36562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0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" y="676"/>
            <a:ext cx="10387752" cy="7257341"/>
          </a:xfrm>
          <a:prstGeom prst="rect">
            <a:avLst/>
          </a:prstGeom>
        </p:spPr>
      </p:pic>
      <p:pic>
        <p:nvPicPr>
          <p:cNvPr id="9" name="그림 8" descr="kyobo_logo_typeB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1302" y="167856"/>
            <a:ext cx="1298201" cy="460273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9800667" y="6948403"/>
            <a:ext cx="704869" cy="267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4711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919BE6-35B0-4E23-90C0-D183B1D5ADB3}" type="slidenum">
              <a:rPr kumimoji="0" lang="ko-KR" altLang="en-US" sz="1139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pPr marL="0" marR="0" lvl="0" indent="0" algn="ctr" defTabSz="94711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139" b="0" i="0" u="none" strike="noStrike" kern="1200" cap="none" spc="0" normalizeH="0" baseline="0" noProof="0" dirty="0" smtClean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8099" y="7003241"/>
            <a:ext cx="4369679" cy="2368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543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39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※ </a:t>
            </a:r>
            <a:r>
              <a:rPr kumimoji="0" lang="ko-KR" altLang="en-US" sz="939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본 교육자료는 컨설턴트 교육용으로 고객안내자료로 활용할 수 없습니다</a:t>
            </a:r>
            <a:r>
              <a:rPr kumimoji="0" lang="en-US" altLang="ko-KR" sz="939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.</a:t>
            </a:r>
            <a:endParaRPr kumimoji="0" lang="ko-KR" altLang="en-US" sz="939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교보서체 Regular" panose="020B0600000101010101" pitchFamily="50" charset="-127"/>
              <a:ea typeface="교보서체 Regular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15488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" y="676"/>
            <a:ext cx="10387752" cy="7257341"/>
          </a:xfrm>
          <a:prstGeom prst="rect">
            <a:avLst/>
          </a:prstGeom>
        </p:spPr>
      </p:pic>
      <p:pic>
        <p:nvPicPr>
          <p:cNvPr id="9" name="그림 8" descr="kyobo_logo_typeB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1302" y="167856"/>
            <a:ext cx="1298201" cy="460273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9800667" y="6948403"/>
            <a:ext cx="704869" cy="267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4711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919BE6-35B0-4E23-90C0-D183B1D5ADB3}" type="slidenum">
              <a:rPr kumimoji="0" lang="ko-KR" altLang="en-US" sz="1139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pPr marL="0" marR="0" lvl="0" indent="0" algn="ctr" defTabSz="94711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139" b="0" i="0" u="none" strike="noStrike" kern="1200" cap="none" spc="0" normalizeH="0" baseline="0" noProof="0" dirty="0" smtClean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8099" y="7003241"/>
            <a:ext cx="4369679" cy="2368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543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39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※ </a:t>
            </a:r>
            <a:r>
              <a:rPr kumimoji="0" lang="ko-KR" altLang="en-US" sz="939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본 교육자료는 컨설턴트 교육용으로 고객안내자료로 활용할 수 없습니다</a:t>
            </a:r>
            <a:r>
              <a:rPr kumimoji="0" lang="en-US" altLang="ko-KR" sz="939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.</a:t>
            </a:r>
            <a:endParaRPr kumimoji="0" lang="ko-KR" altLang="en-US" sz="939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교보서체 Regular" panose="020B0600000101010101" pitchFamily="50" charset="-127"/>
              <a:ea typeface="교보서체 Regular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8074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2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" y="676"/>
            <a:ext cx="10387752" cy="7257341"/>
          </a:xfrm>
          <a:prstGeom prst="rect">
            <a:avLst/>
          </a:prstGeom>
        </p:spPr>
      </p:pic>
      <p:pic>
        <p:nvPicPr>
          <p:cNvPr id="9" name="그림 8" descr="kyobo_logo_typeB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1302" y="167856"/>
            <a:ext cx="1298201" cy="460273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9800667" y="6948403"/>
            <a:ext cx="704869" cy="267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4711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919BE6-35B0-4E23-90C0-D183B1D5ADB3}" type="slidenum">
              <a:rPr kumimoji="0" lang="ko-KR" altLang="en-US" sz="1139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pPr marL="0" marR="0" lvl="0" indent="0" algn="ctr" defTabSz="94711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139" b="0" i="0" u="none" strike="noStrike" kern="1200" cap="none" spc="0" normalizeH="0" baseline="0" noProof="0" dirty="0" smtClean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8099" y="7003241"/>
            <a:ext cx="4369679" cy="2368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543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39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※ </a:t>
            </a:r>
            <a:r>
              <a:rPr kumimoji="0" lang="ko-KR" altLang="en-US" sz="939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본 교육자료는 컨설턴트 교육용으로 고객안내자료로 활용할 수 없습니다</a:t>
            </a:r>
            <a:r>
              <a:rPr kumimoji="0" lang="en-US" altLang="ko-KR" sz="939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.</a:t>
            </a:r>
            <a:endParaRPr kumimoji="0" lang="ko-KR" altLang="en-US" sz="939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교보서체 Regular" panose="020B0600000101010101" pitchFamily="50" charset="-127"/>
              <a:ea typeface="교보서체 Regular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42868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3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" y="676"/>
            <a:ext cx="10387752" cy="7257341"/>
          </a:xfrm>
          <a:prstGeom prst="rect">
            <a:avLst/>
          </a:prstGeom>
        </p:spPr>
      </p:pic>
      <p:pic>
        <p:nvPicPr>
          <p:cNvPr id="9" name="그림 8" descr="kyobo_logo_typeB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1302" y="167856"/>
            <a:ext cx="1298201" cy="460273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9800667" y="6948403"/>
            <a:ext cx="704869" cy="267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4711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919BE6-35B0-4E23-90C0-D183B1D5ADB3}" type="slidenum">
              <a:rPr kumimoji="0" lang="ko-KR" altLang="en-US" sz="1139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pPr marL="0" marR="0" lvl="0" indent="0" algn="ctr" defTabSz="94711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139" b="0" i="0" u="none" strike="noStrike" kern="1200" cap="none" spc="0" normalizeH="0" baseline="0" noProof="0" dirty="0" smtClean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8099" y="7003241"/>
            <a:ext cx="4369679" cy="2368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543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39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※ </a:t>
            </a:r>
            <a:r>
              <a:rPr kumimoji="0" lang="ko-KR" altLang="en-US" sz="939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본 교육자료는 컨설턴트 교육용으로 고객안내자료로 활용할 수 없습니다</a:t>
            </a:r>
            <a:r>
              <a:rPr kumimoji="0" lang="en-US" altLang="ko-KR" sz="939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.</a:t>
            </a:r>
            <a:endParaRPr kumimoji="0" lang="ko-KR" altLang="en-US" sz="939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교보서체 Regular" panose="020B0600000101010101" pitchFamily="50" charset="-127"/>
              <a:ea typeface="교보서체 Regular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8212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4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" y="689"/>
            <a:ext cx="10387751" cy="7257341"/>
          </a:xfrm>
          <a:prstGeom prst="rect">
            <a:avLst/>
          </a:prstGeom>
        </p:spPr>
      </p:pic>
      <p:sp>
        <p:nvSpPr>
          <p:cNvPr id="6" name="슬라이드 번호 개체 틀 2"/>
          <p:cNvSpPr txBox="1">
            <a:spLocks/>
          </p:cNvSpPr>
          <p:nvPr userDrawn="1"/>
        </p:nvSpPr>
        <p:spPr>
          <a:xfrm>
            <a:off x="9315186" y="6897807"/>
            <a:ext cx="1051068" cy="322320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84958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0" lang="en-US" altLang="ko-KR" sz="2687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pPr marL="0" marR="0" lvl="0" indent="0" algn="r" defTabSz="84958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2687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 ExtraBold" panose="020D0904000000000000" pitchFamily="50" charset="-127"/>
              <a:ea typeface="나눔고딕 ExtraBold" panose="020D0904000000000000" pitchFamily="50" charset="-127"/>
              <a:cs typeface="+mn-cs"/>
            </a:endParaRPr>
          </a:p>
        </p:txBody>
      </p:sp>
      <p:sp>
        <p:nvSpPr>
          <p:cNvPr id="4" name="직사각형 3"/>
          <p:cNvSpPr/>
          <p:nvPr userDrawn="1"/>
        </p:nvSpPr>
        <p:spPr>
          <a:xfrm>
            <a:off x="9079048" y="29012"/>
            <a:ext cx="1277157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3448" tIns="33448" rIns="33448" bIns="33448" anchor="ctr" anchorCtr="0">
            <a:noAutofit/>
          </a:bodyPr>
          <a:lstStyle/>
          <a:p>
            <a:pPr marL="0" marR="0" lvl="0" indent="0" algn="ctr" defTabSz="10048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760279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5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" y="689"/>
            <a:ext cx="10387751" cy="7257341"/>
          </a:xfrm>
          <a:prstGeom prst="rect">
            <a:avLst/>
          </a:prstGeom>
        </p:spPr>
      </p:pic>
      <p:sp>
        <p:nvSpPr>
          <p:cNvPr id="6" name="슬라이드 번호 개체 틀 2"/>
          <p:cNvSpPr txBox="1">
            <a:spLocks/>
          </p:cNvSpPr>
          <p:nvPr userDrawn="1"/>
        </p:nvSpPr>
        <p:spPr>
          <a:xfrm>
            <a:off x="9315186" y="6897807"/>
            <a:ext cx="1051068" cy="322320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84958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0" lang="en-US" altLang="ko-KR" sz="2687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pPr marL="0" marR="0" lvl="0" indent="0" algn="r" defTabSz="84958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2687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 ExtraBold" panose="020D0904000000000000" pitchFamily="50" charset="-127"/>
              <a:ea typeface="나눔고딕 ExtraBold" panose="020D0904000000000000" pitchFamily="50" charset="-127"/>
              <a:cs typeface="+mn-cs"/>
            </a:endParaRPr>
          </a:p>
        </p:txBody>
      </p:sp>
      <p:sp>
        <p:nvSpPr>
          <p:cNvPr id="4" name="직사각형 3"/>
          <p:cNvSpPr/>
          <p:nvPr userDrawn="1"/>
        </p:nvSpPr>
        <p:spPr>
          <a:xfrm>
            <a:off x="9079048" y="29012"/>
            <a:ext cx="1277157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3448" tIns="33448" rIns="33448" bIns="33448" anchor="ctr" anchorCtr="0">
            <a:noAutofit/>
          </a:bodyPr>
          <a:lstStyle/>
          <a:p>
            <a:pPr marL="0" marR="0" lvl="0" indent="0" algn="ctr" defTabSz="10048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040778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6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" y="689"/>
            <a:ext cx="10387751" cy="7257341"/>
          </a:xfrm>
          <a:prstGeom prst="rect">
            <a:avLst/>
          </a:prstGeom>
        </p:spPr>
      </p:pic>
      <p:sp>
        <p:nvSpPr>
          <p:cNvPr id="6" name="슬라이드 번호 개체 틀 2"/>
          <p:cNvSpPr txBox="1">
            <a:spLocks/>
          </p:cNvSpPr>
          <p:nvPr userDrawn="1"/>
        </p:nvSpPr>
        <p:spPr>
          <a:xfrm>
            <a:off x="9315186" y="6897807"/>
            <a:ext cx="1051068" cy="322320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84958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0" lang="en-US" altLang="ko-KR" sz="2687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pPr marL="0" marR="0" lvl="0" indent="0" algn="r" defTabSz="84958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2687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 ExtraBold" panose="020D0904000000000000" pitchFamily="50" charset="-127"/>
              <a:ea typeface="나눔고딕 ExtraBold" panose="020D0904000000000000" pitchFamily="50" charset="-127"/>
              <a:cs typeface="+mn-cs"/>
            </a:endParaRPr>
          </a:p>
        </p:txBody>
      </p:sp>
      <p:sp>
        <p:nvSpPr>
          <p:cNvPr id="4" name="직사각형 3"/>
          <p:cNvSpPr/>
          <p:nvPr userDrawn="1"/>
        </p:nvSpPr>
        <p:spPr>
          <a:xfrm>
            <a:off x="9079048" y="29012"/>
            <a:ext cx="1277157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3448" tIns="33448" rIns="33448" bIns="33448" anchor="ctr" anchorCtr="0">
            <a:noAutofit/>
          </a:bodyPr>
          <a:lstStyle/>
          <a:p>
            <a:pPr marL="0" marR="0" lvl="0" indent="0" algn="ctr" defTabSz="10048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315167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/>
          <p:cNvSpPr/>
          <p:nvPr userDrawn="1"/>
        </p:nvSpPr>
        <p:spPr>
          <a:xfrm>
            <a:off x="16" y="13"/>
            <a:ext cx="10383838" cy="19692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698" tIns="43849" rIns="87698" bIns="43849" rtlCol="0" anchor="ctr"/>
          <a:lstStyle/>
          <a:p>
            <a:pPr marL="0" marR="0" lvl="0" indent="0" algn="ctr" defTabSz="95461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1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24" y="1036352"/>
            <a:ext cx="10384962" cy="52856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그림 8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0998" y="4192770"/>
            <a:ext cx="8622090" cy="3050752"/>
          </a:xfrm>
          <a:prstGeom prst="rect">
            <a:avLst/>
          </a:prstGeom>
        </p:spPr>
      </p:pic>
      <p:pic>
        <p:nvPicPr>
          <p:cNvPr id="3" name="그림 2">
            <a:extLst>
              <a:ext uri="{FF2B5EF4-FFF2-40B4-BE49-F238E27FC236}">
                <a16:creationId xmlns:a16="http://schemas.microsoft.com/office/drawing/2014/main" id="{0F3651F7-2466-4722-9C4C-94595706F0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0" t="6506"/>
          <a:stretch/>
        </p:blipFill>
        <p:spPr>
          <a:xfrm>
            <a:off x="-24664" y="-1"/>
            <a:ext cx="5870882" cy="7516384"/>
          </a:xfrm>
          <a:prstGeom prst="rect">
            <a:avLst/>
          </a:prstGeom>
        </p:spPr>
      </p:pic>
      <p:sp>
        <p:nvSpPr>
          <p:cNvPr id="7" name="직사각형 6"/>
          <p:cNvSpPr/>
          <p:nvPr userDrawn="1"/>
        </p:nvSpPr>
        <p:spPr>
          <a:xfrm>
            <a:off x="9079046" y="29012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algn="ctr"/>
            <a:r>
              <a:rPr lang="ko-KR" altLang="en-US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사내교육용</a:t>
            </a:r>
            <a:r>
              <a:rPr lang="en-US" altLang="ko-KR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(</a:t>
            </a:r>
            <a:r>
              <a:rPr lang="ko-KR" altLang="en-US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대외비</a:t>
            </a:r>
            <a:r>
              <a:rPr lang="en-US" altLang="ko-KR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)</a:t>
            </a:r>
            <a:r>
              <a:rPr lang="ko-KR" altLang="en-US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30626886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7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" y="689"/>
            <a:ext cx="10387751" cy="7257341"/>
          </a:xfrm>
          <a:prstGeom prst="rect">
            <a:avLst/>
          </a:prstGeom>
        </p:spPr>
      </p:pic>
      <p:sp>
        <p:nvSpPr>
          <p:cNvPr id="6" name="슬라이드 번호 개체 틀 2"/>
          <p:cNvSpPr txBox="1">
            <a:spLocks/>
          </p:cNvSpPr>
          <p:nvPr userDrawn="1"/>
        </p:nvSpPr>
        <p:spPr>
          <a:xfrm>
            <a:off x="9315186" y="6897807"/>
            <a:ext cx="1051068" cy="322320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84958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0" lang="en-US" altLang="ko-KR" sz="2687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pPr marL="0" marR="0" lvl="0" indent="0" algn="r" defTabSz="84958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2687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 ExtraBold" panose="020D0904000000000000" pitchFamily="50" charset="-127"/>
              <a:ea typeface="나눔고딕 ExtraBold" panose="020D0904000000000000" pitchFamily="50" charset="-127"/>
              <a:cs typeface="+mn-cs"/>
            </a:endParaRPr>
          </a:p>
        </p:txBody>
      </p:sp>
      <p:sp>
        <p:nvSpPr>
          <p:cNvPr id="4" name="직사각형 3"/>
          <p:cNvSpPr/>
          <p:nvPr userDrawn="1"/>
        </p:nvSpPr>
        <p:spPr>
          <a:xfrm>
            <a:off x="9079048" y="29012"/>
            <a:ext cx="1277157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3448" tIns="33448" rIns="33448" bIns="33448" anchor="ctr" anchorCtr="0">
            <a:noAutofit/>
          </a:bodyPr>
          <a:lstStyle/>
          <a:p>
            <a:pPr marL="0" marR="0" lvl="0" indent="0" algn="ctr" defTabSz="10048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733274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9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" y="689"/>
            <a:ext cx="10387751" cy="7257341"/>
          </a:xfrm>
          <a:prstGeom prst="rect">
            <a:avLst/>
          </a:prstGeom>
        </p:spPr>
      </p:pic>
      <p:sp>
        <p:nvSpPr>
          <p:cNvPr id="6" name="슬라이드 번호 개체 틀 2"/>
          <p:cNvSpPr txBox="1">
            <a:spLocks/>
          </p:cNvSpPr>
          <p:nvPr userDrawn="1"/>
        </p:nvSpPr>
        <p:spPr>
          <a:xfrm>
            <a:off x="9315186" y="6897807"/>
            <a:ext cx="1051068" cy="322320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84958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0" lang="en-US" altLang="ko-KR" sz="2687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pPr marL="0" marR="0" lvl="0" indent="0" algn="r" defTabSz="84958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2687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 ExtraBold" panose="020D0904000000000000" pitchFamily="50" charset="-127"/>
              <a:ea typeface="나눔고딕 ExtraBold" panose="020D0904000000000000" pitchFamily="50" charset="-127"/>
              <a:cs typeface="+mn-cs"/>
            </a:endParaRPr>
          </a:p>
        </p:txBody>
      </p:sp>
      <p:sp>
        <p:nvSpPr>
          <p:cNvPr id="4" name="직사각형 3"/>
          <p:cNvSpPr/>
          <p:nvPr userDrawn="1"/>
        </p:nvSpPr>
        <p:spPr>
          <a:xfrm>
            <a:off x="9079048" y="29012"/>
            <a:ext cx="1277157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3448" tIns="33448" rIns="33448" bIns="33448" anchor="ctr" anchorCtr="0">
            <a:noAutofit/>
          </a:bodyPr>
          <a:lstStyle/>
          <a:p>
            <a:pPr marL="0" marR="0" lvl="0" indent="0" algn="ctr" defTabSz="10048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578838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0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" y="689"/>
            <a:ext cx="10387751" cy="7257341"/>
          </a:xfrm>
          <a:prstGeom prst="rect">
            <a:avLst/>
          </a:prstGeom>
        </p:spPr>
      </p:pic>
      <p:sp>
        <p:nvSpPr>
          <p:cNvPr id="6" name="슬라이드 번호 개체 틀 2"/>
          <p:cNvSpPr txBox="1">
            <a:spLocks/>
          </p:cNvSpPr>
          <p:nvPr userDrawn="1"/>
        </p:nvSpPr>
        <p:spPr>
          <a:xfrm>
            <a:off x="9315186" y="6897807"/>
            <a:ext cx="1051068" cy="322320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84958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0" lang="en-US" altLang="ko-KR" sz="2687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pPr marL="0" marR="0" lvl="0" indent="0" algn="r" defTabSz="84958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2687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 ExtraBold" panose="020D0904000000000000" pitchFamily="50" charset="-127"/>
              <a:ea typeface="나눔고딕 ExtraBold" panose="020D0904000000000000" pitchFamily="50" charset="-127"/>
              <a:cs typeface="+mn-cs"/>
            </a:endParaRPr>
          </a:p>
        </p:txBody>
      </p:sp>
      <p:sp>
        <p:nvSpPr>
          <p:cNvPr id="4" name="직사각형 3"/>
          <p:cNvSpPr/>
          <p:nvPr userDrawn="1"/>
        </p:nvSpPr>
        <p:spPr>
          <a:xfrm>
            <a:off x="9079048" y="29012"/>
            <a:ext cx="1277157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3448" tIns="33448" rIns="33448" bIns="33448" anchor="ctr" anchorCtr="0">
            <a:noAutofit/>
          </a:bodyPr>
          <a:lstStyle/>
          <a:p>
            <a:pPr marL="0" marR="0" lvl="0" indent="0" algn="ctr" defTabSz="10048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659209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1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" y="689"/>
            <a:ext cx="10387751" cy="7257341"/>
          </a:xfrm>
          <a:prstGeom prst="rect">
            <a:avLst/>
          </a:prstGeom>
        </p:spPr>
      </p:pic>
      <p:sp>
        <p:nvSpPr>
          <p:cNvPr id="6" name="슬라이드 번호 개체 틀 2"/>
          <p:cNvSpPr txBox="1">
            <a:spLocks/>
          </p:cNvSpPr>
          <p:nvPr userDrawn="1"/>
        </p:nvSpPr>
        <p:spPr>
          <a:xfrm>
            <a:off x="9315186" y="6897807"/>
            <a:ext cx="1051068" cy="322320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84958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0" lang="en-US" altLang="ko-KR" sz="2687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pPr marL="0" marR="0" lvl="0" indent="0" algn="r" defTabSz="84958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2687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 ExtraBold" panose="020D0904000000000000" pitchFamily="50" charset="-127"/>
              <a:ea typeface="나눔고딕 ExtraBold" panose="020D0904000000000000" pitchFamily="50" charset="-127"/>
              <a:cs typeface="+mn-cs"/>
            </a:endParaRPr>
          </a:p>
        </p:txBody>
      </p:sp>
      <p:sp>
        <p:nvSpPr>
          <p:cNvPr id="4" name="직사각형 3"/>
          <p:cNvSpPr/>
          <p:nvPr userDrawn="1"/>
        </p:nvSpPr>
        <p:spPr>
          <a:xfrm>
            <a:off x="9079048" y="29012"/>
            <a:ext cx="1277157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3448" tIns="33448" rIns="33448" bIns="33448" anchor="ctr" anchorCtr="0">
            <a:noAutofit/>
          </a:bodyPr>
          <a:lstStyle/>
          <a:p>
            <a:pPr marL="0" marR="0" lvl="0" indent="0" algn="ctr" defTabSz="10048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07422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2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" y="689"/>
            <a:ext cx="10387751" cy="7257341"/>
          </a:xfrm>
          <a:prstGeom prst="rect">
            <a:avLst/>
          </a:prstGeom>
        </p:spPr>
      </p:pic>
      <p:sp>
        <p:nvSpPr>
          <p:cNvPr id="6" name="슬라이드 번호 개체 틀 2"/>
          <p:cNvSpPr txBox="1">
            <a:spLocks/>
          </p:cNvSpPr>
          <p:nvPr userDrawn="1"/>
        </p:nvSpPr>
        <p:spPr>
          <a:xfrm>
            <a:off x="9315186" y="6897807"/>
            <a:ext cx="1051068" cy="322320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84958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0" lang="en-US" altLang="ko-KR" sz="2687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pPr marL="0" marR="0" lvl="0" indent="0" algn="r" defTabSz="84958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2687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 ExtraBold" panose="020D0904000000000000" pitchFamily="50" charset="-127"/>
              <a:ea typeface="나눔고딕 ExtraBold" panose="020D0904000000000000" pitchFamily="50" charset="-127"/>
              <a:cs typeface="+mn-cs"/>
            </a:endParaRPr>
          </a:p>
        </p:txBody>
      </p:sp>
      <p:sp>
        <p:nvSpPr>
          <p:cNvPr id="4" name="직사각형 3"/>
          <p:cNvSpPr/>
          <p:nvPr userDrawn="1"/>
        </p:nvSpPr>
        <p:spPr>
          <a:xfrm>
            <a:off x="9079048" y="29012"/>
            <a:ext cx="1277157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3448" tIns="33448" rIns="33448" bIns="33448" anchor="ctr" anchorCtr="0">
            <a:noAutofit/>
          </a:bodyPr>
          <a:lstStyle/>
          <a:p>
            <a:pPr marL="0" marR="0" lvl="0" indent="0" algn="ctr" defTabSz="10048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013830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3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" y="689"/>
            <a:ext cx="10387751" cy="7257341"/>
          </a:xfrm>
          <a:prstGeom prst="rect">
            <a:avLst/>
          </a:prstGeom>
        </p:spPr>
      </p:pic>
      <p:sp>
        <p:nvSpPr>
          <p:cNvPr id="6" name="슬라이드 번호 개체 틀 2"/>
          <p:cNvSpPr txBox="1">
            <a:spLocks/>
          </p:cNvSpPr>
          <p:nvPr userDrawn="1"/>
        </p:nvSpPr>
        <p:spPr>
          <a:xfrm>
            <a:off x="9315186" y="6897807"/>
            <a:ext cx="1051068" cy="322320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84958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0" lang="en-US" altLang="ko-KR" sz="2687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pPr marL="0" marR="0" lvl="0" indent="0" algn="r" defTabSz="84958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2687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 ExtraBold" panose="020D0904000000000000" pitchFamily="50" charset="-127"/>
              <a:ea typeface="나눔고딕 ExtraBold" panose="020D0904000000000000" pitchFamily="50" charset="-127"/>
              <a:cs typeface="+mn-cs"/>
            </a:endParaRPr>
          </a:p>
        </p:txBody>
      </p:sp>
      <p:sp>
        <p:nvSpPr>
          <p:cNvPr id="4" name="직사각형 3"/>
          <p:cNvSpPr/>
          <p:nvPr userDrawn="1"/>
        </p:nvSpPr>
        <p:spPr>
          <a:xfrm>
            <a:off x="9079048" y="29012"/>
            <a:ext cx="1277157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3448" tIns="33448" rIns="33448" bIns="33448" anchor="ctr" anchorCtr="0">
            <a:noAutofit/>
          </a:bodyPr>
          <a:lstStyle/>
          <a:p>
            <a:pPr marL="0" marR="0" lvl="0" indent="0" algn="ctr" defTabSz="10048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240503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4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" y="689"/>
            <a:ext cx="10387751" cy="7257341"/>
          </a:xfrm>
          <a:prstGeom prst="rect">
            <a:avLst/>
          </a:prstGeom>
        </p:spPr>
      </p:pic>
      <p:sp>
        <p:nvSpPr>
          <p:cNvPr id="6" name="슬라이드 번호 개체 틀 2"/>
          <p:cNvSpPr txBox="1">
            <a:spLocks/>
          </p:cNvSpPr>
          <p:nvPr userDrawn="1"/>
        </p:nvSpPr>
        <p:spPr>
          <a:xfrm>
            <a:off x="9315186" y="6897807"/>
            <a:ext cx="1051068" cy="322320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84958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0" lang="en-US" altLang="ko-KR" sz="2687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pPr marL="0" marR="0" lvl="0" indent="0" algn="r" defTabSz="84958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2687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 ExtraBold" panose="020D0904000000000000" pitchFamily="50" charset="-127"/>
              <a:ea typeface="나눔고딕 ExtraBold" panose="020D0904000000000000" pitchFamily="50" charset="-127"/>
              <a:cs typeface="+mn-cs"/>
            </a:endParaRPr>
          </a:p>
        </p:txBody>
      </p:sp>
      <p:sp>
        <p:nvSpPr>
          <p:cNvPr id="4" name="직사각형 3"/>
          <p:cNvSpPr/>
          <p:nvPr userDrawn="1"/>
        </p:nvSpPr>
        <p:spPr>
          <a:xfrm>
            <a:off x="9079048" y="29012"/>
            <a:ext cx="1277157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3448" tIns="33448" rIns="33448" bIns="33448" anchor="ctr" anchorCtr="0">
            <a:noAutofit/>
          </a:bodyPr>
          <a:lstStyle/>
          <a:p>
            <a:pPr marL="0" marR="0" lvl="0" indent="0" algn="ctr" defTabSz="10048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430497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5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" y="689"/>
            <a:ext cx="10387751" cy="7257341"/>
          </a:xfrm>
          <a:prstGeom prst="rect">
            <a:avLst/>
          </a:prstGeom>
        </p:spPr>
      </p:pic>
      <p:sp>
        <p:nvSpPr>
          <p:cNvPr id="6" name="슬라이드 번호 개체 틀 2"/>
          <p:cNvSpPr txBox="1">
            <a:spLocks/>
          </p:cNvSpPr>
          <p:nvPr userDrawn="1"/>
        </p:nvSpPr>
        <p:spPr>
          <a:xfrm>
            <a:off x="9315186" y="6897807"/>
            <a:ext cx="1051068" cy="322320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84958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0" lang="en-US" altLang="ko-KR" sz="2687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pPr marL="0" marR="0" lvl="0" indent="0" algn="r" defTabSz="84958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2687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 ExtraBold" panose="020D0904000000000000" pitchFamily="50" charset="-127"/>
              <a:ea typeface="나눔고딕 ExtraBold" panose="020D0904000000000000" pitchFamily="50" charset="-127"/>
              <a:cs typeface="+mn-cs"/>
            </a:endParaRPr>
          </a:p>
        </p:txBody>
      </p:sp>
      <p:sp>
        <p:nvSpPr>
          <p:cNvPr id="4" name="직사각형 3"/>
          <p:cNvSpPr/>
          <p:nvPr userDrawn="1"/>
        </p:nvSpPr>
        <p:spPr>
          <a:xfrm>
            <a:off x="9079048" y="29012"/>
            <a:ext cx="1277157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3448" tIns="33448" rIns="33448" bIns="33448" anchor="ctr" anchorCtr="0">
            <a:noAutofit/>
          </a:bodyPr>
          <a:lstStyle/>
          <a:p>
            <a:pPr marL="0" marR="0" lvl="0" indent="0" algn="ctr" defTabSz="10048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348697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6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" y="689"/>
            <a:ext cx="10387751" cy="7257341"/>
          </a:xfrm>
          <a:prstGeom prst="rect">
            <a:avLst/>
          </a:prstGeom>
        </p:spPr>
      </p:pic>
      <p:sp>
        <p:nvSpPr>
          <p:cNvPr id="6" name="슬라이드 번호 개체 틀 2"/>
          <p:cNvSpPr txBox="1">
            <a:spLocks/>
          </p:cNvSpPr>
          <p:nvPr userDrawn="1"/>
        </p:nvSpPr>
        <p:spPr>
          <a:xfrm>
            <a:off x="9315186" y="6897807"/>
            <a:ext cx="1051068" cy="322320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84958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0" lang="en-US" altLang="ko-KR" sz="2687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pPr marL="0" marR="0" lvl="0" indent="0" algn="r" defTabSz="84958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2687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 ExtraBold" panose="020D0904000000000000" pitchFamily="50" charset="-127"/>
              <a:ea typeface="나눔고딕 ExtraBold" panose="020D0904000000000000" pitchFamily="50" charset="-127"/>
              <a:cs typeface="+mn-cs"/>
            </a:endParaRPr>
          </a:p>
        </p:txBody>
      </p:sp>
      <p:sp>
        <p:nvSpPr>
          <p:cNvPr id="4" name="직사각형 3"/>
          <p:cNvSpPr/>
          <p:nvPr userDrawn="1"/>
        </p:nvSpPr>
        <p:spPr>
          <a:xfrm>
            <a:off x="9079048" y="29012"/>
            <a:ext cx="1277157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3448" tIns="33448" rIns="33448" bIns="33448" anchor="ctr" anchorCtr="0">
            <a:noAutofit/>
          </a:bodyPr>
          <a:lstStyle/>
          <a:p>
            <a:pPr marL="0" marR="0" lvl="0" indent="0" algn="ctr" defTabSz="10048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882954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7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" y="689"/>
            <a:ext cx="10387751" cy="7257341"/>
          </a:xfrm>
          <a:prstGeom prst="rect">
            <a:avLst/>
          </a:prstGeom>
        </p:spPr>
      </p:pic>
      <p:sp>
        <p:nvSpPr>
          <p:cNvPr id="6" name="슬라이드 번호 개체 틀 2"/>
          <p:cNvSpPr txBox="1">
            <a:spLocks/>
          </p:cNvSpPr>
          <p:nvPr userDrawn="1"/>
        </p:nvSpPr>
        <p:spPr>
          <a:xfrm>
            <a:off x="9315186" y="6897807"/>
            <a:ext cx="1051068" cy="322320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84958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0" lang="en-US" altLang="ko-KR" sz="2687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pPr marL="0" marR="0" lvl="0" indent="0" algn="r" defTabSz="84958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2687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 ExtraBold" panose="020D0904000000000000" pitchFamily="50" charset="-127"/>
              <a:ea typeface="나눔고딕 ExtraBold" panose="020D0904000000000000" pitchFamily="50" charset="-127"/>
              <a:cs typeface="+mn-cs"/>
            </a:endParaRPr>
          </a:p>
        </p:txBody>
      </p:sp>
      <p:sp>
        <p:nvSpPr>
          <p:cNvPr id="4" name="직사각형 3"/>
          <p:cNvSpPr/>
          <p:nvPr userDrawn="1"/>
        </p:nvSpPr>
        <p:spPr>
          <a:xfrm>
            <a:off x="9079048" y="29012"/>
            <a:ext cx="1277157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3448" tIns="33448" rIns="33448" bIns="33448" anchor="ctr" anchorCtr="0">
            <a:noAutofit/>
          </a:bodyPr>
          <a:lstStyle/>
          <a:p>
            <a:pPr marL="0" marR="0" lvl="0" indent="0" algn="ctr" defTabSz="100488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93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22097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그림 29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9" y="1670517"/>
            <a:ext cx="10363755" cy="3675937"/>
          </a:xfrm>
          <a:prstGeom prst="rect">
            <a:avLst/>
          </a:prstGeom>
        </p:spPr>
      </p:pic>
      <p:pic>
        <p:nvPicPr>
          <p:cNvPr id="21" name="그림 2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8934" y="2374991"/>
            <a:ext cx="2456683" cy="1478511"/>
          </a:xfrm>
          <a:prstGeom prst="rect">
            <a:avLst/>
          </a:prstGeom>
        </p:spPr>
      </p:pic>
      <p:pic>
        <p:nvPicPr>
          <p:cNvPr id="12" name="그림 11" descr="그림2.png"/>
          <p:cNvPicPr>
            <a:picLocks noChangeAspect="1"/>
          </p:cNvPicPr>
          <p:nvPr userDrawn="1"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5647" y="103837"/>
            <a:ext cx="2530914" cy="3316330"/>
          </a:xfrm>
          <a:prstGeom prst="rect">
            <a:avLst/>
          </a:prstGeom>
        </p:spPr>
      </p:pic>
      <p:pic>
        <p:nvPicPr>
          <p:cNvPr id="7" name="그림 6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127"/>
            <a:ext cx="10366254" cy="7246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2525813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8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" y="676"/>
            <a:ext cx="10387752" cy="7257341"/>
          </a:xfrm>
          <a:prstGeom prst="rect">
            <a:avLst/>
          </a:prstGeom>
        </p:spPr>
      </p:pic>
      <p:pic>
        <p:nvPicPr>
          <p:cNvPr id="9" name="그림 8" descr="kyobo_logo_typeB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1302" y="167856"/>
            <a:ext cx="1298201" cy="460273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9800667" y="6948403"/>
            <a:ext cx="704869" cy="267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4711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919BE6-35B0-4E23-90C0-D183B1D5ADB3}" type="slidenum">
              <a:rPr kumimoji="0" lang="ko-KR" altLang="en-US" sz="1139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pPr marL="0" marR="0" lvl="0" indent="0" algn="ctr" defTabSz="94711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139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8099" y="7003241"/>
            <a:ext cx="4369679" cy="2368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543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39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※ </a:t>
            </a:r>
            <a:r>
              <a:rPr kumimoji="0" lang="ko-KR" altLang="en-US" sz="939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본 교육자료는 컨설턴트 교육용으로 고객안내자료로 활용할 수 없습니다</a:t>
            </a:r>
            <a:r>
              <a:rPr kumimoji="0" lang="en-US" altLang="ko-KR" sz="939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.</a:t>
            </a:r>
            <a:endParaRPr kumimoji="0" lang="ko-KR" altLang="en-US" sz="939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교보서체 Regular" panose="020B0600000101010101" pitchFamily="50" charset="-127"/>
              <a:ea typeface="교보서체 Regular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7788004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9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" y="676"/>
            <a:ext cx="10387752" cy="7257341"/>
          </a:xfrm>
          <a:prstGeom prst="rect">
            <a:avLst/>
          </a:prstGeom>
        </p:spPr>
      </p:pic>
      <p:pic>
        <p:nvPicPr>
          <p:cNvPr id="9" name="그림 8" descr="kyobo_logo_typeB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1302" y="167856"/>
            <a:ext cx="1298201" cy="460273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9800667" y="6948403"/>
            <a:ext cx="704869" cy="267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4711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919BE6-35B0-4E23-90C0-D183B1D5ADB3}" type="slidenum">
              <a:rPr kumimoji="0" lang="ko-KR" altLang="en-US" sz="1139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pPr marL="0" marR="0" lvl="0" indent="0" algn="ctr" defTabSz="94711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139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8099" y="7003241"/>
            <a:ext cx="4369679" cy="2368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543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39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※ </a:t>
            </a:r>
            <a:r>
              <a:rPr kumimoji="0" lang="ko-KR" altLang="en-US" sz="939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본 교육자료는 컨설턴트 교육용으로 고객안내자료로 활용할 수 없습니다</a:t>
            </a:r>
            <a:r>
              <a:rPr kumimoji="0" lang="en-US" altLang="ko-KR" sz="939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.</a:t>
            </a:r>
            <a:endParaRPr kumimoji="0" lang="ko-KR" altLang="en-US" sz="939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교보서체 Regular" panose="020B0600000101010101" pitchFamily="50" charset="-127"/>
              <a:ea typeface="교보서체 Regular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7441063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20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" y="676"/>
            <a:ext cx="10387752" cy="7257341"/>
          </a:xfrm>
          <a:prstGeom prst="rect">
            <a:avLst/>
          </a:prstGeom>
        </p:spPr>
      </p:pic>
      <p:pic>
        <p:nvPicPr>
          <p:cNvPr id="9" name="그림 8" descr="kyobo_logo_typeB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1302" y="167856"/>
            <a:ext cx="1298201" cy="460273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9800667" y="6948403"/>
            <a:ext cx="704869" cy="267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4711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919BE6-35B0-4E23-90C0-D183B1D5ADB3}" type="slidenum">
              <a:rPr kumimoji="0" lang="ko-KR" altLang="en-US" sz="1139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pPr marL="0" marR="0" lvl="0" indent="0" algn="ctr" defTabSz="94711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139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8099" y="7003241"/>
            <a:ext cx="4369679" cy="2368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543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39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※ </a:t>
            </a:r>
            <a:r>
              <a:rPr kumimoji="0" lang="ko-KR" altLang="en-US" sz="939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본 교육자료는 컨설턴트 교육용으로 고객안내자료로 활용할 수 없습니다</a:t>
            </a:r>
            <a:r>
              <a:rPr kumimoji="0" lang="en-US" altLang="ko-KR" sz="939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.</a:t>
            </a:r>
            <a:endParaRPr kumimoji="0" lang="ko-KR" altLang="en-US" sz="939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교보서체 Regular" panose="020B0600000101010101" pitchFamily="50" charset="-127"/>
              <a:ea typeface="교보서체 Regular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1857133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2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" y="676"/>
            <a:ext cx="10387752" cy="7257341"/>
          </a:xfrm>
          <a:prstGeom prst="rect">
            <a:avLst/>
          </a:prstGeom>
        </p:spPr>
      </p:pic>
      <p:pic>
        <p:nvPicPr>
          <p:cNvPr id="9" name="그림 8" descr="kyobo_logo_typeB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1302" y="167856"/>
            <a:ext cx="1298201" cy="460273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9800667" y="6948403"/>
            <a:ext cx="704869" cy="267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4711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919BE6-35B0-4E23-90C0-D183B1D5ADB3}" type="slidenum">
              <a:rPr kumimoji="0" lang="ko-KR" altLang="en-US" sz="1139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pPr marL="0" marR="0" lvl="0" indent="0" algn="ctr" defTabSz="94711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139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8099" y="7003241"/>
            <a:ext cx="4369679" cy="2368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543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39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※ </a:t>
            </a:r>
            <a:r>
              <a:rPr kumimoji="0" lang="ko-KR" altLang="en-US" sz="939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본 교육자료는 컨설턴트 교육용으로 고객안내자료로 활용할 수 없습니다</a:t>
            </a:r>
            <a:r>
              <a:rPr kumimoji="0" lang="en-US" altLang="ko-KR" sz="939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.</a:t>
            </a:r>
            <a:endParaRPr kumimoji="0" lang="ko-KR" altLang="en-US" sz="939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교보서체 Regular" panose="020B0600000101010101" pitchFamily="50" charset="-127"/>
              <a:ea typeface="교보서체 Regular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6374963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22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" y="676"/>
            <a:ext cx="10387752" cy="7257341"/>
          </a:xfrm>
          <a:prstGeom prst="rect">
            <a:avLst/>
          </a:prstGeom>
        </p:spPr>
      </p:pic>
      <p:pic>
        <p:nvPicPr>
          <p:cNvPr id="9" name="그림 8" descr="kyobo_logo_typeB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1302" y="167856"/>
            <a:ext cx="1298201" cy="460273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9800667" y="6948403"/>
            <a:ext cx="704869" cy="267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4711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919BE6-35B0-4E23-90C0-D183B1D5ADB3}" type="slidenum">
              <a:rPr kumimoji="0" lang="ko-KR" altLang="en-US" sz="1139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pPr marL="0" marR="0" lvl="0" indent="0" algn="ctr" defTabSz="94711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139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8099" y="7003241"/>
            <a:ext cx="4369679" cy="2368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543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39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※ </a:t>
            </a:r>
            <a:r>
              <a:rPr kumimoji="0" lang="ko-KR" altLang="en-US" sz="939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본 교육자료는 컨설턴트 교육용으로 고객안내자료로 활용할 수 없습니다</a:t>
            </a:r>
            <a:r>
              <a:rPr kumimoji="0" lang="en-US" altLang="ko-KR" sz="939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.</a:t>
            </a:r>
            <a:endParaRPr kumimoji="0" lang="ko-KR" altLang="en-US" sz="939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교보서체 Regular" panose="020B0600000101010101" pitchFamily="50" charset="-127"/>
              <a:ea typeface="교보서체 Regular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4722457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23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" y="676"/>
            <a:ext cx="10387752" cy="7257341"/>
          </a:xfrm>
          <a:prstGeom prst="rect">
            <a:avLst/>
          </a:prstGeom>
        </p:spPr>
      </p:pic>
      <p:pic>
        <p:nvPicPr>
          <p:cNvPr id="9" name="그림 8" descr="kyobo_logo_typeB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1302" y="167856"/>
            <a:ext cx="1298201" cy="460273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9800667" y="6948403"/>
            <a:ext cx="704869" cy="267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4711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919BE6-35B0-4E23-90C0-D183B1D5ADB3}" type="slidenum">
              <a:rPr kumimoji="0" lang="ko-KR" altLang="en-US" sz="1139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pPr marL="0" marR="0" lvl="0" indent="0" algn="ctr" defTabSz="94711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139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8099" y="7003241"/>
            <a:ext cx="4369679" cy="2368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543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39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※ </a:t>
            </a:r>
            <a:r>
              <a:rPr kumimoji="0" lang="ko-KR" altLang="en-US" sz="939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본 교육자료는 컨설턴트 교육용으로 고객안내자료로 활용할 수 없습니다</a:t>
            </a:r>
            <a:r>
              <a:rPr kumimoji="0" lang="en-US" altLang="ko-KR" sz="939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.</a:t>
            </a:r>
            <a:endParaRPr kumimoji="0" lang="ko-KR" altLang="en-US" sz="939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교보서체 Regular" panose="020B0600000101010101" pitchFamily="50" charset="-127"/>
              <a:ea typeface="교보서체 Regular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2328899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24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" y="676"/>
            <a:ext cx="10387752" cy="7257341"/>
          </a:xfrm>
          <a:prstGeom prst="rect">
            <a:avLst/>
          </a:prstGeom>
        </p:spPr>
      </p:pic>
      <p:pic>
        <p:nvPicPr>
          <p:cNvPr id="9" name="그림 8" descr="kyobo_logo_typeB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1302" y="167856"/>
            <a:ext cx="1298201" cy="460273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9800667" y="6948403"/>
            <a:ext cx="704869" cy="267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4711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919BE6-35B0-4E23-90C0-D183B1D5ADB3}" type="slidenum">
              <a:rPr kumimoji="0" lang="ko-KR" altLang="en-US" sz="1139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pPr marL="0" marR="0" lvl="0" indent="0" algn="ctr" defTabSz="94711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139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8099" y="7003241"/>
            <a:ext cx="4369679" cy="2368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543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39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※ </a:t>
            </a:r>
            <a:r>
              <a:rPr kumimoji="0" lang="ko-KR" altLang="en-US" sz="939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본 교육자료는 컨설턴트 교육용으로 고객안내자료로 활용할 수 없습니다</a:t>
            </a:r>
            <a:r>
              <a:rPr kumimoji="0" lang="en-US" altLang="ko-KR" sz="939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.</a:t>
            </a:r>
            <a:endParaRPr kumimoji="0" lang="ko-KR" altLang="en-US" sz="939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교보서체 Regular" panose="020B0600000101010101" pitchFamily="50" charset="-127"/>
              <a:ea typeface="교보서체 Regular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815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25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" y="688"/>
            <a:ext cx="10387751" cy="7257341"/>
          </a:xfrm>
          <a:prstGeom prst="rect">
            <a:avLst/>
          </a:prstGeom>
        </p:spPr>
      </p:pic>
      <p:sp>
        <p:nvSpPr>
          <p:cNvPr id="6" name="슬라이드 번호 개체 틀 2"/>
          <p:cNvSpPr txBox="1">
            <a:spLocks/>
          </p:cNvSpPr>
          <p:nvPr userDrawn="1"/>
        </p:nvSpPr>
        <p:spPr>
          <a:xfrm>
            <a:off x="9691481" y="6967999"/>
            <a:ext cx="631527" cy="322319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91202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0" lang="en-US" altLang="ko-KR" sz="1200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912025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  <p:sp>
        <p:nvSpPr>
          <p:cNvPr id="4" name="직사각형 3"/>
          <p:cNvSpPr/>
          <p:nvPr userDrawn="1"/>
        </p:nvSpPr>
        <p:spPr>
          <a:xfrm>
            <a:off x="9079046" y="29012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67401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6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" y="688"/>
            <a:ext cx="10387751" cy="7257341"/>
          </a:xfrm>
          <a:prstGeom prst="rect">
            <a:avLst/>
          </a:prstGeom>
        </p:spPr>
      </p:pic>
      <p:sp>
        <p:nvSpPr>
          <p:cNvPr id="6" name="슬라이드 번호 개체 틀 2"/>
          <p:cNvSpPr txBox="1">
            <a:spLocks/>
          </p:cNvSpPr>
          <p:nvPr userDrawn="1"/>
        </p:nvSpPr>
        <p:spPr>
          <a:xfrm>
            <a:off x="9691481" y="6967999"/>
            <a:ext cx="631527" cy="322319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91202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0" lang="en-US" altLang="ko-KR" sz="1200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912025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  <p:sp>
        <p:nvSpPr>
          <p:cNvPr id="4" name="직사각형 3"/>
          <p:cNvSpPr/>
          <p:nvPr userDrawn="1"/>
        </p:nvSpPr>
        <p:spPr>
          <a:xfrm>
            <a:off x="9079046" y="29012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  <p:sp>
        <p:nvSpPr>
          <p:cNvPr id="7" name="직사각형 6"/>
          <p:cNvSpPr/>
          <p:nvPr userDrawn="1"/>
        </p:nvSpPr>
        <p:spPr>
          <a:xfrm>
            <a:off x="9079046" y="349232"/>
            <a:ext cx="1277156" cy="265902"/>
          </a:xfrm>
          <a:prstGeom prst="rect">
            <a:avLst/>
          </a:prstGeom>
          <a:ln w="19050">
            <a:solidFill>
              <a:srgbClr val="FF0000"/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슬라이드 노트 참고 </a:t>
            </a:r>
          </a:p>
        </p:txBody>
      </p:sp>
    </p:spTree>
    <p:extLst>
      <p:ext uri="{BB962C8B-B14F-4D97-AF65-F5344CB8AC3E}">
        <p14:creationId xmlns:p14="http://schemas.microsoft.com/office/powerpoint/2010/main" val="1869049767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7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" y="688"/>
            <a:ext cx="10387752" cy="7257341"/>
          </a:xfrm>
          <a:prstGeom prst="rect">
            <a:avLst/>
          </a:prstGeom>
        </p:spPr>
      </p:pic>
      <p:sp>
        <p:nvSpPr>
          <p:cNvPr id="4" name="직사각형 3"/>
          <p:cNvSpPr/>
          <p:nvPr userDrawn="1"/>
        </p:nvSpPr>
        <p:spPr>
          <a:xfrm>
            <a:off x="9079046" y="29012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  <p:sp>
        <p:nvSpPr>
          <p:cNvPr id="6" name="슬라이드 번호 개체 틀 2"/>
          <p:cNvSpPr txBox="1">
            <a:spLocks/>
          </p:cNvSpPr>
          <p:nvPr userDrawn="1"/>
        </p:nvSpPr>
        <p:spPr>
          <a:xfrm>
            <a:off x="9691481" y="6967999"/>
            <a:ext cx="631527" cy="322319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91202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0" lang="en-US" altLang="ko-KR" sz="1200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912025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01925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09" y="34748"/>
            <a:ext cx="746500" cy="737604"/>
          </a:xfrm>
          <a:prstGeom prst="rect">
            <a:avLst/>
          </a:prstGeom>
        </p:spPr>
      </p:pic>
      <p:pic>
        <p:nvPicPr>
          <p:cNvPr id="7" name="그림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" y="676"/>
            <a:ext cx="10387751" cy="7257341"/>
          </a:xfrm>
          <a:prstGeom prst="rect">
            <a:avLst/>
          </a:prstGeom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9823172" y="6956145"/>
            <a:ext cx="577827" cy="251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5407" tIns="47704" rIns="95407" bIns="47704"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marL="0" marR="0" lvl="0" indent="0" algn="r" defTabSz="95461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535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fld id="{16B1565D-7790-4B20-9C8C-6E71895AF331}" type="slidenum">
              <a:rPr kumimoji="0" lang="ko-KR" altLang="en-US" sz="1535" b="1" i="0" u="none" strike="noStrike" kern="1200" cap="none" spc="0" normalizeH="0" baseline="0" noProof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pPr marL="0" marR="0" lvl="0" indent="0" algn="r" defTabSz="954613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535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pic>
        <p:nvPicPr>
          <p:cNvPr id="8" name="그림 7" descr="그림5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0396" y="103838"/>
            <a:ext cx="876017" cy="350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6790381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8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/>
          <p:cNvSpPr/>
          <p:nvPr userDrawn="1"/>
        </p:nvSpPr>
        <p:spPr>
          <a:xfrm>
            <a:off x="9079046" y="29012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12676083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 userDrawn="1"/>
        </p:nvSpPr>
        <p:spPr>
          <a:xfrm>
            <a:off x="9079046" y="29012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19543274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29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7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0388744" cy="72582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슬라이드 번호 개체 틀 5"/>
          <p:cNvSpPr txBox="1">
            <a:spLocks noChangeAspect="1"/>
          </p:cNvSpPr>
          <p:nvPr userDrawn="1"/>
        </p:nvSpPr>
        <p:spPr>
          <a:xfrm>
            <a:off x="9673040" y="6930854"/>
            <a:ext cx="749459" cy="379537"/>
          </a:xfrm>
          <a:prstGeom prst="rect">
            <a:avLst/>
          </a:prstGeom>
        </p:spPr>
        <p:txBody>
          <a:bodyPr lIns="92123" tIns="46061" rIns="92123" bIns="46061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2124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36B23E-0D7D-4474-99A0-8847B099930A}" type="slidenum">
              <a:rPr kumimoji="0" lang="ko-KR" altLang="en-US" sz="1133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92124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1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31715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0" y="2"/>
            <a:ext cx="10383838" cy="7254875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endParaRPr lang="id-ID" noProof="0"/>
          </a:p>
        </p:txBody>
      </p:sp>
    </p:spTree>
    <p:extLst>
      <p:ext uri="{BB962C8B-B14F-4D97-AF65-F5344CB8AC3E}">
        <p14:creationId xmlns:p14="http://schemas.microsoft.com/office/powerpoint/2010/main" val="2703972307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19804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766" y="675"/>
            <a:ext cx="10387754" cy="7257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6539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>
          <a:xfrm>
            <a:off x="770" y="483555"/>
            <a:ext cx="10387751" cy="6769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3577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770" y="675"/>
            <a:ext cx="10387751" cy="7257341"/>
          </a:xfrm>
          <a:prstGeom prst="rect">
            <a:avLst/>
          </a:prstGeom>
        </p:spPr>
      </p:pic>
      <p:sp>
        <p:nvSpPr>
          <p:cNvPr id="3" name="슬라이드 번호 개체 틀 13"/>
          <p:cNvSpPr txBox="1">
            <a:spLocks/>
          </p:cNvSpPr>
          <p:nvPr userDrawn="1"/>
        </p:nvSpPr>
        <p:spPr>
          <a:xfrm>
            <a:off x="8963208" y="6893846"/>
            <a:ext cx="1341150" cy="27541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77882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A4815AA-4294-46C5-8162-E60AAA9246E2}" type="slidenum">
              <a:rPr kumimoji="1" lang="en-US" altLang="ko-KR" sz="852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Arial" pitchFamily="34" charset="0"/>
              </a:rPr>
              <a:pPr marL="0" marR="0" lvl="0" indent="0" algn="r" defTabSz="778820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en-US" altLang="ko-KR" sz="852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5360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2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56" y="1681"/>
            <a:ext cx="10386995" cy="7256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55403546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>
            <a:extLst>
              <a:ext uri="{FF2B5EF4-FFF2-40B4-BE49-F238E27FC236}">
                <a16:creationId xmlns:a16="http://schemas.microsoft.com/office/drawing/2014/main" id="{09239C85-BB2B-4E1C-BDDA-83132C541D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42"/>
            <a:ext cx="10383838" cy="664276"/>
          </a:xfrm>
          <a:prstGeom prst="rect">
            <a:avLst/>
          </a:prstGeom>
        </p:spPr>
      </p:pic>
      <p:cxnSp>
        <p:nvCxnSpPr>
          <p:cNvPr id="6" name="직선 연결선 5">
            <a:extLst>
              <a:ext uri="{FF2B5EF4-FFF2-40B4-BE49-F238E27FC236}">
                <a16:creationId xmlns:a16="http://schemas.microsoft.com/office/drawing/2014/main" id="{37AE2CD3-1711-401A-8607-047D6242FF25}"/>
              </a:ext>
            </a:extLst>
          </p:cNvPr>
          <p:cNvCxnSpPr>
            <a:cxnSpLocks/>
          </p:cNvCxnSpPr>
          <p:nvPr userDrawn="1"/>
        </p:nvCxnSpPr>
        <p:spPr>
          <a:xfrm>
            <a:off x="576625" y="733104"/>
            <a:ext cx="9230592" cy="0"/>
          </a:xfrm>
          <a:prstGeom prst="line">
            <a:avLst/>
          </a:prstGeom>
          <a:ln w="38100" cmpd="thinThick">
            <a:solidFill>
              <a:srgbClr val="00387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85018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직사각형 4"/>
          <p:cNvSpPr/>
          <p:nvPr userDrawn="1"/>
        </p:nvSpPr>
        <p:spPr>
          <a:xfrm>
            <a:off x="16" y="13"/>
            <a:ext cx="10383838" cy="19692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698" tIns="43849" rIns="87698" bIns="43849" rtlCol="0" anchor="ctr"/>
          <a:lstStyle/>
          <a:p>
            <a:pPr marL="0" marR="0" lvl="0" indent="0" algn="ctr" defTabSz="95461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1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24" y="1036352"/>
            <a:ext cx="10384962" cy="52856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직사각형 5"/>
          <p:cNvSpPr>
            <a:spLocks noChangeArrowheads="1"/>
          </p:cNvSpPr>
          <p:nvPr userDrawn="1"/>
        </p:nvSpPr>
        <p:spPr bwMode="auto">
          <a:xfrm>
            <a:off x="9137724" y="170515"/>
            <a:ext cx="1019702" cy="358415"/>
          </a:xfrm>
          <a:prstGeom prst="rect">
            <a:avLst/>
          </a:prstGeom>
          <a:noFill/>
          <a:ln w="15875">
            <a:solidFill>
              <a:schemeClr val="bg1">
                <a:lumMod val="65000"/>
              </a:schemeClr>
            </a:solidFill>
            <a:prstDash val="sysDot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112719" tIns="75144" rIns="95433" bIns="75144">
            <a:spAutoFit/>
          </a:bodyPr>
          <a:lstStyle/>
          <a:p>
            <a:pPr marL="0" marR="0" lvl="0" indent="0" algn="ctr" defTabSz="95435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4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</a:p>
        </p:txBody>
      </p:sp>
      <p:pic>
        <p:nvPicPr>
          <p:cNvPr id="9" name="그림 8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0998" y="4192770"/>
            <a:ext cx="8622090" cy="3050752"/>
          </a:xfrm>
          <a:prstGeom prst="rect">
            <a:avLst/>
          </a:prstGeom>
        </p:spPr>
      </p:pic>
      <p:pic>
        <p:nvPicPr>
          <p:cNvPr id="3" name="그림 2">
            <a:extLst>
              <a:ext uri="{FF2B5EF4-FFF2-40B4-BE49-F238E27FC236}">
                <a16:creationId xmlns:a16="http://schemas.microsoft.com/office/drawing/2014/main" id="{0F3651F7-2466-4722-9C4C-94595706F0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0" t="6506"/>
          <a:stretch/>
        </p:blipFill>
        <p:spPr>
          <a:xfrm>
            <a:off x="-24664" y="-1"/>
            <a:ext cx="5870882" cy="7516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5676538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" y="676"/>
            <a:ext cx="10387752" cy="7257341"/>
          </a:xfrm>
          <a:prstGeom prst="rect">
            <a:avLst/>
          </a:prstGeom>
        </p:spPr>
      </p:pic>
      <p:pic>
        <p:nvPicPr>
          <p:cNvPr id="9" name="그림 8" descr="kyobo_logo_typeB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1302" y="167856"/>
            <a:ext cx="1298201" cy="460273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9800667" y="6948401"/>
            <a:ext cx="704869" cy="2334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762536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919BE6-35B0-4E23-90C0-D183B1D5ADB3}" type="slidenum">
              <a:rPr kumimoji="0" lang="ko-KR" altLang="en-US" sz="917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pPr marL="0" marR="0" lvl="0" indent="0" algn="ctr" defTabSz="762536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917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8100" y="7003243"/>
            <a:ext cx="4369679" cy="208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5313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756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※ </a:t>
            </a:r>
            <a:r>
              <a:rPr kumimoji="0" lang="ko-KR" altLang="en-US" sz="756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본 교육자료는 컨설턴트 교육용으로 고객안내자료로 활용할 수 없습니다</a:t>
            </a:r>
            <a:r>
              <a:rPr kumimoji="0" lang="en-US" altLang="ko-KR" sz="756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.</a:t>
            </a:r>
            <a:endParaRPr kumimoji="0" lang="ko-KR" altLang="en-US" sz="756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교보서체 Regular" panose="020B0600000101010101" pitchFamily="50" charset="-127"/>
              <a:ea typeface="교보서체 Regular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7122383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7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0388744" cy="72582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슬라이드 번호 개체 틀 5"/>
          <p:cNvSpPr txBox="1">
            <a:spLocks noChangeAspect="1"/>
          </p:cNvSpPr>
          <p:nvPr userDrawn="1"/>
        </p:nvSpPr>
        <p:spPr>
          <a:xfrm>
            <a:off x="9673041" y="6930855"/>
            <a:ext cx="749459" cy="379537"/>
          </a:xfrm>
          <a:prstGeom prst="rect">
            <a:avLst/>
          </a:prstGeom>
        </p:spPr>
        <p:txBody>
          <a:bodyPr lIns="74168" tIns="37084" rIns="74168" bIns="37084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74170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36B23E-0D7D-4474-99A0-8847B099930A}" type="slidenum">
              <a:rPr kumimoji="0" lang="ko-KR" altLang="en-US" sz="912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741705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912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6437467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35171680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78789" y="2253715"/>
            <a:ext cx="8826262" cy="1555096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557577" y="4111096"/>
            <a:ext cx="7268686" cy="1854024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79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86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7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7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966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75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552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346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58657"/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58657"/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58657"/>
            <a:fld id="{2747D207-944B-4363-884F-A02296F6E65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 defTabSz="958657"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65" y="7942"/>
            <a:ext cx="10382306" cy="7253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83885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66" y="669"/>
            <a:ext cx="10387754" cy="7257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3538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65" y="483555"/>
            <a:ext cx="10387754" cy="7257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56327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66" y="671"/>
            <a:ext cx="10387754" cy="7257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7734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66" y="671"/>
            <a:ext cx="10387754" cy="7257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36286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6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 descr="img_university_program_03.jpg"/>
          <p:cNvPicPr>
            <a:picLocks noChangeAspect="1"/>
          </p:cNvPicPr>
          <p:nvPr userDrawn="1"/>
        </p:nvPicPr>
        <p:blipFill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lum brigh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3616659"/>
            <a:ext cx="10383839" cy="3671027"/>
          </a:xfrm>
          <a:prstGeom prst="rect">
            <a:avLst/>
          </a:prstGeom>
        </p:spPr>
      </p:pic>
      <p:sp>
        <p:nvSpPr>
          <p:cNvPr id="4" name="직사각형 3"/>
          <p:cNvSpPr/>
          <p:nvPr userDrawn="1"/>
        </p:nvSpPr>
        <p:spPr>
          <a:xfrm>
            <a:off x="0" y="0"/>
            <a:ext cx="10383838" cy="3765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078" tIns="40037" rIns="80078" bIns="40037" anchor="ctr"/>
          <a:lstStyle/>
          <a:p>
            <a:pPr algn="ctr" defTabSz="913977" eaLnBrk="1" latinLnBrk="1" hangingPunct="1">
              <a:defRPr/>
            </a:pPr>
            <a:endParaRPr kumimoji="1" lang="ko-KR" altLang="en-US" sz="1984" dirty="0">
              <a:solidFill>
                <a:prstClr val="white"/>
              </a:solidFill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0F3651F7-2466-4722-9C4C-94595706F0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24660" y="-1"/>
            <a:ext cx="5915818" cy="7573916"/>
          </a:xfrm>
          <a:prstGeom prst="rect">
            <a:avLst/>
          </a:prstGeom>
          <a:ln>
            <a:noFill/>
          </a:ln>
        </p:spPr>
      </p:pic>
      <p:sp>
        <p:nvSpPr>
          <p:cNvPr id="11" name="Rectangle 5"/>
          <p:cNvSpPr>
            <a:spLocks noChangeArrowheads="1"/>
          </p:cNvSpPr>
          <p:nvPr userDrawn="1"/>
        </p:nvSpPr>
        <p:spPr bwMode="auto">
          <a:xfrm>
            <a:off x="5911850" y="42863"/>
            <a:ext cx="4471988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5412" tIns="47708" rIns="95412" bIns="47708"/>
          <a:lstStyle/>
          <a:p>
            <a:pPr algn="r" defTabSz="954717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344" b="1" dirty="0">
                <a:solidFill>
                  <a:srgbClr val="FF0000"/>
                </a:solidFill>
              </a:rPr>
              <a:t>FP </a:t>
            </a:r>
            <a:r>
              <a:rPr lang="ko-KR" altLang="en-US" sz="1344" b="1" dirty="0">
                <a:solidFill>
                  <a:srgbClr val="FF0000"/>
                </a:solidFill>
              </a:rPr>
              <a:t>교육용</a:t>
            </a:r>
            <a:endParaRPr lang="en-US" altLang="ko-KR" sz="1344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43347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1" y="3"/>
            <a:ext cx="10383125" cy="7255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19303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그림 29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9" y="1670517"/>
            <a:ext cx="10363755" cy="3675937"/>
          </a:xfrm>
          <a:prstGeom prst="rect">
            <a:avLst/>
          </a:prstGeom>
        </p:spPr>
      </p:pic>
      <p:pic>
        <p:nvPicPr>
          <p:cNvPr id="21" name="그림 2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8934" y="2374991"/>
            <a:ext cx="2456683" cy="1478511"/>
          </a:xfrm>
          <a:prstGeom prst="rect">
            <a:avLst/>
          </a:prstGeom>
        </p:spPr>
      </p:pic>
      <p:pic>
        <p:nvPicPr>
          <p:cNvPr id="12" name="그림 11" descr="그림2.png"/>
          <p:cNvPicPr>
            <a:picLocks noChangeAspect="1"/>
          </p:cNvPicPr>
          <p:nvPr userDrawn="1"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5647" y="103837"/>
            <a:ext cx="2530914" cy="3316330"/>
          </a:xfrm>
          <a:prstGeom prst="rect">
            <a:avLst/>
          </a:prstGeom>
        </p:spPr>
      </p:pic>
      <p:pic>
        <p:nvPicPr>
          <p:cNvPr id="7" name="그림 6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127"/>
            <a:ext cx="10366254" cy="7246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9615977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68972" y="610329"/>
            <a:ext cx="2513749" cy="4062502"/>
          </a:xfrm>
          <a:prstGeom prst="rect">
            <a:avLst/>
          </a:prstGeom>
        </p:spPr>
      </p:pic>
      <p:pic>
        <p:nvPicPr>
          <p:cNvPr id="3" name="그림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" y="754"/>
            <a:ext cx="10384834" cy="7254122"/>
          </a:xfrm>
          <a:prstGeom prst="rect">
            <a:avLst/>
          </a:prstGeom>
        </p:spPr>
      </p:pic>
      <p:sp>
        <p:nvSpPr>
          <p:cNvPr id="6" name="직사각형 5"/>
          <p:cNvSpPr/>
          <p:nvPr userDrawn="1"/>
        </p:nvSpPr>
        <p:spPr>
          <a:xfrm>
            <a:off x="7500778" y="6437275"/>
            <a:ext cx="2641471" cy="667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7475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51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5" name="그림 4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561746" y="6564630"/>
            <a:ext cx="2589228" cy="455879"/>
          </a:xfrm>
          <a:prstGeom prst="rect">
            <a:avLst/>
          </a:prstGeom>
        </p:spPr>
      </p:pic>
      <p:pic>
        <p:nvPicPr>
          <p:cNvPr id="4" name="그림 3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2723" y="1359334"/>
            <a:ext cx="6154929" cy="1916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45282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16963" y="3"/>
            <a:ext cx="1370989" cy="72620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softEdge rad="12700"/>
          </a:effectLst>
        </p:spPr>
      </p:pic>
      <p:pic>
        <p:nvPicPr>
          <p:cNvPr id="2" name="그림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196680" y="816468"/>
            <a:ext cx="931286" cy="576374"/>
          </a:xfrm>
          <a:prstGeom prst="rect">
            <a:avLst/>
          </a:prstGeom>
        </p:spPr>
      </p:pic>
      <p:pic>
        <p:nvPicPr>
          <p:cNvPr id="3" name="그림 2" descr="B_대외용_일반간지라인.png"/>
          <p:cNvPicPr>
            <a:picLocks noChangeAspect="1"/>
          </p:cNvPicPr>
          <p:nvPr userDrawn="1"/>
        </p:nvPicPr>
        <p:blipFill>
          <a:blip r:embed="rId4" cstate="print"/>
          <a:srcRect t="43753" r="44230" b="41671"/>
          <a:stretch>
            <a:fillRect/>
          </a:stretch>
        </p:blipFill>
        <p:spPr>
          <a:xfrm>
            <a:off x="5" y="1002226"/>
            <a:ext cx="10342075" cy="547912"/>
          </a:xfrm>
          <a:prstGeom prst="rect">
            <a:avLst/>
          </a:prstGeom>
          <a:effectLst/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2FCB20F-B542-E4FA-3ED2-184CBCB82381}"/>
              </a:ext>
            </a:extLst>
          </p:cNvPr>
          <p:cNvSpPr txBox="1"/>
          <p:nvPr userDrawn="1"/>
        </p:nvSpPr>
        <p:spPr>
          <a:xfrm>
            <a:off x="352833" y="238148"/>
            <a:ext cx="3392922" cy="469680"/>
          </a:xfrm>
          <a:prstGeom prst="rect">
            <a:avLst/>
          </a:prstGeom>
          <a:noFill/>
          <a:effectLst>
            <a:reflection blurRad="6350" stA="50000" endA="300" endPos="90000" dir="5400000" sy="-100000" algn="bl" rotWithShape="0"/>
          </a:effectLst>
        </p:spPr>
        <p:txBody>
          <a:bodyPr wrap="square" lIns="0" rtlCol="0">
            <a:spAutoFit/>
          </a:bodyPr>
          <a:lstStyle>
            <a:defPPr>
              <a:defRPr lang="ko-KR"/>
            </a:defPPr>
            <a:lvl1pPr>
              <a:defRPr sz="3200" b="1" spc="-300">
                <a:gradFill flip="none" rotWithShape="1">
                  <a:gsLst>
                    <a:gs pos="31000">
                      <a:srgbClr val="4DB948"/>
                    </a:gs>
                    <a:gs pos="77000">
                      <a:srgbClr val="003975"/>
                    </a:gs>
                  </a:gsLst>
                  <a:lin ang="0" scaled="1"/>
                  <a:tileRect/>
                </a:gradFill>
                <a:latin typeface="Kyobo SemiBold" panose="020B0600000101010101" pitchFamily="34" charset="-127"/>
                <a:ea typeface="Kyobo SemiBold" panose="020B0600000101010101" pitchFamily="34" charset="-127"/>
              </a:defRPr>
            </a:lvl1pPr>
          </a:lstStyle>
          <a:p>
            <a:pPr marL="0" marR="0" lvl="0" indent="0" algn="l" defTabSz="77475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452" b="1" i="0" u="none" strike="noStrike" kern="1200" cap="none" spc="-115" normalizeH="0" baseline="0" noProof="0" dirty="0" smtClean="0">
                <a:ln>
                  <a:noFill/>
                </a:ln>
                <a:gradFill flip="none" rotWithShape="1">
                  <a:gsLst>
                    <a:gs pos="31000">
                      <a:srgbClr val="4DB948"/>
                    </a:gs>
                    <a:gs pos="77000">
                      <a:srgbClr val="003975"/>
                    </a:gs>
                  </a:gsLst>
                  <a:lin ang="0" scaled="1"/>
                  <a:tileRect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Contents</a:t>
            </a:r>
            <a:endParaRPr kumimoji="0" lang="ko-KR" altLang="en-US" sz="2452" b="1" i="0" u="none" strike="noStrike" kern="1200" cap="none" spc="-115" normalizeH="0" baseline="0" noProof="0" dirty="0" smtClean="0">
              <a:ln>
                <a:noFill/>
              </a:ln>
              <a:gradFill flip="none" rotWithShape="1">
                <a:gsLst>
                  <a:gs pos="31000">
                    <a:srgbClr val="4DB948"/>
                  </a:gs>
                  <a:gs pos="77000">
                    <a:srgbClr val="003975"/>
                  </a:gs>
                </a:gsLst>
                <a:lin ang="0" scaled="1"/>
                <a:tileRect/>
              </a:gra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" name="직사각형 3"/>
          <p:cNvSpPr/>
          <p:nvPr userDrawn="1"/>
        </p:nvSpPr>
        <p:spPr>
          <a:xfrm>
            <a:off x="138193" y="6866201"/>
            <a:ext cx="5243635" cy="2956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7475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52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85731" y="6961565"/>
            <a:ext cx="10194250" cy="211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742916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773" b="1" i="0" u="none" strike="noStrike" kern="1200" cap="none" spc="0" normalizeH="0" baseline="0" noProof="0" dirty="0" smtClean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※ </a:t>
            </a:r>
            <a:r>
              <a:rPr kumimoji="0" lang="ko-KR" altLang="en-US" sz="773" b="1" i="0" u="none" strike="noStrike" kern="1200" cap="none" spc="0" normalizeH="0" baseline="0" noProof="0" dirty="0" smtClean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본 자료는 컨설턴트 교육용으로 환급금 및 보험금 지급의 근거가 될 수 없으며 고객안내자료로 활용할 수 없습니다</a:t>
            </a:r>
            <a:r>
              <a:rPr kumimoji="0" lang="en-US" altLang="ko-KR" sz="773" b="1" i="0" u="none" strike="noStrike" kern="1200" cap="none" spc="0" normalizeH="0" baseline="0" noProof="0" dirty="0" smtClean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773" b="1" i="0" u="none" strike="noStrike" kern="1200" cap="none" spc="0" normalizeH="0" baseline="0" noProof="0" dirty="0">
              <a:ln>
                <a:noFill/>
              </a:ln>
              <a:solidFill>
                <a:srgbClr val="14145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7016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그림 10" descr="B_대외용_일반간지라인.png"/>
          <p:cNvPicPr>
            <a:picLocks noChangeAspect="1"/>
          </p:cNvPicPr>
          <p:nvPr userDrawn="1"/>
        </p:nvPicPr>
        <p:blipFill>
          <a:blip r:embed="rId2" cstate="print"/>
          <a:srcRect t="43753" r="44230" b="41671"/>
          <a:stretch>
            <a:fillRect/>
          </a:stretch>
        </p:blipFill>
        <p:spPr>
          <a:xfrm>
            <a:off x="162054" y="530541"/>
            <a:ext cx="10221784" cy="547912"/>
          </a:xfrm>
          <a:prstGeom prst="rect">
            <a:avLst/>
          </a:prstGeom>
          <a:effectLst/>
        </p:spPr>
      </p:pic>
      <p:sp>
        <p:nvSpPr>
          <p:cNvPr id="2" name="직사각형 1"/>
          <p:cNvSpPr/>
          <p:nvPr userDrawn="1"/>
        </p:nvSpPr>
        <p:spPr>
          <a:xfrm>
            <a:off x="9252301" y="449291"/>
            <a:ext cx="945569" cy="20727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7475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51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4" name="그림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19168" y="658252"/>
            <a:ext cx="778703" cy="481941"/>
          </a:xfrm>
          <a:prstGeom prst="rect">
            <a:avLst/>
          </a:prstGeom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9530410" y="421802"/>
            <a:ext cx="611838" cy="234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4258" tIns="37129" rIns="74258" bIns="37129"/>
          <a:lstStyle/>
          <a:p>
            <a:pPr marL="0" marR="0" lvl="0" indent="0" algn="r" defTabSz="74306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73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fld id="{16B1565D-7790-4B20-9C8C-6E71895AF331}" type="slidenum">
              <a:rPr kumimoji="0" lang="ko-KR" altLang="en-US" sz="1073" b="1" i="0" u="none" strike="noStrike" kern="1200" cap="none" spc="0" normalizeH="0" baseline="0" noProof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pPr marL="0" marR="0" lvl="0" indent="0" algn="r" defTabSz="743063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073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8460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3649" userDrawn="1">
          <p15:clr>
            <a:srgbClr val="FBAE40"/>
          </p15:clr>
        </p15:guide>
      </p15:sldGuideLst>
    </p:ext>
  </p:extLs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1" y="3"/>
            <a:ext cx="10383125" cy="7255816"/>
          </a:xfrm>
          <a:prstGeom prst="rect">
            <a:avLst/>
          </a:prstGeom>
        </p:spPr>
      </p:pic>
      <p:sp>
        <p:nvSpPr>
          <p:cNvPr id="3" name="Rounded Rectangle 2"/>
          <p:cNvSpPr/>
          <p:nvPr userDrawn="1"/>
        </p:nvSpPr>
        <p:spPr>
          <a:xfrm>
            <a:off x="184260" y="1065796"/>
            <a:ext cx="2962944" cy="5772212"/>
          </a:xfrm>
          <a:prstGeom prst="roundRect">
            <a:avLst>
              <a:gd name="adj" fmla="val 3968"/>
            </a:avLst>
          </a:prstGeom>
          <a:solidFill>
            <a:srgbClr val="28B432">
              <a:alpha val="1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062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43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" name="사다리꼴 3"/>
          <p:cNvSpPr/>
          <p:nvPr userDrawn="1"/>
        </p:nvSpPr>
        <p:spPr>
          <a:xfrm rot="5400000">
            <a:off x="411904" y="3842764"/>
            <a:ext cx="5739374" cy="251114"/>
          </a:xfrm>
          <a:prstGeom prst="trapezoid">
            <a:avLst>
              <a:gd name="adj" fmla="val 31404"/>
            </a:avLst>
          </a:prstGeom>
          <a:solidFill>
            <a:srgbClr val="141450">
              <a:alpha val="10000"/>
            </a:srgbClr>
          </a:solidFill>
          <a:ln w="2540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7475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52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" name="직사각형 4"/>
          <p:cNvSpPr/>
          <p:nvPr userDrawn="1"/>
        </p:nvSpPr>
        <p:spPr>
          <a:xfrm>
            <a:off x="3415978" y="1204642"/>
            <a:ext cx="6783747" cy="5516325"/>
          </a:xfrm>
          <a:prstGeom prst="rect">
            <a:avLst/>
          </a:prstGeom>
          <a:noFill/>
          <a:ln w="6350">
            <a:solidFill>
              <a:srgbClr val="14145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7475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52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6" name="그림 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94" t="15271" r="-796" b="24724"/>
          <a:stretch/>
        </p:blipFill>
        <p:spPr>
          <a:xfrm>
            <a:off x="0" y="1"/>
            <a:ext cx="1474728" cy="761654"/>
          </a:xfrm>
          <a:prstGeom prst="rect">
            <a:avLst/>
          </a:prstGeom>
        </p:spPr>
      </p:pic>
      <p:sp>
        <p:nvSpPr>
          <p:cNvPr id="7" name="Rounded Rectangle 3"/>
          <p:cNvSpPr/>
          <p:nvPr userDrawn="1"/>
        </p:nvSpPr>
        <p:spPr>
          <a:xfrm>
            <a:off x="321693" y="1272955"/>
            <a:ext cx="118854" cy="5358348"/>
          </a:xfrm>
          <a:prstGeom prst="roundRect">
            <a:avLst>
              <a:gd name="adj" fmla="val 50000"/>
            </a:avLst>
          </a:prstGeom>
          <a:solidFill>
            <a:sysClr val="window" lastClr="FFFFFF">
              <a:alpha val="41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062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43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8" name="Half Frame 4"/>
          <p:cNvSpPr/>
          <p:nvPr userDrawn="1"/>
        </p:nvSpPr>
        <p:spPr>
          <a:xfrm rot="5400000">
            <a:off x="2420041" y="1269054"/>
            <a:ext cx="658058" cy="529234"/>
          </a:xfrm>
          <a:prstGeom prst="halfFrame">
            <a:avLst>
              <a:gd name="adj1" fmla="val 23728"/>
              <a:gd name="adj2" fmla="val 24642"/>
            </a:avLst>
          </a:prstGeom>
          <a:solidFill>
            <a:sysClr val="window" lastClr="FFFFFF">
              <a:alpha val="23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062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43" b="0" i="0" u="none" strike="noStrike" kern="0" cap="none" spc="0" normalizeH="0" baseline="0" noProof="0" dirty="0" smtClean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74070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1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500"/>
                            </p:stCondLst>
                            <p:childTnLst>
                              <p:par>
                                <p:cTn id="1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</p:bldLst>
  </p:timing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731" y="6961565"/>
            <a:ext cx="10194250" cy="21127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r" defTabSz="742916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773" b="1" i="0" u="none" strike="noStrike" kern="1200" cap="none" spc="0" normalizeH="0" baseline="0" noProof="0" dirty="0" smtClean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※ </a:t>
            </a:r>
            <a:r>
              <a:rPr kumimoji="0" lang="ko-KR" altLang="en-US" sz="773" b="1" i="0" u="none" strike="noStrike" kern="1200" cap="none" spc="0" normalizeH="0" baseline="0" noProof="0" dirty="0" smtClean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본 자료는 컨설턴트 교육용으로 환급금 및 보험금 지급의 근거가 될 수 없으며 고객안내자료로 활용할 수 없습니다</a:t>
            </a:r>
            <a:r>
              <a:rPr kumimoji="0" lang="en-US" altLang="ko-KR" sz="773" b="1" i="0" u="none" strike="noStrike" kern="1200" cap="none" spc="0" normalizeH="0" baseline="0" noProof="0" dirty="0" smtClean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773" b="1" i="0" u="none" strike="noStrike" kern="1200" cap="none" spc="0" normalizeH="0" baseline="0" noProof="0" dirty="0">
              <a:ln>
                <a:noFill/>
              </a:ln>
              <a:solidFill>
                <a:srgbClr val="14145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46459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 userDrawn="1"/>
        </p:nvSpPr>
        <p:spPr>
          <a:xfrm>
            <a:off x="8278230" y="6448778"/>
            <a:ext cx="1901759" cy="6827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209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7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3" name="Picture 2" descr="C:\Users\ANSOO\Dropbox\@_Fineart HD\기획팀\모영철 Pro\교보생명 FP브랜딩_PPT서식4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289" b="2563"/>
          <a:stretch/>
        </p:blipFill>
        <p:spPr bwMode="auto">
          <a:xfrm>
            <a:off x="0" y="6663737"/>
            <a:ext cx="10383838" cy="591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직사각형 3"/>
          <p:cNvSpPr/>
          <p:nvPr userDrawn="1"/>
        </p:nvSpPr>
        <p:spPr>
          <a:xfrm>
            <a:off x="8401473" y="6663746"/>
            <a:ext cx="1856505" cy="5667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209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7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9" name="직사각형 8"/>
          <p:cNvSpPr/>
          <p:nvPr userDrawn="1"/>
        </p:nvSpPr>
        <p:spPr>
          <a:xfrm>
            <a:off x="410512" y="889750"/>
            <a:ext cx="9541033" cy="2037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209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17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모서리가 둥근 직사각형 5"/>
          <p:cNvSpPr/>
          <p:nvPr userDrawn="1"/>
        </p:nvSpPr>
        <p:spPr>
          <a:xfrm>
            <a:off x="9045593" y="811719"/>
            <a:ext cx="1186726" cy="138356"/>
          </a:xfrm>
          <a:prstGeom prst="roundRect">
            <a:avLst/>
          </a:prstGeom>
          <a:solidFill>
            <a:srgbClr val="52AD3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1719" rIns="0" bIns="11719" rtlCol="0" anchor="ctr">
            <a:spAutoFit/>
          </a:bodyPr>
          <a:lstStyle/>
          <a:p>
            <a:pPr marL="0" marR="0" lvl="0" indent="0" algn="ctr" defTabSz="68209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651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컨설턴트 교육용자료</a:t>
            </a:r>
            <a:endParaRPr kumimoji="0" lang="ko-KR" altLang="en-US" sz="651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교보서체 Bold" panose="020B0600000101010101" pitchFamily="50" charset="-127"/>
              <a:ea typeface="교보서체 Bold" panose="020B0600000101010101" pitchFamily="50" charset="-127"/>
              <a:cs typeface="+mn-cs"/>
            </a:endParaRPr>
          </a:p>
        </p:txBody>
      </p:sp>
      <p:pic>
        <p:nvPicPr>
          <p:cNvPr id="8" name="그림 7"/>
          <p:cNvPicPr preferRelativeResize="0">
            <a:picLocks/>
          </p:cNvPicPr>
          <p:nvPr userDrawn="1"/>
        </p:nvPicPr>
        <p:blipFill rotWithShape="1">
          <a:blip r:embed="rId3" cstate="print"/>
          <a:srcRect t="10090" b="87917"/>
          <a:stretch/>
        </p:blipFill>
        <p:spPr>
          <a:xfrm>
            <a:off x="3" y="837767"/>
            <a:ext cx="8883868" cy="76167"/>
          </a:xfrm>
          <a:prstGeom prst="round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106543" y="7050173"/>
            <a:ext cx="5794856" cy="10015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519486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651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※ </a:t>
            </a:r>
            <a:r>
              <a:rPr kumimoji="0" lang="ko-KR" altLang="en-US" sz="651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본 자료는 컨설턴트 교육용으로 고객제안</a:t>
            </a:r>
            <a:r>
              <a:rPr kumimoji="0" lang="en-US" altLang="ko-KR" sz="651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, </a:t>
            </a:r>
            <a:r>
              <a:rPr kumimoji="0" lang="ko-KR" altLang="en-US" sz="651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온라인게시용으로 사용할 수 없으며</a:t>
            </a:r>
            <a:r>
              <a:rPr kumimoji="0" lang="en-US" altLang="ko-KR" sz="651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, </a:t>
            </a:r>
            <a:r>
              <a:rPr kumimoji="0" lang="ko-KR" altLang="en-US" sz="651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환급금 및 보험금 지급의 근거가 될 수 없습니다</a:t>
            </a:r>
            <a:r>
              <a:rPr kumimoji="0" lang="en-US" altLang="ko-KR" sz="651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.(</a:t>
            </a:r>
            <a:r>
              <a:rPr kumimoji="0" lang="ko-KR" altLang="en-US" sz="651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금융소비자보호법 제 </a:t>
            </a:r>
            <a:r>
              <a:rPr kumimoji="0" lang="en-US" altLang="ko-KR" sz="651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22</a:t>
            </a:r>
            <a:r>
              <a:rPr kumimoji="0" lang="ko-KR" altLang="en-US" sz="651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조 참조</a:t>
            </a:r>
            <a:r>
              <a:rPr kumimoji="0" lang="en-US" altLang="ko-KR" sz="651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Regular" panose="020B0600000101010101" pitchFamily="50" charset="-127"/>
                <a:ea typeface="교보서체 Regular" panose="020B0600000101010101" pitchFamily="50" charset="-127"/>
                <a:cs typeface="+mn-cs"/>
              </a:rPr>
              <a:t>)</a:t>
            </a:r>
            <a:endParaRPr kumimoji="0" lang="ko-KR" altLang="en-US" sz="65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교보서체 Regular" panose="020B0600000101010101" pitchFamily="50" charset="-127"/>
              <a:ea typeface="교보서체 Regular" panose="020B0600000101010101" pitchFamily="50" charset="-127"/>
              <a:cs typeface="+mn-cs"/>
            </a:endParaRPr>
          </a:p>
        </p:txBody>
      </p:sp>
      <p:sp>
        <p:nvSpPr>
          <p:cNvPr id="7" name="직사각형 6"/>
          <p:cNvSpPr/>
          <p:nvPr userDrawn="1"/>
        </p:nvSpPr>
        <p:spPr>
          <a:xfrm>
            <a:off x="9140024" y="69313"/>
            <a:ext cx="1092295" cy="39459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03482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58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5896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67" y="671"/>
            <a:ext cx="10387754" cy="7257341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209344" y="6780849"/>
            <a:ext cx="4717823" cy="2234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7873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5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※ </a:t>
            </a:r>
            <a:r>
              <a:rPr kumimoji="0" lang="ko-KR" altLang="en-US" sz="85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본 교육자료는 컨설턴트 교육용으로 고객안내자료로 활용할 수 없습니다</a:t>
            </a:r>
            <a:r>
              <a:rPr kumimoji="0" lang="en-US" altLang="ko-KR" sz="85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852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6048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68" y="483556"/>
            <a:ext cx="10387752" cy="7257341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209344" y="6780849"/>
            <a:ext cx="4717823" cy="2234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7873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5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※ </a:t>
            </a:r>
            <a:r>
              <a:rPr kumimoji="0" lang="ko-KR" altLang="en-US" sz="85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본 교육자료는 컨설턴트 교육용으로 고객안내자료로 활용할 수 없습니다</a:t>
            </a:r>
            <a:r>
              <a:rPr kumimoji="0" lang="en-US" altLang="ko-KR" sz="85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852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8816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209344" y="6979145"/>
            <a:ext cx="4717823" cy="2234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7873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5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※ </a:t>
            </a:r>
            <a:r>
              <a:rPr kumimoji="0" lang="ko-KR" altLang="en-US" sz="85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본 교육자료는 컨설턴트 교육용으로 고객안내자료로 활용할 수 없습니다</a:t>
            </a:r>
            <a:r>
              <a:rPr kumimoji="0" lang="en-US" altLang="ko-KR" sz="85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852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A051203C-953B-C138-CB18-F071051940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/>
          <a:srcRect b="90962"/>
          <a:stretch/>
        </p:blipFill>
        <p:spPr>
          <a:xfrm>
            <a:off x="768" y="671"/>
            <a:ext cx="10387752" cy="6559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63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 rotWithShape="1">
          <a:blip r:embed="rId2" cstate="print"/>
          <a:srcRect b="90962"/>
          <a:stretch/>
        </p:blipFill>
        <p:spPr>
          <a:xfrm>
            <a:off x="768" y="671"/>
            <a:ext cx="10387752" cy="655939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>
          <a:xfrm>
            <a:off x="209344" y="7023375"/>
            <a:ext cx="4717823" cy="2234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7873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5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※ </a:t>
            </a:r>
            <a:r>
              <a:rPr kumimoji="0" lang="ko-KR" altLang="en-US" sz="85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본 교육자료는 컨설턴트 교육용으로 고객안내자료로 활용할 수 없습니다</a:t>
            </a:r>
            <a:r>
              <a:rPr kumimoji="0" lang="en-US" altLang="ko-KR" sz="85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852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01514DE5-7576-9AFB-71B5-219D68B864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/>
          <a:srcRect b="6575"/>
          <a:stretch/>
        </p:blipFill>
        <p:spPr>
          <a:xfrm>
            <a:off x="768" y="672"/>
            <a:ext cx="10387752" cy="6780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8662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09" y="34748"/>
            <a:ext cx="746500" cy="737604"/>
          </a:xfrm>
          <a:prstGeom prst="rect">
            <a:avLst/>
          </a:prstGeom>
        </p:spPr>
      </p:pic>
      <p:pic>
        <p:nvPicPr>
          <p:cNvPr id="7" name="그림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" y="676"/>
            <a:ext cx="10387751" cy="7257341"/>
          </a:xfrm>
          <a:prstGeom prst="rect">
            <a:avLst/>
          </a:prstGeom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9823172" y="6956145"/>
            <a:ext cx="577827" cy="251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5407" tIns="47704" rIns="95407" bIns="47704"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marL="0" marR="0" lvl="0" indent="0" algn="r" defTabSz="95461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535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fld id="{16B1565D-7790-4B20-9C8C-6E71895AF331}" type="slidenum">
              <a:rPr kumimoji="0" lang="ko-KR" altLang="en-US" sz="1535" b="1" i="0" u="none" strike="noStrike" kern="1200" cap="none" spc="0" normalizeH="0" baseline="0" noProof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pPr marL="0" marR="0" lvl="0" indent="0" algn="r" defTabSz="954613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535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pic>
        <p:nvPicPr>
          <p:cNvPr id="8" name="그림 7" descr="그림5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0396" y="103838"/>
            <a:ext cx="876017" cy="350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959291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67" y="671"/>
            <a:ext cx="10387754" cy="7257341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209344" y="6780849"/>
            <a:ext cx="4717823" cy="2234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7873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5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※ </a:t>
            </a:r>
            <a:r>
              <a:rPr kumimoji="0" lang="ko-KR" altLang="en-US" sz="85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본 교육자료는 컨설턴트 교육용으로 고객안내자료로 활용할 수 없습니다</a:t>
            </a:r>
            <a:r>
              <a:rPr kumimoji="0" lang="en-US" altLang="ko-KR" sz="85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852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1128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68" y="483556"/>
            <a:ext cx="10387752" cy="7257341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209344" y="6780849"/>
            <a:ext cx="4717823" cy="2234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7873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5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※ </a:t>
            </a:r>
            <a:r>
              <a:rPr kumimoji="0" lang="ko-KR" altLang="en-US" sz="85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본 교육자료는 컨설턴트 교육용으로 고객안내자료로 활용할 수 없습니다</a:t>
            </a:r>
            <a:r>
              <a:rPr kumimoji="0" lang="en-US" altLang="ko-KR" sz="85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852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4694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209344" y="6979145"/>
            <a:ext cx="4717823" cy="2234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7873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5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※ </a:t>
            </a:r>
            <a:r>
              <a:rPr kumimoji="0" lang="ko-KR" altLang="en-US" sz="85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본 교육자료는 컨설턴트 교육용으로 고객안내자료로 활용할 수 없습니다</a:t>
            </a:r>
            <a:r>
              <a:rPr kumimoji="0" lang="en-US" altLang="ko-KR" sz="85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852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A051203C-953B-C138-CB18-F071051940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/>
          <a:srcRect b="90962"/>
          <a:stretch/>
        </p:blipFill>
        <p:spPr>
          <a:xfrm>
            <a:off x="768" y="671"/>
            <a:ext cx="10387752" cy="6559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1646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 rotWithShape="1">
          <a:blip r:embed="rId2" cstate="print"/>
          <a:srcRect b="90962"/>
          <a:stretch/>
        </p:blipFill>
        <p:spPr>
          <a:xfrm>
            <a:off x="768" y="671"/>
            <a:ext cx="10387752" cy="655939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>
          <a:xfrm>
            <a:off x="209344" y="7023375"/>
            <a:ext cx="4717823" cy="2234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7873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5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※ </a:t>
            </a:r>
            <a:r>
              <a:rPr kumimoji="0" lang="ko-KR" altLang="en-US" sz="85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본 교육자료는 컨설턴트 교육용으로 고객안내자료로 활용할 수 없습니다</a:t>
            </a:r>
            <a:r>
              <a:rPr kumimoji="0" lang="en-US" altLang="ko-KR" sz="85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852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01514DE5-7576-9AFB-71B5-219D68B864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/>
          <a:srcRect b="6575"/>
          <a:stretch/>
        </p:blipFill>
        <p:spPr>
          <a:xfrm>
            <a:off x="768" y="672"/>
            <a:ext cx="10387752" cy="6780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456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78789" y="2253715"/>
            <a:ext cx="8826262" cy="1555096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557578" y="4111096"/>
            <a:ext cx="7268686" cy="1854024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859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18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577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436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29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154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013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087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771826"/>
            <a:fld id="{14F7B84C-7E92-4736-AED6-4B9930A3EE80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 defTabSz="771826"/>
              <a:t>2023-09-25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771826"/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771826"/>
            <a:fld id="{2747D207-944B-4363-884F-A02296F6E65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 defTabSz="771826"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65" y="7942"/>
            <a:ext cx="10382306" cy="7253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48465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66" y="669"/>
            <a:ext cx="10387754" cy="7257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3959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65" y="13980"/>
            <a:ext cx="10383073" cy="724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6522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66" y="670"/>
            <a:ext cx="10387754" cy="7257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120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66" y="670"/>
            <a:ext cx="10387754" cy="7257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7711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직사각형 7"/>
          <p:cNvSpPr/>
          <p:nvPr userDrawn="1"/>
        </p:nvSpPr>
        <p:spPr>
          <a:xfrm>
            <a:off x="17" y="16"/>
            <a:ext cx="10383838" cy="19692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606" tIns="35303" rIns="70606" bIns="35303" rtlCol="0" anchor="ctr"/>
          <a:lstStyle/>
          <a:p>
            <a:pPr marL="0" marR="0" lvl="0" indent="0" algn="ctr" defTabSz="809326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53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15" name="그림 14">
            <a:extLst>
              <a:ext uri="{FF2B5EF4-FFF2-40B4-BE49-F238E27FC236}">
                <a16:creationId xmlns:a16="http://schemas.microsoft.com/office/drawing/2014/main" id="{0F3651F7-2466-4722-9C4C-94595706F0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>
          <a:xfrm>
            <a:off x="-19293" y="-496754"/>
            <a:ext cx="6543106" cy="7995000"/>
          </a:xfrm>
          <a:prstGeom prst="rect">
            <a:avLst/>
          </a:prstGeom>
        </p:spPr>
      </p:pic>
      <p:sp>
        <p:nvSpPr>
          <p:cNvPr id="14" name="모서리가 둥근 직사각형 13"/>
          <p:cNvSpPr/>
          <p:nvPr userDrawn="1"/>
        </p:nvSpPr>
        <p:spPr>
          <a:xfrm>
            <a:off x="9176343" y="156894"/>
            <a:ext cx="1014778" cy="188914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127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13905" rIns="0" bIns="13905" rtlCol="0" anchor="ctr">
            <a:spAutoFit/>
          </a:bodyPr>
          <a:lstStyle/>
          <a:p>
            <a:pPr marL="0" marR="0" lvl="0" indent="0" algn="ctr" defTabSz="809326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2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FP</a:t>
            </a:r>
            <a:r>
              <a:rPr kumimoji="0" lang="ko-KR" altLang="en-US" sz="927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교육용자료</a:t>
            </a:r>
            <a:endParaRPr kumimoji="0" lang="ko-KR" altLang="en-US" sz="927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205629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그림 1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912" y="3"/>
            <a:ext cx="10387751" cy="7257341"/>
          </a:xfrm>
          <a:prstGeom prst="rect">
            <a:avLst/>
          </a:prstGeom>
        </p:spPr>
      </p:pic>
      <p:sp>
        <p:nvSpPr>
          <p:cNvPr id="19" name="Rectangle 5"/>
          <p:cNvSpPr>
            <a:spLocks noChangeArrowheads="1"/>
          </p:cNvSpPr>
          <p:nvPr userDrawn="1"/>
        </p:nvSpPr>
        <p:spPr bwMode="auto">
          <a:xfrm>
            <a:off x="9823172" y="6956145"/>
            <a:ext cx="577827" cy="251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5407" tIns="47704" rIns="95407" bIns="47704"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marL="0" marR="0" lvl="0" indent="0" algn="r" defTabSz="95461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535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fld id="{16B1565D-7790-4B20-9C8C-6E71895AF331}" type="slidenum">
              <a:rPr kumimoji="0" lang="ko-KR" altLang="en-US" sz="1535" b="1" i="0" u="none" strike="noStrike" kern="1200" cap="none" spc="0" normalizeH="0" baseline="0" noProof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pPr marL="0" marR="0" lvl="0" indent="0" algn="r" defTabSz="954613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535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pic>
        <p:nvPicPr>
          <p:cNvPr id="20" name="그림 19" descr="그림5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0396" y="103838"/>
            <a:ext cx="876017" cy="350910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 userDrawn="1"/>
        </p:nvPicPr>
        <p:blipFill>
          <a:blip r:embed="rId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09" y="34748"/>
            <a:ext cx="746500" cy="737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0703507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778794"/>
            <a:fld id="{0F9F3D02-1C54-4E22-9EAA-49F808A4F776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 defTabSz="778794"/>
              <a:t>2023-09-25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778794"/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778794"/>
            <a:fld id="{1FD6B726-94B2-4581-AF0F-C5FFC7EEEE13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 defTabSz="778794"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5410787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67" y="670"/>
            <a:ext cx="10387754" cy="7257341"/>
          </a:xfrm>
          <a:prstGeom prst="rect">
            <a:avLst/>
          </a:prstGeom>
        </p:spPr>
      </p:pic>
      <p:pic>
        <p:nvPicPr>
          <p:cNvPr id="4" name="그림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80152" y="6579766"/>
            <a:ext cx="2919975" cy="475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7664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7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9" y="8397"/>
            <a:ext cx="10383838" cy="72531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2861725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7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2" y="0"/>
            <a:ext cx="10388831" cy="72582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304050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7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-4992" y="428082"/>
            <a:ext cx="10388831" cy="72565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58474">
              <a:defRPr/>
            </a:pPr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58474">
              <a:defRPr/>
            </a:pPr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>
          <a:xfrm>
            <a:off x="7977244" y="6902969"/>
            <a:ext cx="2422896" cy="386255"/>
          </a:xfrm>
        </p:spPr>
        <p:txBody>
          <a:bodyPr/>
          <a:lstStyle/>
          <a:p>
            <a:pPr defTabSz="958474">
              <a:defRPr/>
            </a:pPr>
            <a:fld id="{1ABC82A6-C368-4C37-8A7D-4A4D36779787}" type="slidenum">
              <a:rPr lang="ko-KR" altLang="en-US" smtClean="0"/>
              <a:pPr defTabSz="958474">
                <a:defRPr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572318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7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2" y="0"/>
            <a:ext cx="10388831" cy="72582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슬라이드 번호 개체 틀 4"/>
          <p:cNvSpPr>
            <a:spLocks noGrp="1"/>
          </p:cNvSpPr>
          <p:nvPr>
            <p:ph type="sldNum" sz="quarter" idx="12"/>
          </p:nvPr>
        </p:nvSpPr>
        <p:spPr>
          <a:xfrm>
            <a:off x="7977244" y="6902969"/>
            <a:ext cx="2422896" cy="386255"/>
          </a:xfrm>
        </p:spPr>
        <p:txBody>
          <a:bodyPr/>
          <a:lstStyle/>
          <a:p>
            <a:pPr defTabSz="958474">
              <a:defRPr/>
            </a:pPr>
            <a:fld id="{1ABC82A6-C368-4C37-8A7D-4A4D36779787}" type="slidenum">
              <a:rPr lang="ko-KR" altLang="en-US" smtClean="0"/>
              <a:pPr defTabSz="958474">
                <a:defRPr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92354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7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72" y="0"/>
            <a:ext cx="10388831" cy="72582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슬라이드 번호 개체 틀 4"/>
          <p:cNvSpPr>
            <a:spLocks noGrp="1"/>
          </p:cNvSpPr>
          <p:nvPr>
            <p:ph type="sldNum" sz="quarter" idx="12"/>
          </p:nvPr>
        </p:nvSpPr>
        <p:spPr>
          <a:xfrm>
            <a:off x="8021249" y="6930606"/>
            <a:ext cx="2422896" cy="386255"/>
          </a:xfrm>
        </p:spPr>
        <p:txBody>
          <a:bodyPr/>
          <a:lstStyle>
            <a:lvl1pPr>
              <a:defRPr sz="1048">
                <a:latin typeface="나눔고딕" panose="020D0604000000000000" pitchFamily="50" charset="-127"/>
                <a:ea typeface="나눔고딕" panose="020D0604000000000000" pitchFamily="50" charset="-127"/>
              </a:defRPr>
            </a:lvl1pPr>
          </a:lstStyle>
          <a:p>
            <a:pPr defTabSz="958474">
              <a:defRPr/>
            </a:pPr>
            <a:fld id="{1ABC82A6-C368-4C37-8A7D-4A4D36779787}" type="slidenum">
              <a:rPr lang="ko-KR" altLang="en-US" smtClean="0"/>
              <a:pPr defTabSz="958474">
                <a:defRPr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039998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표지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2" y="670"/>
            <a:ext cx="10387753" cy="7257341"/>
          </a:xfrm>
          <a:prstGeom prst="rect">
            <a:avLst/>
          </a:prstGeom>
        </p:spPr>
      </p:pic>
      <p:sp>
        <p:nvSpPr>
          <p:cNvPr id="10" name="Subtitle 5"/>
          <p:cNvSpPr>
            <a:spLocks noGrp="1"/>
          </p:cNvSpPr>
          <p:nvPr>
            <p:ph type="subTitle" idx="1"/>
          </p:nvPr>
        </p:nvSpPr>
        <p:spPr>
          <a:xfrm>
            <a:off x="610596" y="2784328"/>
            <a:ext cx="5613645" cy="386165"/>
          </a:xfrm>
          <a:prstGeom prst="rect">
            <a:avLst/>
          </a:prstGeom>
        </p:spPr>
        <p:txBody>
          <a:bodyPr lIns="91320" tIns="45661" rIns="91320" bIns="45661"/>
          <a:lstStyle>
            <a:lvl1pPr>
              <a:defRPr sz="1278">
                <a:solidFill>
                  <a:schemeClr val="tx1">
                    <a:lumMod val="65000"/>
                    <a:lumOff val="35000"/>
                  </a:schemeClr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endParaRPr lang="en-US"/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10596" y="1832360"/>
            <a:ext cx="9345454" cy="64733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724" b="1"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r>
              <a:rPr lang="ko-KR" altLang="en-US"/>
              <a:t>마스터 제목 스타일 편집</a:t>
            </a:r>
          </a:p>
        </p:txBody>
      </p:sp>
    </p:spTree>
    <p:extLst>
      <p:ext uri="{BB962C8B-B14F-4D97-AF65-F5344CB8AC3E}">
        <p14:creationId xmlns:p14="http://schemas.microsoft.com/office/powerpoint/2010/main" val="2111973153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78789" y="2253715"/>
            <a:ext cx="8826262" cy="1555096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557578" y="4111096"/>
            <a:ext cx="7268686" cy="1854024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859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18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577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436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29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154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013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087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771826"/>
            <a:fld id="{14F7B84C-7E92-4736-AED6-4B9930A3EE80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 defTabSz="771826"/>
              <a:t>2023-09-25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771826"/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771826"/>
            <a:fld id="{2747D207-944B-4363-884F-A02296F6E65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 defTabSz="771826"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65" y="7942"/>
            <a:ext cx="10382306" cy="7253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29076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66" y="669"/>
            <a:ext cx="10387754" cy="7257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7552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 descr="img_university_program_03.jpg"/>
          <p:cNvPicPr>
            <a:picLocks noChangeAspect="1"/>
          </p:cNvPicPr>
          <p:nvPr userDrawn="1"/>
        </p:nvPicPr>
        <p:blipFill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lum brigh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3616661"/>
            <a:ext cx="10383839" cy="3671027"/>
          </a:xfrm>
          <a:prstGeom prst="rect">
            <a:avLst/>
          </a:prstGeom>
        </p:spPr>
      </p:pic>
      <p:sp>
        <p:nvSpPr>
          <p:cNvPr id="4" name="직사각형 3"/>
          <p:cNvSpPr/>
          <p:nvPr userDrawn="1"/>
        </p:nvSpPr>
        <p:spPr>
          <a:xfrm>
            <a:off x="2" y="3"/>
            <a:ext cx="10383838" cy="37655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076" tIns="40037" rIns="80076" bIns="40037" rtlCol="0" anchor="ctr"/>
          <a:lstStyle/>
          <a:p>
            <a:pPr algn="ctr" defTabSz="913573" fontAlgn="base">
              <a:spcBef>
                <a:spcPct val="0"/>
              </a:spcBef>
              <a:spcAft>
                <a:spcPct val="0"/>
              </a:spcAft>
            </a:pPr>
            <a:endParaRPr kumimoji="1" lang="ko-KR" altLang="en-US" sz="1984" dirty="0">
              <a:solidFill>
                <a:prstClr val="white"/>
              </a:solidFill>
            </a:endParaRPr>
          </a:p>
        </p:txBody>
      </p:sp>
      <p:cxnSp>
        <p:nvCxnSpPr>
          <p:cNvPr id="7" name="직선 연결선 6"/>
          <p:cNvCxnSpPr/>
          <p:nvPr userDrawn="1"/>
        </p:nvCxnSpPr>
        <p:spPr>
          <a:xfrm flipH="1">
            <a:off x="296565" y="2246214"/>
            <a:ext cx="6380792" cy="0"/>
          </a:xfrm>
          <a:prstGeom prst="line">
            <a:avLst/>
          </a:prstGeom>
          <a:ln>
            <a:solidFill>
              <a:srgbClr val="002060"/>
            </a:solidFill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4308" y="4594303"/>
            <a:ext cx="675296" cy="1041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직사각형 7"/>
          <p:cNvSpPr/>
          <p:nvPr userDrawn="1"/>
        </p:nvSpPr>
        <p:spPr>
          <a:xfrm>
            <a:off x="9079046" y="29012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algn="ctr"/>
            <a:r>
              <a:rPr lang="ko-KR" altLang="en-US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사내교육용</a:t>
            </a:r>
            <a:r>
              <a:rPr lang="en-US" altLang="ko-KR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(</a:t>
            </a:r>
            <a:r>
              <a:rPr lang="ko-KR" altLang="en-US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대외비</a:t>
            </a:r>
            <a:r>
              <a:rPr lang="en-US" altLang="ko-KR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)</a:t>
            </a:r>
            <a:r>
              <a:rPr lang="ko-KR" altLang="en-US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</a:p>
        </p:txBody>
      </p:sp>
      <p:sp>
        <p:nvSpPr>
          <p:cNvPr id="9" name="슬라이드 번호 개체 틀 2"/>
          <p:cNvSpPr txBox="1">
            <a:spLocks/>
          </p:cNvSpPr>
          <p:nvPr userDrawn="1"/>
        </p:nvSpPr>
        <p:spPr>
          <a:xfrm>
            <a:off x="9691481" y="6967999"/>
            <a:ext cx="631527" cy="322319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91202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0" lang="en-US" altLang="ko-KR" sz="1200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912025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1" y="3"/>
            <a:ext cx="10387751" cy="7257339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8943" y="178754"/>
            <a:ext cx="698459" cy="288239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 userDrawn="1"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941083" y="6518231"/>
            <a:ext cx="1147176" cy="567871"/>
          </a:xfrm>
          <a:prstGeom prst="rect">
            <a:avLst/>
          </a:prstGeom>
        </p:spPr>
      </p:pic>
      <p:sp>
        <p:nvSpPr>
          <p:cNvPr id="8" name="Rectangle 5"/>
          <p:cNvSpPr>
            <a:spLocks noChangeArrowheads="1"/>
          </p:cNvSpPr>
          <p:nvPr userDrawn="1"/>
        </p:nvSpPr>
        <p:spPr bwMode="auto">
          <a:xfrm>
            <a:off x="8770385" y="421797"/>
            <a:ext cx="1417329" cy="251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5412" tIns="47708" rIns="95412" bIns="47708"/>
          <a:lstStyle/>
          <a:p>
            <a:pPr marL="0" marR="0" lvl="0" indent="0" algn="r" defTabSz="95471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44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fld id="{16B1565D-7790-4B20-9C8C-6E71895AF331}" type="slidenum">
              <a:rPr kumimoji="0" lang="ko-KR" altLang="en-US" sz="1344" b="1" i="0" u="none" strike="noStrike" kern="1200" cap="none" spc="0" normalizeH="0" baseline="0" noProof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pPr marL="0" marR="0" lvl="0" indent="0" algn="r" defTabSz="95471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344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8440071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65" y="-10852"/>
            <a:ext cx="10383073" cy="7257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60938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66" y="670"/>
            <a:ext cx="10387754" cy="7257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2857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66" y="670"/>
            <a:ext cx="10387754" cy="7257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26310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직사각형 7"/>
          <p:cNvSpPr/>
          <p:nvPr userDrawn="1"/>
        </p:nvSpPr>
        <p:spPr>
          <a:xfrm>
            <a:off x="17" y="16"/>
            <a:ext cx="10383838" cy="19692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606" tIns="35303" rIns="70606" bIns="35303" rtlCol="0" anchor="ctr"/>
          <a:lstStyle/>
          <a:p>
            <a:pPr marL="0" marR="0" lvl="0" indent="0" algn="ctr" defTabSz="809326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53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15" name="그림 14">
            <a:extLst>
              <a:ext uri="{FF2B5EF4-FFF2-40B4-BE49-F238E27FC236}">
                <a16:creationId xmlns:a16="http://schemas.microsoft.com/office/drawing/2014/main" id="{0F3651F7-2466-4722-9C4C-94595706F0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>
          <a:xfrm>
            <a:off x="-19293" y="-496754"/>
            <a:ext cx="6543106" cy="7995000"/>
          </a:xfrm>
          <a:prstGeom prst="rect">
            <a:avLst/>
          </a:prstGeom>
        </p:spPr>
      </p:pic>
      <p:sp>
        <p:nvSpPr>
          <p:cNvPr id="14" name="모서리가 둥근 직사각형 13"/>
          <p:cNvSpPr/>
          <p:nvPr userDrawn="1"/>
        </p:nvSpPr>
        <p:spPr>
          <a:xfrm>
            <a:off x="9176343" y="156894"/>
            <a:ext cx="1014778" cy="188914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127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13905" rIns="0" bIns="13905" rtlCol="0" anchor="ctr">
            <a:spAutoFit/>
          </a:bodyPr>
          <a:lstStyle/>
          <a:p>
            <a:pPr marL="0" marR="0" lvl="0" indent="0" algn="ctr" defTabSz="809326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2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FP</a:t>
            </a:r>
            <a:r>
              <a:rPr kumimoji="0" lang="ko-KR" altLang="en-US" sz="927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교육용자료</a:t>
            </a:r>
            <a:endParaRPr kumimoji="0" lang="ko-KR" altLang="en-US" sz="927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19728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778794"/>
            <a:fld id="{0F9F3D02-1C54-4E22-9EAA-49F808A4F776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 defTabSz="778794"/>
              <a:t>2023-09-25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778794"/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778794"/>
            <a:fld id="{1FD6B726-94B2-4581-AF0F-C5FFC7EEEE13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 defTabSz="778794"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7312743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67" y="670"/>
            <a:ext cx="10387754" cy="7257341"/>
          </a:xfrm>
          <a:prstGeom prst="rect">
            <a:avLst/>
          </a:prstGeom>
        </p:spPr>
      </p:pic>
      <p:pic>
        <p:nvPicPr>
          <p:cNvPr id="4" name="그림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80152" y="6579766"/>
            <a:ext cx="2919975" cy="475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0694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1" y="4"/>
            <a:ext cx="10383125" cy="72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8746688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그림 4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489"/>
          <a:stretch/>
        </p:blipFill>
        <p:spPr>
          <a:xfrm>
            <a:off x="8903967" y="1189239"/>
            <a:ext cx="1480559" cy="3100231"/>
          </a:xfrm>
          <a:prstGeom prst="rect">
            <a:avLst/>
          </a:prstGeom>
        </p:spPr>
      </p:pic>
      <p:pic>
        <p:nvPicPr>
          <p:cNvPr id="44" name="그림 4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96"/>
          <a:stretch/>
        </p:blipFill>
        <p:spPr>
          <a:xfrm>
            <a:off x="-8408" y="1186961"/>
            <a:ext cx="2853063" cy="3100231"/>
          </a:xfrm>
          <a:prstGeom prst="rect">
            <a:avLst/>
          </a:prstGeom>
        </p:spPr>
      </p:pic>
      <p:pic>
        <p:nvPicPr>
          <p:cNvPr id="3" name="그림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" y="754"/>
            <a:ext cx="10384834" cy="7254123"/>
          </a:xfrm>
          <a:prstGeom prst="rect">
            <a:avLst/>
          </a:prstGeom>
        </p:spPr>
      </p:pic>
      <p:sp>
        <p:nvSpPr>
          <p:cNvPr id="6" name="직사각형 5"/>
          <p:cNvSpPr/>
          <p:nvPr userDrawn="1"/>
        </p:nvSpPr>
        <p:spPr>
          <a:xfrm>
            <a:off x="7500778" y="6437275"/>
            <a:ext cx="2641471" cy="6673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7472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51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5" name="그림 4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623165" y="6621850"/>
            <a:ext cx="2589228" cy="455878"/>
          </a:xfrm>
          <a:prstGeom prst="rect">
            <a:avLst/>
          </a:prstGeom>
        </p:spPr>
      </p:pic>
      <p:sp>
        <p:nvSpPr>
          <p:cNvPr id="24" name="Isosceles Triangle 15">
            <a:extLst>
              <a:ext uri="{FF2B5EF4-FFF2-40B4-BE49-F238E27FC236}">
                <a16:creationId xmlns:a16="http://schemas.microsoft.com/office/drawing/2014/main" id="{947BC3FA-3C79-4F57-A6F2-0628F53A7B96}"/>
              </a:ext>
            </a:extLst>
          </p:cNvPr>
          <p:cNvSpPr/>
          <p:nvPr userDrawn="1"/>
        </p:nvSpPr>
        <p:spPr>
          <a:xfrm rot="10800000">
            <a:off x="1633815" y="2489629"/>
            <a:ext cx="3809758" cy="1797343"/>
          </a:xfrm>
          <a:custGeom>
            <a:avLst/>
            <a:gdLst/>
            <a:ahLst/>
            <a:cxnLst/>
            <a:rect l="l" t="t" r="r" b="b"/>
            <a:pathLst>
              <a:path w="8427514" h="2597239">
                <a:moveTo>
                  <a:pt x="4226731" y="2597239"/>
                </a:moveTo>
                <a:cubicBezTo>
                  <a:pt x="4151713" y="2593344"/>
                  <a:pt x="4226544" y="1571255"/>
                  <a:pt x="4085641" y="1436961"/>
                </a:cubicBezTo>
                <a:cubicBezTo>
                  <a:pt x="3945097" y="1423791"/>
                  <a:pt x="3830783" y="1321570"/>
                  <a:pt x="3799565" y="1186993"/>
                </a:cubicBezTo>
                <a:cubicBezTo>
                  <a:pt x="3465540" y="1190963"/>
                  <a:pt x="2893896" y="1309190"/>
                  <a:pt x="2893897" y="1243358"/>
                </a:cubicBezTo>
                <a:cubicBezTo>
                  <a:pt x="2878850" y="1173635"/>
                  <a:pt x="3473870" y="1131186"/>
                  <a:pt x="3789402" y="1039632"/>
                </a:cubicBezTo>
                <a:lnTo>
                  <a:pt x="3789402" y="949897"/>
                </a:lnTo>
                <a:lnTo>
                  <a:pt x="47906" y="1257081"/>
                </a:lnTo>
                <a:cubicBezTo>
                  <a:pt x="-132121" y="1267427"/>
                  <a:pt x="240348" y="1141200"/>
                  <a:pt x="420375" y="1120508"/>
                </a:cubicBezTo>
                <a:cubicBezTo>
                  <a:pt x="924509" y="1068703"/>
                  <a:pt x="1278693" y="1044634"/>
                  <a:pt x="1616677" y="1011951"/>
                </a:cubicBezTo>
                <a:lnTo>
                  <a:pt x="1616677" y="899775"/>
                </a:lnTo>
                <a:cubicBezTo>
                  <a:pt x="1616677" y="887559"/>
                  <a:pt x="1626580" y="877656"/>
                  <a:pt x="1638796" y="877656"/>
                </a:cubicBezTo>
                <a:lnTo>
                  <a:pt x="1678877" y="877656"/>
                </a:lnTo>
                <a:cubicBezTo>
                  <a:pt x="1691093" y="877656"/>
                  <a:pt x="1700996" y="887559"/>
                  <a:pt x="1700996" y="899775"/>
                </a:cubicBezTo>
                <a:lnTo>
                  <a:pt x="1700996" y="1003216"/>
                </a:lnTo>
                <a:cubicBezTo>
                  <a:pt x="1874286" y="985864"/>
                  <a:pt x="2046202" y="965062"/>
                  <a:pt x="2235083" y="936195"/>
                </a:cubicBezTo>
                <a:lnTo>
                  <a:pt x="2235083" y="822014"/>
                </a:lnTo>
                <a:cubicBezTo>
                  <a:pt x="2235083" y="809798"/>
                  <a:pt x="2244986" y="799895"/>
                  <a:pt x="2257202" y="799895"/>
                </a:cubicBezTo>
                <a:lnTo>
                  <a:pt x="2297283" y="799895"/>
                </a:lnTo>
                <a:cubicBezTo>
                  <a:pt x="2309499" y="799895"/>
                  <a:pt x="2319402" y="809798"/>
                  <a:pt x="2319402" y="822014"/>
                </a:cubicBezTo>
                <a:lnTo>
                  <a:pt x="2319402" y="922938"/>
                </a:lnTo>
                <a:cubicBezTo>
                  <a:pt x="2499685" y="894212"/>
                  <a:pt x="2696841" y="857660"/>
                  <a:pt x="2925534" y="809594"/>
                </a:cubicBezTo>
                <a:lnTo>
                  <a:pt x="2925534" y="740021"/>
                </a:lnTo>
                <a:cubicBezTo>
                  <a:pt x="2821343" y="727186"/>
                  <a:pt x="2741052" y="638102"/>
                  <a:pt x="2741052" y="530265"/>
                </a:cubicBezTo>
                <a:cubicBezTo>
                  <a:pt x="2741052" y="412855"/>
                  <a:pt x="2836231" y="317676"/>
                  <a:pt x="2953641" y="317676"/>
                </a:cubicBezTo>
                <a:cubicBezTo>
                  <a:pt x="3071051" y="317676"/>
                  <a:pt x="3166230" y="412855"/>
                  <a:pt x="3166230" y="530265"/>
                </a:cubicBezTo>
                <a:cubicBezTo>
                  <a:pt x="3166230" y="628128"/>
                  <a:pt x="3100105" y="710545"/>
                  <a:pt x="3009853" y="734385"/>
                </a:cubicBezTo>
                <a:lnTo>
                  <a:pt x="3009853" y="791386"/>
                </a:lnTo>
                <a:cubicBezTo>
                  <a:pt x="3127996" y="766333"/>
                  <a:pt x="3254362" y="737944"/>
                  <a:pt x="3390843" y="706074"/>
                </a:cubicBezTo>
                <a:lnTo>
                  <a:pt x="3390843" y="168653"/>
                </a:lnTo>
                <a:lnTo>
                  <a:pt x="3359458" y="168653"/>
                </a:lnTo>
                <a:lnTo>
                  <a:pt x="3359458" y="255259"/>
                </a:lnTo>
                <a:cubicBezTo>
                  <a:pt x="3359458" y="269527"/>
                  <a:pt x="3347891" y="281094"/>
                  <a:pt x="3333623" y="281094"/>
                </a:cubicBezTo>
                <a:lnTo>
                  <a:pt x="3272856" y="281094"/>
                </a:lnTo>
                <a:cubicBezTo>
                  <a:pt x="3258588" y="281094"/>
                  <a:pt x="3247021" y="269527"/>
                  <a:pt x="3247021" y="255259"/>
                </a:cubicBezTo>
                <a:lnTo>
                  <a:pt x="3247021" y="25835"/>
                </a:lnTo>
                <a:cubicBezTo>
                  <a:pt x="3247021" y="11567"/>
                  <a:pt x="3258588" y="0"/>
                  <a:pt x="3272856" y="0"/>
                </a:cubicBezTo>
                <a:lnTo>
                  <a:pt x="3333623" y="0"/>
                </a:lnTo>
                <a:cubicBezTo>
                  <a:pt x="3347891" y="0"/>
                  <a:pt x="3359458" y="11567"/>
                  <a:pt x="3359458" y="25835"/>
                </a:cubicBezTo>
                <a:lnTo>
                  <a:pt x="3359458" y="112440"/>
                </a:lnTo>
                <a:lnTo>
                  <a:pt x="3478442" y="112440"/>
                </a:lnTo>
                <a:lnTo>
                  <a:pt x="3478442" y="25835"/>
                </a:lnTo>
                <a:cubicBezTo>
                  <a:pt x="3478442" y="11567"/>
                  <a:pt x="3490009" y="0"/>
                  <a:pt x="3504277" y="0"/>
                </a:cubicBezTo>
                <a:lnTo>
                  <a:pt x="3565044" y="0"/>
                </a:lnTo>
                <a:cubicBezTo>
                  <a:pt x="3579312" y="0"/>
                  <a:pt x="3590879" y="11567"/>
                  <a:pt x="3590879" y="25835"/>
                </a:cubicBezTo>
                <a:lnTo>
                  <a:pt x="3590879" y="255259"/>
                </a:lnTo>
                <a:cubicBezTo>
                  <a:pt x="3590879" y="269527"/>
                  <a:pt x="3579312" y="281094"/>
                  <a:pt x="3565044" y="281094"/>
                </a:cubicBezTo>
                <a:lnTo>
                  <a:pt x="3504277" y="281094"/>
                </a:lnTo>
                <a:cubicBezTo>
                  <a:pt x="3490009" y="281094"/>
                  <a:pt x="3478442" y="269527"/>
                  <a:pt x="3478442" y="255259"/>
                </a:cubicBezTo>
                <a:lnTo>
                  <a:pt x="3478442" y="168653"/>
                </a:lnTo>
                <a:lnTo>
                  <a:pt x="3447055" y="168653"/>
                </a:lnTo>
                <a:lnTo>
                  <a:pt x="3447055" y="692891"/>
                </a:lnTo>
                <a:lnTo>
                  <a:pt x="3447056" y="692891"/>
                </a:lnTo>
                <a:lnTo>
                  <a:pt x="3447056" y="349323"/>
                </a:lnTo>
                <a:lnTo>
                  <a:pt x="3619849" y="651710"/>
                </a:lnTo>
                <a:cubicBezTo>
                  <a:pt x="3679571" y="637288"/>
                  <a:pt x="3741099" y="622243"/>
                  <a:pt x="3804556" y="606555"/>
                </a:cubicBezTo>
                <a:cubicBezTo>
                  <a:pt x="3834161" y="534998"/>
                  <a:pt x="3904681" y="484712"/>
                  <a:pt x="3986946" y="484712"/>
                </a:cubicBezTo>
                <a:lnTo>
                  <a:pt x="4163011" y="484712"/>
                </a:lnTo>
                <a:lnTo>
                  <a:pt x="4178052" y="373728"/>
                </a:lnTo>
                <a:lnTo>
                  <a:pt x="4132718" y="373728"/>
                </a:lnTo>
                <a:lnTo>
                  <a:pt x="4132718" y="317516"/>
                </a:lnTo>
                <a:lnTo>
                  <a:pt x="4185669" y="317516"/>
                </a:lnTo>
                <a:lnTo>
                  <a:pt x="4210475" y="134476"/>
                </a:lnTo>
                <a:lnTo>
                  <a:pt x="4173570" y="134476"/>
                </a:lnTo>
                <a:lnTo>
                  <a:pt x="4173570" y="190698"/>
                </a:lnTo>
                <a:lnTo>
                  <a:pt x="4117358" y="190698"/>
                </a:lnTo>
                <a:lnTo>
                  <a:pt x="4117358" y="22042"/>
                </a:lnTo>
                <a:lnTo>
                  <a:pt x="4173570" y="22042"/>
                </a:lnTo>
                <a:lnTo>
                  <a:pt x="4173570" y="78264"/>
                </a:lnTo>
                <a:lnTo>
                  <a:pt x="4260520" y="78264"/>
                </a:lnTo>
                <a:lnTo>
                  <a:pt x="4260520" y="22042"/>
                </a:lnTo>
                <a:lnTo>
                  <a:pt x="4316732" y="22042"/>
                </a:lnTo>
                <a:lnTo>
                  <a:pt x="4316732" y="190698"/>
                </a:lnTo>
                <a:lnTo>
                  <a:pt x="4260520" y="190698"/>
                </a:lnTo>
                <a:lnTo>
                  <a:pt x="4260520" y="134476"/>
                </a:lnTo>
                <a:lnTo>
                  <a:pt x="4223615" y="134476"/>
                </a:lnTo>
                <a:lnTo>
                  <a:pt x="4248421" y="317516"/>
                </a:lnTo>
                <a:lnTo>
                  <a:pt x="4301374" y="317516"/>
                </a:lnTo>
                <a:lnTo>
                  <a:pt x="4301374" y="373728"/>
                </a:lnTo>
                <a:lnTo>
                  <a:pt x="4256039" y="373728"/>
                </a:lnTo>
                <a:lnTo>
                  <a:pt x="4271080" y="484712"/>
                </a:lnTo>
                <a:lnTo>
                  <a:pt x="4440568" y="484712"/>
                </a:lnTo>
                <a:cubicBezTo>
                  <a:pt x="4522833" y="484712"/>
                  <a:pt x="4593354" y="534998"/>
                  <a:pt x="4622958" y="606555"/>
                </a:cubicBezTo>
                <a:cubicBezTo>
                  <a:pt x="4686415" y="622243"/>
                  <a:pt x="4747943" y="637288"/>
                  <a:pt x="4807665" y="651710"/>
                </a:cubicBezTo>
                <a:lnTo>
                  <a:pt x="4980458" y="349323"/>
                </a:lnTo>
                <a:lnTo>
                  <a:pt x="4980458" y="692891"/>
                </a:lnTo>
                <a:lnTo>
                  <a:pt x="4980459" y="168653"/>
                </a:lnTo>
                <a:lnTo>
                  <a:pt x="4949073" y="168653"/>
                </a:lnTo>
                <a:lnTo>
                  <a:pt x="4949073" y="255259"/>
                </a:lnTo>
                <a:cubicBezTo>
                  <a:pt x="4949073" y="269527"/>
                  <a:pt x="4937506" y="281094"/>
                  <a:pt x="4923238" y="281094"/>
                </a:cubicBezTo>
                <a:lnTo>
                  <a:pt x="4862471" y="281094"/>
                </a:lnTo>
                <a:cubicBezTo>
                  <a:pt x="4848203" y="281094"/>
                  <a:pt x="4836636" y="269527"/>
                  <a:pt x="4836636" y="255259"/>
                </a:cubicBezTo>
                <a:lnTo>
                  <a:pt x="4836636" y="25835"/>
                </a:lnTo>
                <a:cubicBezTo>
                  <a:pt x="4836636" y="11567"/>
                  <a:pt x="4848203" y="0"/>
                  <a:pt x="4862471" y="0"/>
                </a:cubicBezTo>
                <a:lnTo>
                  <a:pt x="4923238" y="0"/>
                </a:lnTo>
                <a:cubicBezTo>
                  <a:pt x="4937506" y="0"/>
                  <a:pt x="4949073" y="11567"/>
                  <a:pt x="4949073" y="25835"/>
                </a:cubicBezTo>
                <a:lnTo>
                  <a:pt x="4949073" y="112440"/>
                </a:lnTo>
                <a:lnTo>
                  <a:pt x="5068056" y="112440"/>
                </a:lnTo>
                <a:lnTo>
                  <a:pt x="5068056" y="25835"/>
                </a:lnTo>
                <a:cubicBezTo>
                  <a:pt x="5068056" y="11567"/>
                  <a:pt x="5079623" y="0"/>
                  <a:pt x="5093891" y="0"/>
                </a:cubicBezTo>
                <a:lnTo>
                  <a:pt x="5154658" y="0"/>
                </a:lnTo>
                <a:cubicBezTo>
                  <a:pt x="5168926" y="0"/>
                  <a:pt x="5180493" y="11567"/>
                  <a:pt x="5180493" y="25835"/>
                </a:cubicBezTo>
                <a:lnTo>
                  <a:pt x="5180493" y="255259"/>
                </a:lnTo>
                <a:cubicBezTo>
                  <a:pt x="5180493" y="269527"/>
                  <a:pt x="5168926" y="281094"/>
                  <a:pt x="5154658" y="281094"/>
                </a:cubicBezTo>
                <a:lnTo>
                  <a:pt x="5093891" y="281094"/>
                </a:lnTo>
                <a:cubicBezTo>
                  <a:pt x="5079623" y="281094"/>
                  <a:pt x="5068056" y="269527"/>
                  <a:pt x="5068056" y="255259"/>
                </a:cubicBezTo>
                <a:lnTo>
                  <a:pt x="5068056" y="168653"/>
                </a:lnTo>
                <a:lnTo>
                  <a:pt x="5036671" y="168653"/>
                </a:lnTo>
                <a:lnTo>
                  <a:pt x="5036671" y="706074"/>
                </a:lnTo>
                <a:cubicBezTo>
                  <a:pt x="5173152" y="737944"/>
                  <a:pt x="5299518" y="766333"/>
                  <a:pt x="5417661" y="791386"/>
                </a:cubicBezTo>
                <a:lnTo>
                  <a:pt x="5417661" y="734385"/>
                </a:lnTo>
                <a:cubicBezTo>
                  <a:pt x="5327409" y="710545"/>
                  <a:pt x="5261284" y="628128"/>
                  <a:pt x="5261284" y="530265"/>
                </a:cubicBezTo>
                <a:cubicBezTo>
                  <a:pt x="5261284" y="412855"/>
                  <a:pt x="5356463" y="317676"/>
                  <a:pt x="5473873" y="317676"/>
                </a:cubicBezTo>
                <a:cubicBezTo>
                  <a:pt x="5591283" y="317676"/>
                  <a:pt x="5686462" y="412855"/>
                  <a:pt x="5686462" y="530265"/>
                </a:cubicBezTo>
                <a:cubicBezTo>
                  <a:pt x="5686462" y="638102"/>
                  <a:pt x="5606171" y="727186"/>
                  <a:pt x="5501980" y="740021"/>
                </a:cubicBezTo>
                <a:lnTo>
                  <a:pt x="5501980" y="809594"/>
                </a:lnTo>
                <a:cubicBezTo>
                  <a:pt x="5730672" y="857660"/>
                  <a:pt x="5927829" y="894211"/>
                  <a:pt x="6108112" y="922938"/>
                </a:cubicBezTo>
                <a:lnTo>
                  <a:pt x="6108112" y="822014"/>
                </a:lnTo>
                <a:cubicBezTo>
                  <a:pt x="6108112" y="809798"/>
                  <a:pt x="6118015" y="799895"/>
                  <a:pt x="6130231" y="799895"/>
                </a:cubicBezTo>
                <a:lnTo>
                  <a:pt x="6170312" y="799895"/>
                </a:lnTo>
                <a:cubicBezTo>
                  <a:pt x="6182528" y="799895"/>
                  <a:pt x="6192431" y="809798"/>
                  <a:pt x="6192431" y="822014"/>
                </a:cubicBezTo>
                <a:lnTo>
                  <a:pt x="6192431" y="936195"/>
                </a:lnTo>
                <a:cubicBezTo>
                  <a:pt x="6381311" y="965062"/>
                  <a:pt x="6553228" y="985864"/>
                  <a:pt x="6726518" y="1003216"/>
                </a:cubicBezTo>
                <a:lnTo>
                  <a:pt x="6726518" y="899775"/>
                </a:lnTo>
                <a:cubicBezTo>
                  <a:pt x="6726518" y="887559"/>
                  <a:pt x="6736421" y="877656"/>
                  <a:pt x="6748637" y="877656"/>
                </a:cubicBezTo>
                <a:lnTo>
                  <a:pt x="6788718" y="877656"/>
                </a:lnTo>
                <a:cubicBezTo>
                  <a:pt x="6800934" y="877656"/>
                  <a:pt x="6810837" y="887559"/>
                  <a:pt x="6810837" y="899775"/>
                </a:cubicBezTo>
                <a:lnTo>
                  <a:pt x="6810837" y="1011951"/>
                </a:lnTo>
                <a:cubicBezTo>
                  <a:pt x="7148821" y="1044634"/>
                  <a:pt x="7503005" y="1068703"/>
                  <a:pt x="8007139" y="1120508"/>
                </a:cubicBezTo>
                <a:cubicBezTo>
                  <a:pt x="8187166" y="1141200"/>
                  <a:pt x="8559635" y="1267427"/>
                  <a:pt x="8379609" y="1257081"/>
                </a:cubicBezTo>
                <a:lnTo>
                  <a:pt x="4638112" y="949897"/>
                </a:lnTo>
                <a:lnTo>
                  <a:pt x="4638112" y="1039632"/>
                </a:lnTo>
                <a:cubicBezTo>
                  <a:pt x="4953644" y="1131186"/>
                  <a:pt x="5548663" y="1173635"/>
                  <a:pt x="5533616" y="1243358"/>
                </a:cubicBezTo>
                <a:cubicBezTo>
                  <a:pt x="5533617" y="1309192"/>
                  <a:pt x="4961926" y="1190954"/>
                  <a:pt x="4627907" y="1186993"/>
                </a:cubicBezTo>
                <a:cubicBezTo>
                  <a:pt x="4598303" y="1315025"/>
                  <a:pt x="4493388" y="1413809"/>
                  <a:pt x="4362270" y="1434905"/>
                </a:cubicBezTo>
                <a:cubicBezTo>
                  <a:pt x="4202604" y="1560230"/>
                  <a:pt x="4292391" y="2593670"/>
                  <a:pt x="4226731" y="2597239"/>
                </a:cubicBezTo>
                <a:close/>
              </a:path>
            </a:pathLst>
          </a:custGeom>
          <a:gradFill flip="none" rotWithShape="1">
            <a:gsLst>
              <a:gs pos="50000">
                <a:srgbClr val="006AB8"/>
              </a:gs>
              <a:gs pos="50000">
                <a:srgbClr val="4BACC6"/>
              </a:gs>
            </a:gsLst>
            <a:lin ang="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06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39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45" name="그림 4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70" y="2207668"/>
            <a:ext cx="376744" cy="769376"/>
          </a:xfrm>
          <a:prstGeom prst="rect">
            <a:avLst/>
          </a:prstGeom>
        </p:spPr>
      </p:pic>
      <p:pic>
        <p:nvPicPr>
          <p:cNvPr id="46" name="그림 4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270" y="1963736"/>
            <a:ext cx="376744" cy="773341"/>
          </a:xfrm>
          <a:prstGeom prst="rect">
            <a:avLst/>
          </a:prstGeom>
        </p:spPr>
      </p:pic>
      <p:pic>
        <p:nvPicPr>
          <p:cNvPr id="2" name="그림 1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832457" y="5416670"/>
            <a:ext cx="1388384" cy="1205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374629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196681" y="816468"/>
            <a:ext cx="931285" cy="576374"/>
          </a:xfrm>
          <a:prstGeom prst="rect">
            <a:avLst/>
          </a:prstGeom>
        </p:spPr>
      </p:pic>
      <p:pic>
        <p:nvPicPr>
          <p:cNvPr id="3" name="그림 2" descr="B_대외용_일반간지라인.png"/>
          <p:cNvPicPr>
            <a:picLocks noChangeAspect="1"/>
          </p:cNvPicPr>
          <p:nvPr userDrawn="1"/>
        </p:nvPicPr>
        <p:blipFill>
          <a:blip r:embed="rId3" cstate="print"/>
          <a:srcRect t="43753" r="44230" b="41671"/>
          <a:stretch>
            <a:fillRect/>
          </a:stretch>
        </p:blipFill>
        <p:spPr>
          <a:xfrm>
            <a:off x="4" y="1002225"/>
            <a:ext cx="10342075" cy="547912"/>
          </a:xfrm>
          <a:prstGeom prst="rect">
            <a:avLst/>
          </a:prstGeom>
          <a:effectLst/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2FCB20F-B542-E4FA-3ED2-184CBCB82381}"/>
              </a:ext>
            </a:extLst>
          </p:cNvPr>
          <p:cNvSpPr txBox="1"/>
          <p:nvPr userDrawn="1"/>
        </p:nvSpPr>
        <p:spPr>
          <a:xfrm>
            <a:off x="352833" y="238148"/>
            <a:ext cx="3392922" cy="469680"/>
          </a:xfrm>
          <a:prstGeom prst="rect">
            <a:avLst/>
          </a:prstGeom>
          <a:noFill/>
          <a:effectLst>
            <a:reflection blurRad="6350" stA="50000" endA="300" endPos="90000" dir="5400000" sy="-100000" algn="bl" rotWithShape="0"/>
          </a:effectLst>
        </p:spPr>
        <p:txBody>
          <a:bodyPr wrap="square" lIns="0" rtlCol="0">
            <a:spAutoFit/>
          </a:bodyPr>
          <a:lstStyle>
            <a:defPPr>
              <a:defRPr lang="ko-KR"/>
            </a:defPPr>
            <a:lvl1pPr>
              <a:defRPr sz="3200" b="1" spc="-300">
                <a:gradFill flip="none" rotWithShape="1">
                  <a:gsLst>
                    <a:gs pos="31000">
                      <a:srgbClr val="4DB948"/>
                    </a:gs>
                    <a:gs pos="77000">
                      <a:srgbClr val="003975"/>
                    </a:gs>
                  </a:gsLst>
                  <a:lin ang="0" scaled="1"/>
                  <a:tileRect/>
                </a:gradFill>
                <a:latin typeface="Kyobo SemiBold" panose="020B0600000101010101" pitchFamily="34" charset="-127"/>
                <a:ea typeface="Kyobo SemiBold" panose="020B0600000101010101" pitchFamily="34" charset="-127"/>
              </a:defRPr>
            </a:lvl1pPr>
          </a:lstStyle>
          <a:p>
            <a:pPr marL="0" marR="0" lvl="0" indent="0" algn="l" defTabSz="77472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452" b="1" i="0" u="none" strike="noStrike" kern="1200" cap="none" spc="-115" normalizeH="0" baseline="0" noProof="0" dirty="0">
                <a:ln>
                  <a:noFill/>
                </a:ln>
                <a:gradFill flip="none" rotWithShape="1">
                  <a:gsLst>
                    <a:gs pos="50000">
                      <a:srgbClr val="4BACC6"/>
                    </a:gs>
                    <a:gs pos="50000">
                      <a:srgbClr val="003975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Contents</a:t>
            </a:r>
            <a:endParaRPr kumimoji="0" lang="ko-KR" altLang="en-US" sz="2452" b="1" i="0" u="none" strike="noStrike" kern="1200" cap="none" spc="-115" normalizeH="0" baseline="0" noProof="0" dirty="0">
              <a:ln>
                <a:noFill/>
              </a:ln>
              <a:gradFill flip="none" rotWithShape="1">
                <a:gsLst>
                  <a:gs pos="50000">
                    <a:srgbClr val="4BACC6"/>
                  </a:gs>
                  <a:gs pos="50000">
                    <a:srgbClr val="003975"/>
                  </a:gs>
                </a:gsLst>
                <a:lin ang="2700000" scaled="1"/>
                <a:tileRect/>
              </a:gra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" name="직사각형 3"/>
          <p:cNvSpPr/>
          <p:nvPr userDrawn="1"/>
        </p:nvSpPr>
        <p:spPr>
          <a:xfrm>
            <a:off x="138192" y="6866201"/>
            <a:ext cx="5243634" cy="2956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7472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52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85731" y="6961564"/>
            <a:ext cx="10194249" cy="2111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74288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772" b="1" i="0" u="none" strike="noStrike" kern="1200" cap="none" spc="0" normalizeH="0" baseline="0" noProof="0" dirty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※ </a:t>
            </a:r>
            <a:r>
              <a:rPr kumimoji="0" lang="ko-KR" altLang="en-US" sz="772" b="1" i="0" u="none" strike="noStrike" kern="1200" cap="none" spc="0" normalizeH="0" baseline="0" noProof="0" dirty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본 자료는 컨설턴트 교육용으로 </a:t>
            </a:r>
            <a:r>
              <a:rPr kumimoji="0" lang="ko-KR" altLang="en-US" sz="772" b="1" i="0" u="none" strike="noStrike" kern="1200" cap="none" spc="0" normalizeH="0" baseline="0" noProof="0" dirty="0" err="1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환급금</a:t>
            </a:r>
            <a:r>
              <a:rPr kumimoji="0" lang="ko-KR" altLang="en-US" sz="772" b="1" i="0" u="none" strike="noStrike" kern="1200" cap="none" spc="0" normalizeH="0" baseline="0" noProof="0" dirty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및 보험금 지급의 근거가 될 수 없으며 고객안내자료로 활용할 수 없습니다</a:t>
            </a:r>
            <a:r>
              <a:rPr kumimoji="0" lang="en-US" altLang="ko-KR" sz="772" b="1" i="0" u="none" strike="noStrike" kern="1200" cap="none" spc="0" normalizeH="0" baseline="0" noProof="0" dirty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772" b="1" i="0" u="none" strike="noStrike" kern="1200" cap="none" spc="0" normalizeH="0" baseline="0" noProof="0" dirty="0">
              <a:ln>
                <a:noFill/>
              </a:ln>
              <a:solidFill>
                <a:srgbClr val="14145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8846059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그림 10" descr="B_대외용_일반간지라인.png"/>
          <p:cNvPicPr>
            <a:picLocks noChangeAspect="1"/>
          </p:cNvPicPr>
          <p:nvPr userDrawn="1"/>
        </p:nvPicPr>
        <p:blipFill>
          <a:blip r:embed="rId2" cstate="print"/>
          <a:srcRect t="43753" r="44230" b="41671"/>
          <a:stretch>
            <a:fillRect/>
          </a:stretch>
        </p:blipFill>
        <p:spPr>
          <a:xfrm>
            <a:off x="162054" y="530540"/>
            <a:ext cx="10221784" cy="547912"/>
          </a:xfrm>
          <a:prstGeom prst="rect">
            <a:avLst/>
          </a:prstGeom>
          <a:effectLst/>
        </p:spPr>
      </p:pic>
      <p:sp>
        <p:nvSpPr>
          <p:cNvPr id="2" name="직사각형 1"/>
          <p:cNvSpPr/>
          <p:nvPr userDrawn="1"/>
        </p:nvSpPr>
        <p:spPr>
          <a:xfrm>
            <a:off x="9252302" y="449288"/>
            <a:ext cx="945568" cy="20727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7472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51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4" name="그림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19167" y="658250"/>
            <a:ext cx="778703" cy="481941"/>
          </a:xfrm>
          <a:prstGeom prst="rect">
            <a:avLst/>
          </a:prstGeom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9530410" y="421801"/>
            <a:ext cx="611838" cy="2347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4258" tIns="37130" rIns="74258" bIns="37130"/>
          <a:lstStyle/>
          <a:p>
            <a:pPr marL="0" marR="0" lvl="0" indent="0" algn="r" defTabSz="74302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73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fld id="{16B1565D-7790-4B20-9C8C-6E71895AF331}" type="slidenum">
              <a:rPr kumimoji="0" lang="ko-KR" altLang="en-US" sz="1073" b="1" i="0" u="none" strike="noStrike" kern="1200" cap="none" spc="0" normalizeH="0" baseline="0" noProof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pPr marL="0" marR="0" lvl="0" indent="0" algn="r" defTabSz="74302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073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86421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3649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표 10"/>
          <p:cNvGraphicFramePr>
            <a:graphicFrameLocks noGrp="1"/>
          </p:cNvGraphicFramePr>
          <p:nvPr userDrawn="1"/>
        </p:nvGraphicFramePr>
        <p:xfrm>
          <a:off x="5" y="857083"/>
          <a:ext cx="10374589" cy="19845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5840">
                  <a:extLst>
                    <a:ext uri="{9D8B030D-6E8A-4147-A177-3AD203B41FA5}">
                      <a16:colId xmlns:a16="http://schemas.microsoft.com/office/drawing/2014/main" val="681333691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2429249232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3124765547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1979065385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2423496105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1848080466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577844672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750567809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2681180616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1594964453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1098245828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3781436620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2317924587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1496519618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264724927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542958237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2259853894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3919136298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2969407570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1180854236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4258416119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2079387871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3012424781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448499214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1284512605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386406830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1668144047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3229212049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423277505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2888682457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778160956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2671092201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2054211415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949040946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1831980850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1796469204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1627471605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3141560887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1084723226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3899301999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2819782215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1672416270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1276252142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2058969766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4004534910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645625931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2210814484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226097898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1357557649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2875069063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925904093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883236840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2047183572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3020896746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3893194425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3886417981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3682071385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1679882916"/>
                    </a:ext>
                  </a:extLst>
                </a:gridCol>
                <a:gridCol w="175840">
                  <a:extLst>
                    <a:ext uri="{9D8B030D-6E8A-4147-A177-3AD203B41FA5}">
                      <a16:colId xmlns:a16="http://schemas.microsoft.com/office/drawing/2014/main" val="2480922356"/>
                    </a:ext>
                  </a:extLst>
                </a:gridCol>
              </a:tblGrid>
              <a:tr h="180412"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9507922"/>
                  </a:ext>
                </a:extLst>
              </a:tr>
              <a:tr h="180412"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996972"/>
                  </a:ext>
                </a:extLst>
              </a:tr>
              <a:tr h="180412"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9342375"/>
                  </a:ext>
                </a:extLst>
              </a:tr>
              <a:tr h="180412"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3116959"/>
                  </a:ext>
                </a:extLst>
              </a:tr>
              <a:tr h="180412"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8519164"/>
                  </a:ext>
                </a:extLst>
              </a:tr>
              <a:tr h="180412"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42653"/>
                  </a:ext>
                </a:extLst>
              </a:tr>
              <a:tr h="180412"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7113642"/>
                  </a:ext>
                </a:extLst>
              </a:tr>
              <a:tr h="180412"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9298380"/>
                  </a:ext>
                </a:extLst>
              </a:tr>
              <a:tr h="180412"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3389660"/>
                  </a:ext>
                </a:extLst>
              </a:tr>
              <a:tr h="180412"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0451366"/>
                  </a:ext>
                </a:extLst>
              </a:tr>
              <a:tr h="180412"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endParaRPr lang="ko-KR" altLang="en-US" sz="600" dirty="0"/>
                    </a:p>
                  </a:txBody>
                  <a:tcPr marL="34973" marR="34973" marT="43877" marB="43877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6372286"/>
                  </a:ext>
                </a:extLst>
              </a:tr>
            </a:tbl>
          </a:graphicData>
        </a:graphic>
      </p:graphicFrame>
      <p:sp>
        <p:nvSpPr>
          <p:cNvPr id="35" name="타원 34"/>
          <p:cNvSpPr/>
          <p:nvPr userDrawn="1"/>
        </p:nvSpPr>
        <p:spPr>
          <a:xfrm>
            <a:off x="6951025" y="4140024"/>
            <a:ext cx="3220177" cy="2527312"/>
          </a:xfrm>
          <a:prstGeom prst="ellipse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7755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727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33" name="그림 3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82586" y="4471811"/>
            <a:ext cx="420412" cy="173495"/>
          </a:xfrm>
          <a:prstGeom prst="rect">
            <a:avLst/>
          </a:prstGeom>
        </p:spPr>
      </p:pic>
      <p:sp>
        <p:nvSpPr>
          <p:cNvPr id="8" name="타원 7"/>
          <p:cNvSpPr/>
          <p:nvPr userDrawn="1"/>
        </p:nvSpPr>
        <p:spPr>
          <a:xfrm>
            <a:off x="2171462" y="2617061"/>
            <a:ext cx="3220177" cy="3191928"/>
          </a:xfrm>
          <a:prstGeom prst="ellipse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7755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727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10" name="그림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503024" y="3006076"/>
            <a:ext cx="523404" cy="227440"/>
          </a:xfrm>
          <a:prstGeom prst="rect">
            <a:avLst/>
          </a:prstGeom>
        </p:spPr>
      </p:pic>
      <p:pic>
        <p:nvPicPr>
          <p:cNvPr id="7" name="그림 6"/>
          <p:cNvPicPr>
            <a:picLocks noChangeAspect="1"/>
          </p:cNvPicPr>
          <p:nvPr userDrawn="1"/>
        </p:nvPicPr>
        <p:blipFill>
          <a:blip r:embed="rId4" cstate="email"/>
          <a:stretch>
            <a:fillRect/>
          </a:stretch>
        </p:blipFill>
        <p:spPr>
          <a:xfrm>
            <a:off x="0" y="1"/>
            <a:ext cx="10383838" cy="7246750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88153" y="6985351"/>
            <a:ext cx="6777856" cy="2400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5471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※ </a:t>
            </a:r>
            <a:r>
              <a:rPr kumimoji="0" lang="ko-KR" altLang="en-US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본 자료는 컨설턴트 교육용으로 </a:t>
            </a:r>
            <a:r>
              <a:rPr kumimoji="0" lang="ko-KR" altLang="en-US" sz="960" b="1" i="0" u="none" strike="noStrike" kern="1200" cap="none" spc="0" normalizeH="0" baseline="0" noProof="0" dirty="0" err="1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환급금</a:t>
            </a:r>
            <a:r>
              <a:rPr kumimoji="0" lang="ko-KR" altLang="en-US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 및 보험금 지급의 근거가 될 수 없으며 고객안내자료로 활용할 수 없습니다</a:t>
            </a:r>
            <a:r>
              <a:rPr kumimoji="0" lang="en-US" altLang="ko-KR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.</a:t>
            </a:r>
            <a:endParaRPr kumimoji="0" lang="ko-KR" altLang="en-US" sz="960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교보서체 Bold" panose="020B0600000101010101" pitchFamily="50" charset="-127"/>
              <a:ea typeface="교보서체 Bold" panose="020B0600000101010101" pitchFamily="50" charset="-127"/>
              <a:cs typeface="+mn-cs"/>
            </a:endParaRPr>
          </a:p>
        </p:txBody>
      </p:sp>
      <p:pic>
        <p:nvPicPr>
          <p:cNvPr id="12" name="그림 1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1808" y="6616328"/>
            <a:ext cx="2339111" cy="579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942193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1" y="4"/>
            <a:ext cx="10383125" cy="7255815"/>
          </a:xfrm>
          <a:prstGeom prst="rect">
            <a:avLst/>
          </a:prstGeom>
        </p:spPr>
      </p:pic>
      <p:sp>
        <p:nvSpPr>
          <p:cNvPr id="9" name="Rounded Rectangle 2"/>
          <p:cNvSpPr/>
          <p:nvPr userDrawn="1"/>
        </p:nvSpPr>
        <p:spPr>
          <a:xfrm>
            <a:off x="321693" y="933703"/>
            <a:ext cx="9750680" cy="462179"/>
          </a:xfrm>
          <a:prstGeom prst="roundRect">
            <a:avLst>
              <a:gd name="adj" fmla="val 3968"/>
            </a:avLst>
          </a:prstGeom>
          <a:solidFill>
            <a:schemeClr val="accent5">
              <a:alpha val="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062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0" name="사다리꼴 9"/>
          <p:cNvSpPr/>
          <p:nvPr userDrawn="1"/>
        </p:nvSpPr>
        <p:spPr>
          <a:xfrm rot="10800000" flipV="1">
            <a:off x="184258" y="1395882"/>
            <a:ext cx="10015465" cy="179696"/>
          </a:xfrm>
          <a:prstGeom prst="trapezoid">
            <a:avLst>
              <a:gd name="adj" fmla="val 33955"/>
            </a:avLst>
          </a:prstGeom>
          <a:solidFill>
            <a:srgbClr val="141450">
              <a:alpha val="5000"/>
            </a:srgbClr>
          </a:solidFill>
          <a:ln w="2540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7472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52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1" name="직사각형 10"/>
          <p:cNvSpPr/>
          <p:nvPr userDrawn="1"/>
        </p:nvSpPr>
        <p:spPr>
          <a:xfrm>
            <a:off x="184260" y="1579215"/>
            <a:ext cx="10015465" cy="5337352"/>
          </a:xfrm>
          <a:prstGeom prst="rect">
            <a:avLst/>
          </a:prstGeom>
          <a:noFill/>
          <a:ln w="6350">
            <a:solidFill>
              <a:srgbClr val="141450">
                <a:alpha val="50000"/>
              </a:srgb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7472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52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2" name="Rounded Rectangle 3"/>
          <p:cNvSpPr/>
          <p:nvPr userDrawn="1"/>
        </p:nvSpPr>
        <p:spPr>
          <a:xfrm>
            <a:off x="321693" y="1272955"/>
            <a:ext cx="134470" cy="126565"/>
          </a:xfrm>
          <a:prstGeom prst="roundRect">
            <a:avLst>
              <a:gd name="adj" fmla="val 50000"/>
            </a:avLst>
          </a:prstGeom>
          <a:solidFill>
            <a:sysClr val="window" lastClr="FFFFFF">
              <a:alpha val="41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062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44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3" name="Half Frame 4"/>
          <p:cNvSpPr/>
          <p:nvPr userDrawn="1"/>
        </p:nvSpPr>
        <p:spPr>
          <a:xfrm rot="5400000">
            <a:off x="9561934" y="1143372"/>
            <a:ext cx="658058" cy="529234"/>
          </a:xfrm>
          <a:prstGeom prst="halfFrame">
            <a:avLst>
              <a:gd name="adj1" fmla="val 23728"/>
              <a:gd name="adj2" fmla="val 24642"/>
            </a:avLst>
          </a:prstGeom>
          <a:solidFill>
            <a:sysClr val="window" lastClr="FFFFFF">
              <a:alpha val="23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062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44" b="0" i="0" u="none" strike="noStrike" kern="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16673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75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</p:bldLst>
  </p:timing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1" y="4"/>
            <a:ext cx="10383125" cy="72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301708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731" y="6961564"/>
            <a:ext cx="10194249" cy="21114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74288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772" b="1" i="0" u="none" strike="noStrike" kern="1200" cap="none" spc="0" normalizeH="0" baseline="0" noProof="0" dirty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※ </a:t>
            </a:r>
            <a:r>
              <a:rPr kumimoji="0" lang="ko-KR" altLang="en-US" sz="772" b="1" i="0" u="none" strike="noStrike" kern="1200" cap="none" spc="0" normalizeH="0" baseline="0" noProof="0" dirty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본 자료는 컨설턴트 교육용으로 </a:t>
            </a:r>
            <a:r>
              <a:rPr kumimoji="0" lang="ko-KR" altLang="en-US" sz="772" b="1" i="0" u="none" strike="noStrike" kern="1200" cap="none" spc="0" normalizeH="0" baseline="0" noProof="0" dirty="0" err="1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환급금</a:t>
            </a:r>
            <a:r>
              <a:rPr kumimoji="0" lang="ko-KR" altLang="en-US" sz="772" b="1" i="0" u="none" strike="noStrike" kern="1200" cap="none" spc="0" normalizeH="0" baseline="0" noProof="0" dirty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및 보험금 지급의 근거가 될 수 없으며 고객안내자료로 활용할 수 없습니다</a:t>
            </a:r>
            <a:r>
              <a:rPr kumimoji="0" lang="en-US" altLang="ko-KR" sz="772" b="1" i="0" u="none" strike="noStrike" kern="1200" cap="none" spc="0" normalizeH="0" baseline="0" noProof="0" dirty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772" b="1" i="0" u="none" strike="noStrike" kern="1200" cap="none" spc="0" normalizeH="0" baseline="0" noProof="0" dirty="0">
              <a:ln>
                <a:noFill/>
              </a:ln>
              <a:solidFill>
                <a:srgbClr val="14145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1900537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4682431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1" y="4"/>
            <a:ext cx="10383125" cy="72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191787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그림 4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489"/>
          <a:stretch/>
        </p:blipFill>
        <p:spPr>
          <a:xfrm>
            <a:off x="8903967" y="1189239"/>
            <a:ext cx="1480559" cy="3100231"/>
          </a:xfrm>
          <a:prstGeom prst="rect">
            <a:avLst/>
          </a:prstGeom>
        </p:spPr>
      </p:pic>
      <p:pic>
        <p:nvPicPr>
          <p:cNvPr id="44" name="그림 4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96"/>
          <a:stretch/>
        </p:blipFill>
        <p:spPr>
          <a:xfrm>
            <a:off x="-8408" y="1186961"/>
            <a:ext cx="2853063" cy="3100231"/>
          </a:xfrm>
          <a:prstGeom prst="rect">
            <a:avLst/>
          </a:prstGeom>
        </p:spPr>
      </p:pic>
      <p:pic>
        <p:nvPicPr>
          <p:cNvPr id="3" name="그림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" y="754"/>
            <a:ext cx="10384834" cy="7254123"/>
          </a:xfrm>
          <a:prstGeom prst="rect">
            <a:avLst/>
          </a:prstGeom>
        </p:spPr>
      </p:pic>
      <p:sp>
        <p:nvSpPr>
          <p:cNvPr id="6" name="직사각형 5"/>
          <p:cNvSpPr/>
          <p:nvPr userDrawn="1"/>
        </p:nvSpPr>
        <p:spPr>
          <a:xfrm>
            <a:off x="7500778" y="6437275"/>
            <a:ext cx="2641471" cy="6673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7472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51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5" name="그림 4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623165" y="6621850"/>
            <a:ext cx="2589228" cy="455878"/>
          </a:xfrm>
          <a:prstGeom prst="rect">
            <a:avLst/>
          </a:prstGeom>
        </p:spPr>
      </p:pic>
      <p:sp>
        <p:nvSpPr>
          <p:cNvPr id="24" name="Isosceles Triangle 15">
            <a:extLst>
              <a:ext uri="{FF2B5EF4-FFF2-40B4-BE49-F238E27FC236}">
                <a16:creationId xmlns:a16="http://schemas.microsoft.com/office/drawing/2014/main" id="{947BC3FA-3C79-4F57-A6F2-0628F53A7B96}"/>
              </a:ext>
            </a:extLst>
          </p:cNvPr>
          <p:cNvSpPr/>
          <p:nvPr userDrawn="1"/>
        </p:nvSpPr>
        <p:spPr>
          <a:xfrm rot="10800000">
            <a:off x="1633815" y="2489629"/>
            <a:ext cx="3809758" cy="1797343"/>
          </a:xfrm>
          <a:custGeom>
            <a:avLst/>
            <a:gdLst/>
            <a:ahLst/>
            <a:cxnLst/>
            <a:rect l="l" t="t" r="r" b="b"/>
            <a:pathLst>
              <a:path w="8427514" h="2597239">
                <a:moveTo>
                  <a:pt x="4226731" y="2597239"/>
                </a:moveTo>
                <a:cubicBezTo>
                  <a:pt x="4151713" y="2593344"/>
                  <a:pt x="4226544" y="1571255"/>
                  <a:pt x="4085641" y="1436961"/>
                </a:cubicBezTo>
                <a:cubicBezTo>
                  <a:pt x="3945097" y="1423791"/>
                  <a:pt x="3830783" y="1321570"/>
                  <a:pt x="3799565" y="1186993"/>
                </a:cubicBezTo>
                <a:cubicBezTo>
                  <a:pt x="3465540" y="1190963"/>
                  <a:pt x="2893896" y="1309190"/>
                  <a:pt x="2893897" y="1243358"/>
                </a:cubicBezTo>
                <a:cubicBezTo>
                  <a:pt x="2878850" y="1173635"/>
                  <a:pt x="3473870" y="1131186"/>
                  <a:pt x="3789402" y="1039632"/>
                </a:cubicBezTo>
                <a:lnTo>
                  <a:pt x="3789402" y="949897"/>
                </a:lnTo>
                <a:lnTo>
                  <a:pt x="47906" y="1257081"/>
                </a:lnTo>
                <a:cubicBezTo>
                  <a:pt x="-132121" y="1267427"/>
                  <a:pt x="240348" y="1141200"/>
                  <a:pt x="420375" y="1120508"/>
                </a:cubicBezTo>
                <a:cubicBezTo>
                  <a:pt x="924509" y="1068703"/>
                  <a:pt x="1278693" y="1044634"/>
                  <a:pt x="1616677" y="1011951"/>
                </a:cubicBezTo>
                <a:lnTo>
                  <a:pt x="1616677" y="899775"/>
                </a:lnTo>
                <a:cubicBezTo>
                  <a:pt x="1616677" y="887559"/>
                  <a:pt x="1626580" y="877656"/>
                  <a:pt x="1638796" y="877656"/>
                </a:cubicBezTo>
                <a:lnTo>
                  <a:pt x="1678877" y="877656"/>
                </a:lnTo>
                <a:cubicBezTo>
                  <a:pt x="1691093" y="877656"/>
                  <a:pt x="1700996" y="887559"/>
                  <a:pt x="1700996" y="899775"/>
                </a:cubicBezTo>
                <a:lnTo>
                  <a:pt x="1700996" y="1003216"/>
                </a:lnTo>
                <a:cubicBezTo>
                  <a:pt x="1874286" y="985864"/>
                  <a:pt x="2046202" y="965062"/>
                  <a:pt x="2235083" y="936195"/>
                </a:cubicBezTo>
                <a:lnTo>
                  <a:pt x="2235083" y="822014"/>
                </a:lnTo>
                <a:cubicBezTo>
                  <a:pt x="2235083" y="809798"/>
                  <a:pt x="2244986" y="799895"/>
                  <a:pt x="2257202" y="799895"/>
                </a:cubicBezTo>
                <a:lnTo>
                  <a:pt x="2297283" y="799895"/>
                </a:lnTo>
                <a:cubicBezTo>
                  <a:pt x="2309499" y="799895"/>
                  <a:pt x="2319402" y="809798"/>
                  <a:pt x="2319402" y="822014"/>
                </a:cubicBezTo>
                <a:lnTo>
                  <a:pt x="2319402" y="922938"/>
                </a:lnTo>
                <a:cubicBezTo>
                  <a:pt x="2499685" y="894212"/>
                  <a:pt x="2696841" y="857660"/>
                  <a:pt x="2925534" y="809594"/>
                </a:cubicBezTo>
                <a:lnTo>
                  <a:pt x="2925534" y="740021"/>
                </a:lnTo>
                <a:cubicBezTo>
                  <a:pt x="2821343" y="727186"/>
                  <a:pt x="2741052" y="638102"/>
                  <a:pt x="2741052" y="530265"/>
                </a:cubicBezTo>
                <a:cubicBezTo>
                  <a:pt x="2741052" y="412855"/>
                  <a:pt x="2836231" y="317676"/>
                  <a:pt x="2953641" y="317676"/>
                </a:cubicBezTo>
                <a:cubicBezTo>
                  <a:pt x="3071051" y="317676"/>
                  <a:pt x="3166230" y="412855"/>
                  <a:pt x="3166230" y="530265"/>
                </a:cubicBezTo>
                <a:cubicBezTo>
                  <a:pt x="3166230" y="628128"/>
                  <a:pt x="3100105" y="710545"/>
                  <a:pt x="3009853" y="734385"/>
                </a:cubicBezTo>
                <a:lnTo>
                  <a:pt x="3009853" y="791386"/>
                </a:lnTo>
                <a:cubicBezTo>
                  <a:pt x="3127996" y="766333"/>
                  <a:pt x="3254362" y="737944"/>
                  <a:pt x="3390843" y="706074"/>
                </a:cubicBezTo>
                <a:lnTo>
                  <a:pt x="3390843" y="168653"/>
                </a:lnTo>
                <a:lnTo>
                  <a:pt x="3359458" y="168653"/>
                </a:lnTo>
                <a:lnTo>
                  <a:pt x="3359458" y="255259"/>
                </a:lnTo>
                <a:cubicBezTo>
                  <a:pt x="3359458" y="269527"/>
                  <a:pt x="3347891" y="281094"/>
                  <a:pt x="3333623" y="281094"/>
                </a:cubicBezTo>
                <a:lnTo>
                  <a:pt x="3272856" y="281094"/>
                </a:lnTo>
                <a:cubicBezTo>
                  <a:pt x="3258588" y="281094"/>
                  <a:pt x="3247021" y="269527"/>
                  <a:pt x="3247021" y="255259"/>
                </a:cubicBezTo>
                <a:lnTo>
                  <a:pt x="3247021" y="25835"/>
                </a:lnTo>
                <a:cubicBezTo>
                  <a:pt x="3247021" y="11567"/>
                  <a:pt x="3258588" y="0"/>
                  <a:pt x="3272856" y="0"/>
                </a:cubicBezTo>
                <a:lnTo>
                  <a:pt x="3333623" y="0"/>
                </a:lnTo>
                <a:cubicBezTo>
                  <a:pt x="3347891" y="0"/>
                  <a:pt x="3359458" y="11567"/>
                  <a:pt x="3359458" y="25835"/>
                </a:cubicBezTo>
                <a:lnTo>
                  <a:pt x="3359458" y="112440"/>
                </a:lnTo>
                <a:lnTo>
                  <a:pt x="3478442" y="112440"/>
                </a:lnTo>
                <a:lnTo>
                  <a:pt x="3478442" y="25835"/>
                </a:lnTo>
                <a:cubicBezTo>
                  <a:pt x="3478442" y="11567"/>
                  <a:pt x="3490009" y="0"/>
                  <a:pt x="3504277" y="0"/>
                </a:cubicBezTo>
                <a:lnTo>
                  <a:pt x="3565044" y="0"/>
                </a:lnTo>
                <a:cubicBezTo>
                  <a:pt x="3579312" y="0"/>
                  <a:pt x="3590879" y="11567"/>
                  <a:pt x="3590879" y="25835"/>
                </a:cubicBezTo>
                <a:lnTo>
                  <a:pt x="3590879" y="255259"/>
                </a:lnTo>
                <a:cubicBezTo>
                  <a:pt x="3590879" y="269527"/>
                  <a:pt x="3579312" y="281094"/>
                  <a:pt x="3565044" y="281094"/>
                </a:cubicBezTo>
                <a:lnTo>
                  <a:pt x="3504277" y="281094"/>
                </a:lnTo>
                <a:cubicBezTo>
                  <a:pt x="3490009" y="281094"/>
                  <a:pt x="3478442" y="269527"/>
                  <a:pt x="3478442" y="255259"/>
                </a:cubicBezTo>
                <a:lnTo>
                  <a:pt x="3478442" y="168653"/>
                </a:lnTo>
                <a:lnTo>
                  <a:pt x="3447055" y="168653"/>
                </a:lnTo>
                <a:lnTo>
                  <a:pt x="3447055" y="692891"/>
                </a:lnTo>
                <a:lnTo>
                  <a:pt x="3447056" y="692891"/>
                </a:lnTo>
                <a:lnTo>
                  <a:pt x="3447056" y="349323"/>
                </a:lnTo>
                <a:lnTo>
                  <a:pt x="3619849" y="651710"/>
                </a:lnTo>
                <a:cubicBezTo>
                  <a:pt x="3679571" y="637288"/>
                  <a:pt x="3741099" y="622243"/>
                  <a:pt x="3804556" y="606555"/>
                </a:cubicBezTo>
                <a:cubicBezTo>
                  <a:pt x="3834161" y="534998"/>
                  <a:pt x="3904681" y="484712"/>
                  <a:pt x="3986946" y="484712"/>
                </a:cubicBezTo>
                <a:lnTo>
                  <a:pt x="4163011" y="484712"/>
                </a:lnTo>
                <a:lnTo>
                  <a:pt x="4178052" y="373728"/>
                </a:lnTo>
                <a:lnTo>
                  <a:pt x="4132718" y="373728"/>
                </a:lnTo>
                <a:lnTo>
                  <a:pt x="4132718" y="317516"/>
                </a:lnTo>
                <a:lnTo>
                  <a:pt x="4185669" y="317516"/>
                </a:lnTo>
                <a:lnTo>
                  <a:pt x="4210475" y="134476"/>
                </a:lnTo>
                <a:lnTo>
                  <a:pt x="4173570" y="134476"/>
                </a:lnTo>
                <a:lnTo>
                  <a:pt x="4173570" y="190698"/>
                </a:lnTo>
                <a:lnTo>
                  <a:pt x="4117358" y="190698"/>
                </a:lnTo>
                <a:lnTo>
                  <a:pt x="4117358" y="22042"/>
                </a:lnTo>
                <a:lnTo>
                  <a:pt x="4173570" y="22042"/>
                </a:lnTo>
                <a:lnTo>
                  <a:pt x="4173570" y="78264"/>
                </a:lnTo>
                <a:lnTo>
                  <a:pt x="4260520" y="78264"/>
                </a:lnTo>
                <a:lnTo>
                  <a:pt x="4260520" y="22042"/>
                </a:lnTo>
                <a:lnTo>
                  <a:pt x="4316732" y="22042"/>
                </a:lnTo>
                <a:lnTo>
                  <a:pt x="4316732" y="190698"/>
                </a:lnTo>
                <a:lnTo>
                  <a:pt x="4260520" y="190698"/>
                </a:lnTo>
                <a:lnTo>
                  <a:pt x="4260520" y="134476"/>
                </a:lnTo>
                <a:lnTo>
                  <a:pt x="4223615" y="134476"/>
                </a:lnTo>
                <a:lnTo>
                  <a:pt x="4248421" y="317516"/>
                </a:lnTo>
                <a:lnTo>
                  <a:pt x="4301374" y="317516"/>
                </a:lnTo>
                <a:lnTo>
                  <a:pt x="4301374" y="373728"/>
                </a:lnTo>
                <a:lnTo>
                  <a:pt x="4256039" y="373728"/>
                </a:lnTo>
                <a:lnTo>
                  <a:pt x="4271080" y="484712"/>
                </a:lnTo>
                <a:lnTo>
                  <a:pt x="4440568" y="484712"/>
                </a:lnTo>
                <a:cubicBezTo>
                  <a:pt x="4522833" y="484712"/>
                  <a:pt x="4593354" y="534998"/>
                  <a:pt x="4622958" y="606555"/>
                </a:cubicBezTo>
                <a:cubicBezTo>
                  <a:pt x="4686415" y="622243"/>
                  <a:pt x="4747943" y="637288"/>
                  <a:pt x="4807665" y="651710"/>
                </a:cubicBezTo>
                <a:lnTo>
                  <a:pt x="4980458" y="349323"/>
                </a:lnTo>
                <a:lnTo>
                  <a:pt x="4980458" y="692891"/>
                </a:lnTo>
                <a:lnTo>
                  <a:pt x="4980459" y="168653"/>
                </a:lnTo>
                <a:lnTo>
                  <a:pt x="4949073" y="168653"/>
                </a:lnTo>
                <a:lnTo>
                  <a:pt x="4949073" y="255259"/>
                </a:lnTo>
                <a:cubicBezTo>
                  <a:pt x="4949073" y="269527"/>
                  <a:pt x="4937506" y="281094"/>
                  <a:pt x="4923238" y="281094"/>
                </a:cubicBezTo>
                <a:lnTo>
                  <a:pt x="4862471" y="281094"/>
                </a:lnTo>
                <a:cubicBezTo>
                  <a:pt x="4848203" y="281094"/>
                  <a:pt x="4836636" y="269527"/>
                  <a:pt x="4836636" y="255259"/>
                </a:cubicBezTo>
                <a:lnTo>
                  <a:pt x="4836636" y="25835"/>
                </a:lnTo>
                <a:cubicBezTo>
                  <a:pt x="4836636" y="11567"/>
                  <a:pt x="4848203" y="0"/>
                  <a:pt x="4862471" y="0"/>
                </a:cubicBezTo>
                <a:lnTo>
                  <a:pt x="4923238" y="0"/>
                </a:lnTo>
                <a:cubicBezTo>
                  <a:pt x="4937506" y="0"/>
                  <a:pt x="4949073" y="11567"/>
                  <a:pt x="4949073" y="25835"/>
                </a:cubicBezTo>
                <a:lnTo>
                  <a:pt x="4949073" y="112440"/>
                </a:lnTo>
                <a:lnTo>
                  <a:pt x="5068056" y="112440"/>
                </a:lnTo>
                <a:lnTo>
                  <a:pt x="5068056" y="25835"/>
                </a:lnTo>
                <a:cubicBezTo>
                  <a:pt x="5068056" y="11567"/>
                  <a:pt x="5079623" y="0"/>
                  <a:pt x="5093891" y="0"/>
                </a:cubicBezTo>
                <a:lnTo>
                  <a:pt x="5154658" y="0"/>
                </a:lnTo>
                <a:cubicBezTo>
                  <a:pt x="5168926" y="0"/>
                  <a:pt x="5180493" y="11567"/>
                  <a:pt x="5180493" y="25835"/>
                </a:cubicBezTo>
                <a:lnTo>
                  <a:pt x="5180493" y="255259"/>
                </a:lnTo>
                <a:cubicBezTo>
                  <a:pt x="5180493" y="269527"/>
                  <a:pt x="5168926" y="281094"/>
                  <a:pt x="5154658" y="281094"/>
                </a:cubicBezTo>
                <a:lnTo>
                  <a:pt x="5093891" y="281094"/>
                </a:lnTo>
                <a:cubicBezTo>
                  <a:pt x="5079623" y="281094"/>
                  <a:pt x="5068056" y="269527"/>
                  <a:pt x="5068056" y="255259"/>
                </a:cubicBezTo>
                <a:lnTo>
                  <a:pt x="5068056" y="168653"/>
                </a:lnTo>
                <a:lnTo>
                  <a:pt x="5036671" y="168653"/>
                </a:lnTo>
                <a:lnTo>
                  <a:pt x="5036671" y="706074"/>
                </a:lnTo>
                <a:cubicBezTo>
                  <a:pt x="5173152" y="737944"/>
                  <a:pt x="5299518" y="766333"/>
                  <a:pt x="5417661" y="791386"/>
                </a:cubicBezTo>
                <a:lnTo>
                  <a:pt x="5417661" y="734385"/>
                </a:lnTo>
                <a:cubicBezTo>
                  <a:pt x="5327409" y="710545"/>
                  <a:pt x="5261284" y="628128"/>
                  <a:pt x="5261284" y="530265"/>
                </a:cubicBezTo>
                <a:cubicBezTo>
                  <a:pt x="5261284" y="412855"/>
                  <a:pt x="5356463" y="317676"/>
                  <a:pt x="5473873" y="317676"/>
                </a:cubicBezTo>
                <a:cubicBezTo>
                  <a:pt x="5591283" y="317676"/>
                  <a:pt x="5686462" y="412855"/>
                  <a:pt x="5686462" y="530265"/>
                </a:cubicBezTo>
                <a:cubicBezTo>
                  <a:pt x="5686462" y="638102"/>
                  <a:pt x="5606171" y="727186"/>
                  <a:pt x="5501980" y="740021"/>
                </a:cubicBezTo>
                <a:lnTo>
                  <a:pt x="5501980" y="809594"/>
                </a:lnTo>
                <a:cubicBezTo>
                  <a:pt x="5730672" y="857660"/>
                  <a:pt x="5927829" y="894211"/>
                  <a:pt x="6108112" y="922938"/>
                </a:cubicBezTo>
                <a:lnTo>
                  <a:pt x="6108112" y="822014"/>
                </a:lnTo>
                <a:cubicBezTo>
                  <a:pt x="6108112" y="809798"/>
                  <a:pt x="6118015" y="799895"/>
                  <a:pt x="6130231" y="799895"/>
                </a:cubicBezTo>
                <a:lnTo>
                  <a:pt x="6170312" y="799895"/>
                </a:lnTo>
                <a:cubicBezTo>
                  <a:pt x="6182528" y="799895"/>
                  <a:pt x="6192431" y="809798"/>
                  <a:pt x="6192431" y="822014"/>
                </a:cubicBezTo>
                <a:lnTo>
                  <a:pt x="6192431" y="936195"/>
                </a:lnTo>
                <a:cubicBezTo>
                  <a:pt x="6381311" y="965062"/>
                  <a:pt x="6553228" y="985864"/>
                  <a:pt x="6726518" y="1003216"/>
                </a:cubicBezTo>
                <a:lnTo>
                  <a:pt x="6726518" y="899775"/>
                </a:lnTo>
                <a:cubicBezTo>
                  <a:pt x="6726518" y="887559"/>
                  <a:pt x="6736421" y="877656"/>
                  <a:pt x="6748637" y="877656"/>
                </a:cubicBezTo>
                <a:lnTo>
                  <a:pt x="6788718" y="877656"/>
                </a:lnTo>
                <a:cubicBezTo>
                  <a:pt x="6800934" y="877656"/>
                  <a:pt x="6810837" y="887559"/>
                  <a:pt x="6810837" y="899775"/>
                </a:cubicBezTo>
                <a:lnTo>
                  <a:pt x="6810837" y="1011951"/>
                </a:lnTo>
                <a:cubicBezTo>
                  <a:pt x="7148821" y="1044634"/>
                  <a:pt x="7503005" y="1068703"/>
                  <a:pt x="8007139" y="1120508"/>
                </a:cubicBezTo>
                <a:cubicBezTo>
                  <a:pt x="8187166" y="1141200"/>
                  <a:pt x="8559635" y="1267427"/>
                  <a:pt x="8379609" y="1257081"/>
                </a:cubicBezTo>
                <a:lnTo>
                  <a:pt x="4638112" y="949897"/>
                </a:lnTo>
                <a:lnTo>
                  <a:pt x="4638112" y="1039632"/>
                </a:lnTo>
                <a:cubicBezTo>
                  <a:pt x="4953644" y="1131186"/>
                  <a:pt x="5548663" y="1173635"/>
                  <a:pt x="5533616" y="1243358"/>
                </a:cubicBezTo>
                <a:cubicBezTo>
                  <a:pt x="5533617" y="1309192"/>
                  <a:pt x="4961926" y="1190954"/>
                  <a:pt x="4627907" y="1186993"/>
                </a:cubicBezTo>
                <a:cubicBezTo>
                  <a:pt x="4598303" y="1315025"/>
                  <a:pt x="4493388" y="1413809"/>
                  <a:pt x="4362270" y="1434905"/>
                </a:cubicBezTo>
                <a:cubicBezTo>
                  <a:pt x="4202604" y="1560230"/>
                  <a:pt x="4292391" y="2593670"/>
                  <a:pt x="4226731" y="2597239"/>
                </a:cubicBezTo>
                <a:close/>
              </a:path>
            </a:pathLst>
          </a:custGeom>
          <a:gradFill flip="none" rotWithShape="1">
            <a:gsLst>
              <a:gs pos="50000">
                <a:srgbClr val="006AB8"/>
              </a:gs>
              <a:gs pos="50000">
                <a:srgbClr val="4BACC6"/>
              </a:gs>
            </a:gsLst>
            <a:lin ang="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06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39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45" name="그림 4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70" y="2207668"/>
            <a:ext cx="376744" cy="769376"/>
          </a:xfrm>
          <a:prstGeom prst="rect">
            <a:avLst/>
          </a:prstGeom>
        </p:spPr>
      </p:pic>
      <p:pic>
        <p:nvPicPr>
          <p:cNvPr id="46" name="그림 4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270" y="1963736"/>
            <a:ext cx="376744" cy="773341"/>
          </a:xfrm>
          <a:prstGeom prst="rect">
            <a:avLst/>
          </a:prstGeom>
        </p:spPr>
      </p:pic>
      <p:pic>
        <p:nvPicPr>
          <p:cNvPr id="2" name="그림 1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832457" y="5416670"/>
            <a:ext cx="1388384" cy="1205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94794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196681" y="816468"/>
            <a:ext cx="931285" cy="576374"/>
          </a:xfrm>
          <a:prstGeom prst="rect">
            <a:avLst/>
          </a:prstGeom>
        </p:spPr>
      </p:pic>
      <p:pic>
        <p:nvPicPr>
          <p:cNvPr id="3" name="그림 2" descr="B_대외용_일반간지라인.png"/>
          <p:cNvPicPr>
            <a:picLocks noChangeAspect="1"/>
          </p:cNvPicPr>
          <p:nvPr userDrawn="1"/>
        </p:nvPicPr>
        <p:blipFill>
          <a:blip r:embed="rId3" cstate="print"/>
          <a:srcRect t="43753" r="44230" b="41671"/>
          <a:stretch>
            <a:fillRect/>
          </a:stretch>
        </p:blipFill>
        <p:spPr>
          <a:xfrm>
            <a:off x="4" y="1002225"/>
            <a:ext cx="10342075" cy="547912"/>
          </a:xfrm>
          <a:prstGeom prst="rect">
            <a:avLst/>
          </a:prstGeom>
          <a:effectLst/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2FCB20F-B542-E4FA-3ED2-184CBCB82381}"/>
              </a:ext>
            </a:extLst>
          </p:cNvPr>
          <p:cNvSpPr txBox="1"/>
          <p:nvPr userDrawn="1"/>
        </p:nvSpPr>
        <p:spPr>
          <a:xfrm>
            <a:off x="352833" y="238148"/>
            <a:ext cx="3392922" cy="469680"/>
          </a:xfrm>
          <a:prstGeom prst="rect">
            <a:avLst/>
          </a:prstGeom>
          <a:noFill/>
          <a:effectLst>
            <a:reflection blurRad="6350" stA="50000" endA="300" endPos="90000" dir="5400000" sy="-100000" algn="bl" rotWithShape="0"/>
          </a:effectLst>
        </p:spPr>
        <p:txBody>
          <a:bodyPr wrap="square" lIns="0" rtlCol="0">
            <a:spAutoFit/>
          </a:bodyPr>
          <a:lstStyle>
            <a:defPPr>
              <a:defRPr lang="ko-KR"/>
            </a:defPPr>
            <a:lvl1pPr>
              <a:defRPr sz="3200" b="1" spc="-300">
                <a:gradFill flip="none" rotWithShape="1">
                  <a:gsLst>
                    <a:gs pos="31000">
                      <a:srgbClr val="4DB948"/>
                    </a:gs>
                    <a:gs pos="77000">
                      <a:srgbClr val="003975"/>
                    </a:gs>
                  </a:gsLst>
                  <a:lin ang="0" scaled="1"/>
                  <a:tileRect/>
                </a:gradFill>
                <a:latin typeface="Kyobo SemiBold" panose="020B0600000101010101" pitchFamily="34" charset="-127"/>
                <a:ea typeface="Kyobo SemiBold" panose="020B0600000101010101" pitchFamily="34" charset="-127"/>
              </a:defRPr>
            </a:lvl1pPr>
          </a:lstStyle>
          <a:p>
            <a:pPr marL="0" marR="0" lvl="0" indent="0" algn="l" defTabSz="77472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452" b="1" i="0" u="none" strike="noStrike" kern="1200" cap="none" spc="-115" normalizeH="0" baseline="0" noProof="0" dirty="0">
                <a:ln>
                  <a:noFill/>
                </a:ln>
                <a:gradFill flip="none" rotWithShape="1">
                  <a:gsLst>
                    <a:gs pos="50000">
                      <a:srgbClr val="4BACC6"/>
                    </a:gs>
                    <a:gs pos="50000">
                      <a:srgbClr val="003975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Contents</a:t>
            </a:r>
            <a:endParaRPr kumimoji="0" lang="ko-KR" altLang="en-US" sz="2452" b="1" i="0" u="none" strike="noStrike" kern="1200" cap="none" spc="-115" normalizeH="0" baseline="0" noProof="0" dirty="0">
              <a:ln>
                <a:noFill/>
              </a:ln>
              <a:gradFill flip="none" rotWithShape="1">
                <a:gsLst>
                  <a:gs pos="50000">
                    <a:srgbClr val="4BACC6"/>
                  </a:gs>
                  <a:gs pos="50000">
                    <a:srgbClr val="003975"/>
                  </a:gs>
                </a:gsLst>
                <a:lin ang="2700000" scaled="1"/>
                <a:tileRect/>
              </a:gra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" name="직사각형 3"/>
          <p:cNvSpPr/>
          <p:nvPr userDrawn="1"/>
        </p:nvSpPr>
        <p:spPr>
          <a:xfrm>
            <a:off x="138192" y="6866201"/>
            <a:ext cx="5243634" cy="2956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7472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52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85731" y="6961564"/>
            <a:ext cx="10194249" cy="2111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74288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772" b="1" i="0" u="none" strike="noStrike" kern="1200" cap="none" spc="0" normalizeH="0" baseline="0" noProof="0" dirty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※ </a:t>
            </a:r>
            <a:r>
              <a:rPr kumimoji="0" lang="ko-KR" altLang="en-US" sz="772" b="1" i="0" u="none" strike="noStrike" kern="1200" cap="none" spc="0" normalizeH="0" baseline="0" noProof="0" dirty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본 자료는 컨설턴트 교육용으로 </a:t>
            </a:r>
            <a:r>
              <a:rPr kumimoji="0" lang="ko-KR" altLang="en-US" sz="772" b="1" i="0" u="none" strike="noStrike" kern="1200" cap="none" spc="0" normalizeH="0" baseline="0" noProof="0" dirty="0" err="1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환급금</a:t>
            </a:r>
            <a:r>
              <a:rPr kumimoji="0" lang="ko-KR" altLang="en-US" sz="772" b="1" i="0" u="none" strike="noStrike" kern="1200" cap="none" spc="0" normalizeH="0" baseline="0" noProof="0" dirty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및 보험금 지급의 근거가 될 수 없으며 고객안내자료로 활용할 수 없습니다</a:t>
            </a:r>
            <a:r>
              <a:rPr kumimoji="0" lang="en-US" altLang="ko-KR" sz="772" b="1" i="0" u="none" strike="noStrike" kern="1200" cap="none" spc="0" normalizeH="0" baseline="0" noProof="0" dirty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772" b="1" i="0" u="none" strike="noStrike" kern="1200" cap="none" spc="0" normalizeH="0" baseline="0" noProof="0" dirty="0">
              <a:ln>
                <a:noFill/>
              </a:ln>
              <a:solidFill>
                <a:srgbClr val="14145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5631595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그림 10" descr="B_대외용_일반간지라인.png"/>
          <p:cNvPicPr>
            <a:picLocks noChangeAspect="1"/>
          </p:cNvPicPr>
          <p:nvPr userDrawn="1"/>
        </p:nvPicPr>
        <p:blipFill>
          <a:blip r:embed="rId2" cstate="print"/>
          <a:srcRect t="43753" r="44230" b="41671"/>
          <a:stretch>
            <a:fillRect/>
          </a:stretch>
        </p:blipFill>
        <p:spPr>
          <a:xfrm>
            <a:off x="162054" y="530540"/>
            <a:ext cx="10221784" cy="547912"/>
          </a:xfrm>
          <a:prstGeom prst="rect">
            <a:avLst/>
          </a:prstGeom>
          <a:effectLst/>
        </p:spPr>
      </p:pic>
      <p:sp>
        <p:nvSpPr>
          <p:cNvPr id="2" name="직사각형 1"/>
          <p:cNvSpPr/>
          <p:nvPr userDrawn="1"/>
        </p:nvSpPr>
        <p:spPr>
          <a:xfrm>
            <a:off x="9252302" y="449288"/>
            <a:ext cx="945568" cy="20727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7472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51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4" name="그림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19167" y="658250"/>
            <a:ext cx="778703" cy="481941"/>
          </a:xfrm>
          <a:prstGeom prst="rect">
            <a:avLst/>
          </a:prstGeom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9530410" y="421801"/>
            <a:ext cx="611838" cy="2347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4258" tIns="37130" rIns="74258" bIns="37130"/>
          <a:lstStyle/>
          <a:p>
            <a:pPr marL="0" marR="0" lvl="0" indent="0" algn="r" defTabSz="74302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73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fld id="{16B1565D-7790-4B20-9C8C-6E71895AF331}" type="slidenum">
              <a:rPr kumimoji="0" lang="ko-KR" altLang="en-US" sz="1073" b="1" i="0" u="none" strike="noStrike" kern="1200" cap="none" spc="0" normalizeH="0" baseline="0" noProof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pPr marL="0" marR="0" lvl="0" indent="0" algn="r" defTabSz="74302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073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53239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3649">
          <p15:clr>
            <a:srgbClr val="FBAE40"/>
          </p15:clr>
        </p15:guide>
      </p15:sldGuideLst>
    </p:ext>
  </p:extLs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1" y="4"/>
            <a:ext cx="10383125" cy="7255815"/>
          </a:xfrm>
          <a:prstGeom prst="rect">
            <a:avLst/>
          </a:prstGeom>
        </p:spPr>
      </p:pic>
      <p:sp>
        <p:nvSpPr>
          <p:cNvPr id="9" name="Rounded Rectangle 2"/>
          <p:cNvSpPr/>
          <p:nvPr userDrawn="1"/>
        </p:nvSpPr>
        <p:spPr>
          <a:xfrm>
            <a:off x="321693" y="933703"/>
            <a:ext cx="9750680" cy="462179"/>
          </a:xfrm>
          <a:prstGeom prst="roundRect">
            <a:avLst>
              <a:gd name="adj" fmla="val 3968"/>
            </a:avLst>
          </a:prstGeom>
          <a:solidFill>
            <a:schemeClr val="accent5">
              <a:alpha val="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062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0" name="사다리꼴 9"/>
          <p:cNvSpPr/>
          <p:nvPr userDrawn="1"/>
        </p:nvSpPr>
        <p:spPr>
          <a:xfrm rot="10800000" flipV="1">
            <a:off x="184258" y="1395882"/>
            <a:ext cx="10015465" cy="179696"/>
          </a:xfrm>
          <a:prstGeom prst="trapezoid">
            <a:avLst>
              <a:gd name="adj" fmla="val 33955"/>
            </a:avLst>
          </a:prstGeom>
          <a:solidFill>
            <a:srgbClr val="141450">
              <a:alpha val="5000"/>
            </a:srgbClr>
          </a:solidFill>
          <a:ln w="2540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7472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52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1" name="직사각형 10"/>
          <p:cNvSpPr/>
          <p:nvPr userDrawn="1"/>
        </p:nvSpPr>
        <p:spPr>
          <a:xfrm>
            <a:off x="184260" y="1579215"/>
            <a:ext cx="10015465" cy="5337352"/>
          </a:xfrm>
          <a:prstGeom prst="rect">
            <a:avLst/>
          </a:prstGeom>
          <a:noFill/>
          <a:ln w="6350">
            <a:solidFill>
              <a:srgbClr val="141450">
                <a:alpha val="50000"/>
              </a:srgb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7472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52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2" name="Rounded Rectangle 3"/>
          <p:cNvSpPr/>
          <p:nvPr userDrawn="1"/>
        </p:nvSpPr>
        <p:spPr>
          <a:xfrm>
            <a:off x="321693" y="1272955"/>
            <a:ext cx="134470" cy="126565"/>
          </a:xfrm>
          <a:prstGeom prst="roundRect">
            <a:avLst>
              <a:gd name="adj" fmla="val 50000"/>
            </a:avLst>
          </a:prstGeom>
          <a:solidFill>
            <a:sysClr val="window" lastClr="FFFFFF">
              <a:alpha val="41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062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44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3" name="Half Frame 4"/>
          <p:cNvSpPr/>
          <p:nvPr userDrawn="1"/>
        </p:nvSpPr>
        <p:spPr>
          <a:xfrm rot="5400000">
            <a:off x="9561934" y="1143372"/>
            <a:ext cx="658058" cy="529234"/>
          </a:xfrm>
          <a:prstGeom prst="halfFrame">
            <a:avLst>
              <a:gd name="adj1" fmla="val 23728"/>
              <a:gd name="adj2" fmla="val 24642"/>
            </a:avLst>
          </a:prstGeom>
          <a:solidFill>
            <a:sysClr val="window" lastClr="FFFFFF">
              <a:alpha val="23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062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44" b="0" i="0" u="none" strike="noStrike" kern="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83279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75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</p:bldLst>
  </p:timing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1" y="4"/>
            <a:ext cx="10383125" cy="72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689170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157650" y="835172"/>
            <a:ext cx="1147176" cy="567871"/>
          </a:xfrm>
          <a:prstGeom prst="rect">
            <a:avLst/>
          </a:prstGeom>
        </p:spPr>
      </p:pic>
      <p:pic>
        <p:nvPicPr>
          <p:cNvPr id="3" name="그림 2" descr="B_대외용_일반간지라인.png"/>
          <p:cNvPicPr>
            <a:picLocks noChangeAspect="1"/>
          </p:cNvPicPr>
          <p:nvPr userDrawn="1"/>
        </p:nvPicPr>
        <p:blipFill>
          <a:blip r:embed="rId3" cstate="print"/>
          <a:srcRect t="43753" r="44230" b="41671"/>
          <a:stretch>
            <a:fillRect/>
          </a:stretch>
        </p:blipFill>
        <p:spPr>
          <a:xfrm>
            <a:off x="1" y="1002222"/>
            <a:ext cx="10342076" cy="547912"/>
          </a:xfrm>
          <a:prstGeom prst="rect">
            <a:avLst/>
          </a:prstGeom>
          <a:effectLst/>
        </p:spPr>
      </p:pic>
      <p:sp>
        <p:nvSpPr>
          <p:cNvPr id="4" name="TextBox 3"/>
          <p:cNvSpPr txBox="1"/>
          <p:nvPr userDrawn="1"/>
        </p:nvSpPr>
        <p:spPr>
          <a:xfrm>
            <a:off x="305587" y="320459"/>
            <a:ext cx="4546374" cy="6792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5471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3839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>
                  <a:reflection blurRad="6350" stA="55000" endA="50" endPos="85000" dist="29997" dir="5400000" sy="-100000" algn="bl" rotWithShape="0"/>
                </a:effectLst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Con</a:t>
            </a:r>
            <a:r>
              <a:rPr kumimoji="0" lang="en-US" altLang="ko-KR" sz="3839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reflection blurRad="6350" stA="55000" endA="50" endPos="85000" dist="29997" dir="5400000" sy="-100000" algn="bl" rotWithShape="0"/>
                </a:effectLst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tents</a:t>
            </a:r>
            <a:endParaRPr kumimoji="0" lang="ko-KR" altLang="en-US" sz="3839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>
                <a:reflection blurRad="6350" stA="55000" endA="50" endPos="85000" dist="29997" dir="5400000" sy="-100000" algn="bl" rotWithShape="0"/>
              </a:effectLst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8770385" y="421797"/>
            <a:ext cx="1417329" cy="251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5412" tIns="47708" rIns="95412" bIns="47708"/>
          <a:lstStyle/>
          <a:p>
            <a:pPr marL="0" marR="0" lvl="0" indent="0" algn="r" defTabSz="95471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44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fld id="{16B1565D-7790-4B20-9C8C-6E71895AF331}" type="slidenum">
              <a:rPr kumimoji="0" lang="ko-KR" altLang="en-US" sz="1344" b="1" i="0" u="none" strike="noStrike" kern="1200" cap="none" spc="0" normalizeH="0" baseline="0" noProof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pPr marL="0" marR="0" lvl="0" indent="0" algn="r" defTabSz="95471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344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8815319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731" y="6961564"/>
            <a:ext cx="10194249" cy="21114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74288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772" b="1" i="0" u="none" strike="noStrike" kern="1200" cap="none" spc="0" normalizeH="0" baseline="0" noProof="0" dirty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※ </a:t>
            </a:r>
            <a:r>
              <a:rPr kumimoji="0" lang="ko-KR" altLang="en-US" sz="772" b="1" i="0" u="none" strike="noStrike" kern="1200" cap="none" spc="0" normalizeH="0" baseline="0" noProof="0" dirty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본 자료는 컨설턴트 교육용으로 </a:t>
            </a:r>
            <a:r>
              <a:rPr kumimoji="0" lang="ko-KR" altLang="en-US" sz="772" b="1" i="0" u="none" strike="noStrike" kern="1200" cap="none" spc="0" normalizeH="0" baseline="0" noProof="0" dirty="0" err="1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환급금</a:t>
            </a:r>
            <a:r>
              <a:rPr kumimoji="0" lang="ko-KR" altLang="en-US" sz="772" b="1" i="0" u="none" strike="noStrike" kern="1200" cap="none" spc="0" normalizeH="0" baseline="0" noProof="0" dirty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및 보험금 지급의 근거가 될 수 없으며 고객안내자료로 활용할 수 없습니다</a:t>
            </a:r>
            <a:r>
              <a:rPr kumimoji="0" lang="en-US" altLang="ko-KR" sz="772" b="1" i="0" u="none" strike="noStrike" kern="1200" cap="none" spc="0" normalizeH="0" baseline="0" noProof="0" dirty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772" b="1" i="0" u="none" strike="noStrike" kern="1200" cap="none" spc="0" normalizeH="0" baseline="0" noProof="0" dirty="0">
              <a:ln>
                <a:noFill/>
              </a:ln>
              <a:solidFill>
                <a:srgbClr val="14145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3243371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51817274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1" y="4"/>
            <a:ext cx="10383125" cy="72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31495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1" name="그림 100"/>
          <p:cNvPicPr>
            <a:picLocks noChangeAspect="1"/>
          </p:cNvPicPr>
          <p:nvPr userDrawn="1"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3" t="2020" r="4023" b="1758"/>
          <a:stretch/>
        </p:blipFill>
        <p:spPr>
          <a:xfrm>
            <a:off x="448110" y="701913"/>
            <a:ext cx="1726258" cy="2136533"/>
          </a:xfrm>
          <a:prstGeom prst="rect">
            <a:avLst/>
          </a:prstGeom>
        </p:spPr>
      </p:pic>
      <p:pic>
        <p:nvPicPr>
          <p:cNvPr id="99" name="그림 9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96" y="753"/>
            <a:ext cx="10384834" cy="7254123"/>
          </a:xfrm>
          <a:prstGeom prst="rect">
            <a:avLst/>
          </a:prstGeom>
        </p:spPr>
      </p:pic>
      <p:sp>
        <p:nvSpPr>
          <p:cNvPr id="6" name="직사각형 5"/>
          <p:cNvSpPr/>
          <p:nvPr userDrawn="1"/>
        </p:nvSpPr>
        <p:spPr>
          <a:xfrm>
            <a:off x="7500778" y="6437275"/>
            <a:ext cx="2641471" cy="6673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7472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51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5" name="그림 4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623165" y="6621850"/>
            <a:ext cx="2589228" cy="455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521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196681" y="816468"/>
            <a:ext cx="931285" cy="576374"/>
          </a:xfrm>
          <a:prstGeom prst="rect">
            <a:avLst/>
          </a:prstGeom>
        </p:spPr>
      </p:pic>
      <p:pic>
        <p:nvPicPr>
          <p:cNvPr id="3" name="그림 2" descr="B_대외용_일반간지라인.png"/>
          <p:cNvPicPr>
            <a:picLocks noChangeAspect="1"/>
          </p:cNvPicPr>
          <p:nvPr userDrawn="1"/>
        </p:nvPicPr>
        <p:blipFill>
          <a:blip r:embed="rId3" cstate="print"/>
          <a:srcRect t="43753" r="44230" b="41671"/>
          <a:stretch>
            <a:fillRect/>
          </a:stretch>
        </p:blipFill>
        <p:spPr>
          <a:xfrm>
            <a:off x="4" y="1002225"/>
            <a:ext cx="10342075" cy="547912"/>
          </a:xfrm>
          <a:prstGeom prst="rect">
            <a:avLst/>
          </a:prstGeom>
          <a:effectLst/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2FCB20F-B542-E4FA-3ED2-184CBCB82381}"/>
              </a:ext>
            </a:extLst>
          </p:cNvPr>
          <p:cNvSpPr txBox="1"/>
          <p:nvPr userDrawn="1"/>
        </p:nvSpPr>
        <p:spPr>
          <a:xfrm>
            <a:off x="352833" y="238148"/>
            <a:ext cx="3392922" cy="469680"/>
          </a:xfrm>
          <a:prstGeom prst="rect">
            <a:avLst/>
          </a:prstGeom>
          <a:noFill/>
          <a:effectLst>
            <a:reflection blurRad="6350" stA="50000" endA="300" endPos="90000" dir="5400000" sy="-100000" algn="bl" rotWithShape="0"/>
          </a:effectLst>
        </p:spPr>
        <p:txBody>
          <a:bodyPr wrap="square" lIns="0" rtlCol="0">
            <a:spAutoFit/>
          </a:bodyPr>
          <a:lstStyle>
            <a:defPPr>
              <a:defRPr lang="ko-KR"/>
            </a:defPPr>
            <a:lvl1pPr>
              <a:defRPr sz="3200" b="1" spc="-300">
                <a:gradFill flip="none" rotWithShape="1">
                  <a:gsLst>
                    <a:gs pos="31000">
                      <a:srgbClr val="4DB948"/>
                    </a:gs>
                    <a:gs pos="77000">
                      <a:srgbClr val="003975"/>
                    </a:gs>
                  </a:gsLst>
                  <a:lin ang="0" scaled="1"/>
                  <a:tileRect/>
                </a:gradFill>
                <a:latin typeface="Kyobo SemiBold" panose="020B0600000101010101" pitchFamily="34" charset="-127"/>
                <a:ea typeface="Kyobo SemiBold" panose="020B0600000101010101" pitchFamily="34" charset="-127"/>
              </a:defRPr>
            </a:lvl1pPr>
          </a:lstStyle>
          <a:p>
            <a:pPr marL="0" marR="0" lvl="0" indent="0" algn="l" defTabSz="77472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452" b="1" i="0" u="none" strike="noStrike" kern="1200" cap="none" spc="-115" normalizeH="0" baseline="0" noProof="0" dirty="0" smtClean="0">
                <a:ln>
                  <a:noFill/>
                </a:ln>
                <a:gradFill flip="none" rotWithShape="1">
                  <a:gsLst>
                    <a:gs pos="50000">
                      <a:srgbClr val="507C89"/>
                    </a:gs>
                    <a:gs pos="50000">
                      <a:srgbClr val="14145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Contents</a:t>
            </a:r>
            <a:endParaRPr kumimoji="0" lang="ko-KR" altLang="en-US" sz="2452" b="1" i="0" u="none" strike="noStrike" kern="1200" cap="none" spc="-115" normalizeH="0" baseline="0" noProof="0" dirty="0" smtClean="0">
              <a:ln>
                <a:noFill/>
              </a:ln>
              <a:gradFill flip="none" rotWithShape="1">
                <a:gsLst>
                  <a:gs pos="50000">
                    <a:srgbClr val="507C89"/>
                  </a:gs>
                  <a:gs pos="50000">
                    <a:srgbClr val="141450"/>
                  </a:gs>
                </a:gsLst>
                <a:lin ang="2700000" scaled="1"/>
                <a:tileRect/>
              </a:gra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" name="직사각형 3"/>
          <p:cNvSpPr/>
          <p:nvPr userDrawn="1"/>
        </p:nvSpPr>
        <p:spPr>
          <a:xfrm>
            <a:off x="138192" y="6866201"/>
            <a:ext cx="5243634" cy="2956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7472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525" b="0" i="0" u="none" strike="noStrike" kern="1200" cap="none" spc="0" normalizeH="0" baseline="0" noProof="0">
              <a:ln>
                <a:noFill/>
              </a:ln>
              <a:solidFill>
                <a:srgbClr val="507C89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85731" y="6961564"/>
            <a:ext cx="10194249" cy="2111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4288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772" b="1" i="0" u="none" strike="noStrike" kern="1200" cap="none" spc="0" normalizeH="0" baseline="0" noProof="0" dirty="0" smtClean="0">
                <a:ln>
                  <a:noFill/>
                </a:ln>
                <a:solidFill>
                  <a:srgbClr val="507C89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※ </a:t>
            </a:r>
            <a:r>
              <a:rPr kumimoji="0" lang="ko-KR" altLang="en-US" sz="772" b="1" i="0" u="none" strike="noStrike" kern="1200" cap="none" spc="0" normalizeH="0" baseline="0" noProof="0" dirty="0" smtClean="0">
                <a:ln>
                  <a:noFill/>
                </a:ln>
                <a:solidFill>
                  <a:srgbClr val="507C89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본 자료는 컨설턴트 교육용으로 </a:t>
            </a:r>
            <a:r>
              <a:rPr kumimoji="0" lang="ko-KR" altLang="en-US" sz="772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507C89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환급금</a:t>
            </a:r>
            <a:r>
              <a:rPr kumimoji="0" lang="ko-KR" altLang="en-US" sz="772" b="1" i="0" u="none" strike="noStrike" kern="1200" cap="none" spc="0" normalizeH="0" baseline="0" noProof="0" dirty="0" smtClean="0">
                <a:ln>
                  <a:noFill/>
                </a:ln>
                <a:solidFill>
                  <a:srgbClr val="507C89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및 보험금 지급의 근거가 될 수 없으며 고객안내자료로 활용할 수 없습니다</a:t>
            </a:r>
            <a:r>
              <a:rPr kumimoji="0" lang="en-US" altLang="ko-KR" sz="772" b="1" i="0" u="none" strike="noStrike" kern="1200" cap="none" spc="0" normalizeH="0" baseline="0" noProof="0" dirty="0" smtClean="0">
                <a:ln>
                  <a:noFill/>
                </a:ln>
                <a:solidFill>
                  <a:srgbClr val="507C89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772" b="1" i="0" u="none" strike="noStrike" kern="1200" cap="none" spc="0" normalizeH="0" baseline="0" noProof="0" dirty="0">
              <a:ln>
                <a:noFill/>
              </a:ln>
              <a:solidFill>
                <a:srgbClr val="507C89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43344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그림 10" descr="B_대외용_일반간지라인.png"/>
          <p:cNvPicPr>
            <a:picLocks noChangeAspect="1"/>
          </p:cNvPicPr>
          <p:nvPr userDrawn="1"/>
        </p:nvPicPr>
        <p:blipFill>
          <a:blip r:embed="rId2" cstate="print"/>
          <a:srcRect t="43753" r="44230" b="41671"/>
          <a:stretch>
            <a:fillRect/>
          </a:stretch>
        </p:blipFill>
        <p:spPr>
          <a:xfrm>
            <a:off x="162054" y="530540"/>
            <a:ext cx="10221784" cy="547912"/>
          </a:xfrm>
          <a:prstGeom prst="rect">
            <a:avLst/>
          </a:prstGeom>
          <a:effectLst/>
        </p:spPr>
      </p:pic>
      <p:sp>
        <p:nvSpPr>
          <p:cNvPr id="2" name="직사각형 1"/>
          <p:cNvSpPr/>
          <p:nvPr userDrawn="1"/>
        </p:nvSpPr>
        <p:spPr>
          <a:xfrm>
            <a:off x="9252302" y="449288"/>
            <a:ext cx="945568" cy="20727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7472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51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4" name="그림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19167" y="658250"/>
            <a:ext cx="778703" cy="481941"/>
          </a:xfrm>
          <a:prstGeom prst="rect">
            <a:avLst/>
          </a:prstGeom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9530410" y="421801"/>
            <a:ext cx="611838" cy="2347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4258" tIns="37130" rIns="74258" bIns="37130"/>
          <a:lstStyle/>
          <a:p>
            <a:pPr marL="0" marR="0" lvl="0" indent="0" algn="r" defTabSz="74302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73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fld id="{16B1565D-7790-4B20-9C8C-6E71895AF331}" type="slidenum">
              <a:rPr kumimoji="0" lang="ko-KR" altLang="en-US" sz="1073" b="1" i="0" u="none" strike="noStrike" kern="1200" cap="none" spc="0" normalizeH="0" baseline="0" noProof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pPr marL="0" marR="0" lvl="0" indent="0" algn="r" defTabSz="74302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073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35933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3649">
          <p15:clr>
            <a:srgbClr val="FBAE40"/>
          </p15:clr>
        </p15:guide>
      </p15:sldGuideLst>
    </p:ext>
  </p:extLs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1" y="4"/>
            <a:ext cx="10383125" cy="7255815"/>
          </a:xfrm>
          <a:prstGeom prst="rect">
            <a:avLst/>
          </a:prstGeom>
        </p:spPr>
      </p:pic>
      <p:sp>
        <p:nvSpPr>
          <p:cNvPr id="9" name="Rounded Rectangle 2"/>
          <p:cNvSpPr/>
          <p:nvPr userDrawn="1"/>
        </p:nvSpPr>
        <p:spPr>
          <a:xfrm>
            <a:off x="321693" y="933703"/>
            <a:ext cx="9750680" cy="462179"/>
          </a:xfrm>
          <a:prstGeom prst="roundRect">
            <a:avLst>
              <a:gd name="adj" fmla="val 3968"/>
            </a:avLst>
          </a:prstGeom>
          <a:solidFill>
            <a:srgbClr val="507C89">
              <a:alpha val="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062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0" name="사다리꼴 9"/>
          <p:cNvSpPr/>
          <p:nvPr userDrawn="1"/>
        </p:nvSpPr>
        <p:spPr>
          <a:xfrm rot="10800000" flipV="1">
            <a:off x="184258" y="1395882"/>
            <a:ext cx="10015465" cy="179696"/>
          </a:xfrm>
          <a:prstGeom prst="trapezoid">
            <a:avLst>
              <a:gd name="adj" fmla="val 33955"/>
            </a:avLst>
          </a:prstGeom>
          <a:solidFill>
            <a:srgbClr val="141450">
              <a:alpha val="5000"/>
            </a:srgbClr>
          </a:solidFill>
          <a:ln w="2540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7472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52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1" name="직사각형 10"/>
          <p:cNvSpPr/>
          <p:nvPr userDrawn="1"/>
        </p:nvSpPr>
        <p:spPr>
          <a:xfrm>
            <a:off x="184260" y="1579215"/>
            <a:ext cx="10015465" cy="5337352"/>
          </a:xfrm>
          <a:prstGeom prst="rect">
            <a:avLst/>
          </a:prstGeom>
          <a:noFill/>
          <a:ln w="6350">
            <a:solidFill>
              <a:srgbClr val="141450">
                <a:alpha val="50000"/>
              </a:srgb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7472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52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2" name="Rounded Rectangle 3"/>
          <p:cNvSpPr/>
          <p:nvPr userDrawn="1"/>
        </p:nvSpPr>
        <p:spPr>
          <a:xfrm>
            <a:off x="321693" y="1272955"/>
            <a:ext cx="134470" cy="126565"/>
          </a:xfrm>
          <a:prstGeom prst="roundRect">
            <a:avLst>
              <a:gd name="adj" fmla="val 50000"/>
            </a:avLst>
          </a:prstGeom>
          <a:solidFill>
            <a:sysClr val="window" lastClr="FFFFFF">
              <a:alpha val="41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062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44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3" name="Half Frame 4"/>
          <p:cNvSpPr/>
          <p:nvPr userDrawn="1"/>
        </p:nvSpPr>
        <p:spPr>
          <a:xfrm rot="5400000">
            <a:off x="9561934" y="1143372"/>
            <a:ext cx="658058" cy="529234"/>
          </a:xfrm>
          <a:prstGeom prst="halfFrame">
            <a:avLst>
              <a:gd name="adj1" fmla="val 23728"/>
              <a:gd name="adj2" fmla="val 24642"/>
            </a:avLst>
          </a:prstGeom>
          <a:solidFill>
            <a:sysClr val="window" lastClr="FFFFFF">
              <a:alpha val="23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062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44" b="0" i="0" u="none" strike="noStrike" kern="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57388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75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</p:bldLst>
  </p:timing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1" y="4"/>
            <a:ext cx="10383125" cy="7255815"/>
          </a:xfrm>
          <a:prstGeom prst="rect">
            <a:avLst/>
          </a:prstGeom>
        </p:spPr>
      </p:pic>
      <p:sp>
        <p:nvSpPr>
          <p:cNvPr id="9" name="Rounded Rectangle 2"/>
          <p:cNvSpPr/>
          <p:nvPr userDrawn="1"/>
        </p:nvSpPr>
        <p:spPr>
          <a:xfrm>
            <a:off x="184260" y="1065796"/>
            <a:ext cx="2962944" cy="5772213"/>
          </a:xfrm>
          <a:prstGeom prst="roundRect">
            <a:avLst>
              <a:gd name="adj" fmla="val 3968"/>
            </a:avLst>
          </a:prstGeom>
          <a:solidFill>
            <a:srgbClr val="507C89">
              <a:alpha val="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062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0" name="사다리꼴 9"/>
          <p:cNvSpPr/>
          <p:nvPr userDrawn="1"/>
        </p:nvSpPr>
        <p:spPr>
          <a:xfrm rot="5400000" flipV="1">
            <a:off x="296053" y="3796642"/>
            <a:ext cx="5971077" cy="268776"/>
          </a:xfrm>
          <a:prstGeom prst="trapezoid">
            <a:avLst>
              <a:gd name="adj" fmla="val 33955"/>
            </a:avLst>
          </a:prstGeom>
          <a:solidFill>
            <a:srgbClr val="141450">
              <a:alpha val="5000"/>
            </a:srgbClr>
          </a:solidFill>
          <a:ln w="2540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7472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52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1" name="직사각형 10"/>
          <p:cNvSpPr/>
          <p:nvPr userDrawn="1"/>
        </p:nvSpPr>
        <p:spPr>
          <a:xfrm>
            <a:off x="3415978" y="945491"/>
            <a:ext cx="6783747" cy="5971076"/>
          </a:xfrm>
          <a:prstGeom prst="rect">
            <a:avLst/>
          </a:prstGeom>
          <a:noFill/>
          <a:ln w="6350">
            <a:solidFill>
              <a:srgbClr val="141450">
                <a:alpha val="50000"/>
              </a:srgb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7472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52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2" name="Rounded Rectangle 3"/>
          <p:cNvSpPr/>
          <p:nvPr userDrawn="1"/>
        </p:nvSpPr>
        <p:spPr>
          <a:xfrm>
            <a:off x="321693" y="1272955"/>
            <a:ext cx="118853" cy="5358348"/>
          </a:xfrm>
          <a:prstGeom prst="roundRect">
            <a:avLst>
              <a:gd name="adj" fmla="val 50000"/>
            </a:avLst>
          </a:prstGeom>
          <a:solidFill>
            <a:sysClr val="window" lastClr="FFFFFF">
              <a:alpha val="41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062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44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3" name="Half Frame 4"/>
          <p:cNvSpPr/>
          <p:nvPr userDrawn="1"/>
        </p:nvSpPr>
        <p:spPr>
          <a:xfrm rot="5400000">
            <a:off x="2420040" y="1269053"/>
            <a:ext cx="658058" cy="529234"/>
          </a:xfrm>
          <a:prstGeom prst="halfFrame">
            <a:avLst>
              <a:gd name="adj1" fmla="val 23728"/>
              <a:gd name="adj2" fmla="val 24642"/>
            </a:avLst>
          </a:prstGeom>
          <a:solidFill>
            <a:sysClr val="window" lastClr="FFFFFF">
              <a:alpha val="23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062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44" b="0" i="0" u="none" strike="noStrike" kern="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06214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1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500"/>
                            </p:stCondLst>
                            <p:childTnLst>
                              <p:par>
                                <p:cTn id="1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</p:bldLst>
  </p:timing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890710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1" y="4"/>
            <a:ext cx="10383125" cy="72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3215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-1"/>
            <a:ext cx="10383838" cy="7254877"/>
          </a:xfrm>
          <a:prstGeom prst="rect">
            <a:avLst/>
          </a:prstGeom>
        </p:spPr>
      </p:pic>
      <p:sp>
        <p:nvSpPr>
          <p:cNvPr id="2" name="직사각형 1"/>
          <p:cNvSpPr/>
          <p:nvPr userDrawn="1"/>
        </p:nvSpPr>
        <p:spPr>
          <a:xfrm>
            <a:off x="0" y="2"/>
            <a:ext cx="10383838" cy="7254875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7755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727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" name="Right Triangle 3"/>
          <p:cNvSpPr/>
          <p:nvPr userDrawn="1"/>
        </p:nvSpPr>
        <p:spPr>
          <a:xfrm flipV="1">
            <a:off x="1" y="2"/>
            <a:ext cx="5600777" cy="5339897"/>
          </a:xfrm>
          <a:prstGeom prst="rtTriangle">
            <a:avLst/>
          </a:prstGeom>
          <a:solidFill>
            <a:schemeClr val="accent3">
              <a:lumMod val="60000"/>
              <a:lumOff val="4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7755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2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+mn-ea"/>
              <a:cs typeface="+mn-cs"/>
            </a:endParaRPr>
          </a:p>
        </p:txBody>
      </p:sp>
      <p:sp>
        <p:nvSpPr>
          <p:cNvPr id="7" name="Right Triangle 6"/>
          <p:cNvSpPr/>
          <p:nvPr userDrawn="1"/>
        </p:nvSpPr>
        <p:spPr>
          <a:xfrm rot="10800000" flipV="1">
            <a:off x="7847768" y="4834524"/>
            <a:ext cx="2536073" cy="2420352"/>
          </a:xfrm>
          <a:prstGeom prst="rtTriangle">
            <a:avLst/>
          </a:prstGeom>
          <a:solidFill>
            <a:schemeClr val="accent1">
              <a:lumMod val="60000"/>
              <a:lumOff val="4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7755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2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+mn-ea"/>
              <a:cs typeface="+mn-cs"/>
            </a:endParaRP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8770385" y="421797"/>
            <a:ext cx="1417329" cy="251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5412" tIns="47708" rIns="95412" bIns="47708"/>
          <a:lstStyle/>
          <a:p>
            <a:pPr marL="0" marR="0" lvl="0" indent="0" algn="r" defTabSz="95471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44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fld id="{16B1565D-7790-4B20-9C8C-6E71895AF331}" type="slidenum">
              <a:rPr kumimoji="0" lang="ko-KR" altLang="en-US" sz="1344" b="1" i="0" u="none" strike="noStrike" kern="1200" cap="none" spc="0" normalizeH="0" baseline="0" noProof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pPr marL="0" marR="0" lvl="0" indent="0" algn="r" defTabSz="95471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344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10" name="그림 9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139143" y="835172"/>
            <a:ext cx="1147176" cy="567871"/>
          </a:xfrm>
          <a:prstGeom prst="rect">
            <a:avLst/>
          </a:prstGeom>
        </p:spPr>
      </p:pic>
      <p:pic>
        <p:nvPicPr>
          <p:cNvPr id="11" name="그림 10" descr="B_대외용_일반간지라인.png"/>
          <p:cNvPicPr>
            <a:picLocks noChangeAspect="1"/>
          </p:cNvPicPr>
          <p:nvPr userDrawn="1"/>
        </p:nvPicPr>
        <p:blipFill>
          <a:blip r:embed="rId4" cstate="print"/>
          <a:srcRect t="43753" r="44230" b="41671"/>
          <a:stretch>
            <a:fillRect/>
          </a:stretch>
        </p:blipFill>
        <p:spPr>
          <a:xfrm>
            <a:off x="120294" y="1002222"/>
            <a:ext cx="10221783" cy="547912"/>
          </a:xfrm>
          <a:prstGeom prst="rect">
            <a:avLst/>
          </a:prstGeom>
          <a:effectLst/>
        </p:spPr>
      </p:pic>
      <p:grpSp>
        <p:nvGrpSpPr>
          <p:cNvPr id="9" name="그룹 8"/>
          <p:cNvGrpSpPr/>
          <p:nvPr userDrawn="1"/>
        </p:nvGrpSpPr>
        <p:grpSpPr>
          <a:xfrm>
            <a:off x="8309742" y="105456"/>
            <a:ext cx="1963165" cy="234671"/>
            <a:chOff x="8353635" y="186085"/>
            <a:chExt cx="2020790" cy="244530"/>
          </a:xfrm>
        </p:grpSpPr>
        <p:sp>
          <p:nvSpPr>
            <p:cNvPr id="12" name="모서리가 둥근 직사각형 11"/>
            <p:cNvSpPr/>
            <p:nvPr/>
          </p:nvSpPr>
          <p:spPr>
            <a:xfrm>
              <a:off x="8353635" y="186085"/>
              <a:ext cx="2020790" cy="244530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18000" rIns="36000" bIns="18000" rtlCol="0" anchor="ctr">
              <a:spAutoFit/>
            </a:bodyPr>
            <a:lstStyle/>
            <a:p>
              <a:pPr marL="0" marR="0" lvl="0" indent="0" algn="r" defTabSz="87755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52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>
                      <a:lumMod val="50000"/>
                    </a:srgbClr>
                  </a:solidFill>
                  <a:effectLst/>
                  <a:uLnTx/>
                  <a:uFillTx/>
                  <a:latin typeface="교보서체 Bold" panose="020B0600000101010101" pitchFamily="50" charset="-127"/>
                  <a:ea typeface="교보서체 Bold" panose="020B0600000101010101" pitchFamily="50" charset="-127"/>
                  <a:cs typeface="+mn-cs"/>
                </a:rPr>
                <a:t>고객제시불가</a:t>
              </a:r>
            </a:p>
          </p:txBody>
        </p:sp>
        <p:sp>
          <p:nvSpPr>
            <p:cNvPr id="13" name="모서리가 둥근 직사각형 12"/>
            <p:cNvSpPr/>
            <p:nvPr/>
          </p:nvSpPr>
          <p:spPr>
            <a:xfrm>
              <a:off x="8353635" y="186085"/>
              <a:ext cx="1045030" cy="244530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 w="12700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18000" rIns="0" bIns="18000" rtlCol="0" anchor="ctr">
              <a:spAutoFit/>
            </a:bodyPr>
            <a:lstStyle/>
            <a:p>
              <a:pPr marL="0" marR="0" lvl="0" indent="0" algn="ctr" defTabSz="87755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152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교보서체 Bold" panose="020B0600000101010101" pitchFamily="50" charset="-127"/>
                  <a:ea typeface="교보서체 Bold" panose="020B0600000101010101" pitchFamily="50" charset="-127"/>
                  <a:cs typeface="+mn-cs"/>
                </a:rPr>
                <a:t>FP</a:t>
              </a:r>
              <a:r>
                <a:rPr kumimoji="0" lang="ko-KR" altLang="en-US" sz="1152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교보서체 Bold" panose="020B0600000101010101" pitchFamily="50" charset="-127"/>
                  <a:ea typeface="교보서체 Bold" panose="020B0600000101010101" pitchFamily="50" charset="-127"/>
                  <a:cs typeface="+mn-cs"/>
                </a:rPr>
                <a:t>교육용자료</a:t>
              </a:r>
              <a:endParaRPr kumimoji="0" lang="ko-KR" altLang="en-US" sz="1152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endParaRPr>
            </a:p>
          </p:txBody>
        </p:sp>
      </p:grpSp>
      <p:sp>
        <p:nvSpPr>
          <p:cNvPr id="16" name="TextBox 15"/>
          <p:cNvSpPr txBox="1"/>
          <p:nvPr userDrawn="1"/>
        </p:nvSpPr>
        <p:spPr>
          <a:xfrm>
            <a:off x="88153" y="6985351"/>
            <a:ext cx="6777856" cy="2400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5471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6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※ </a:t>
            </a:r>
            <a:r>
              <a:rPr kumimoji="0" lang="ko-KR" altLang="en-US" sz="96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본 자료는 컨설턴트 교육용으로 </a:t>
            </a:r>
            <a:r>
              <a:rPr kumimoji="0" lang="ko-KR" altLang="en-US" sz="96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환급금</a:t>
            </a:r>
            <a:r>
              <a:rPr kumimoji="0" lang="ko-KR" altLang="en-US" sz="96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 및 보험금 지급의 근거가 될 수 없으며 고객안내자료로 활용할 수 없습니다</a:t>
            </a:r>
            <a:r>
              <a:rPr kumimoji="0" lang="en-US" altLang="ko-KR" sz="96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.</a:t>
            </a:r>
            <a:endParaRPr kumimoji="0" lang="ko-KR" altLang="en-US" sz="96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교보서체 Bold" panose="020B0600000101010101" pitchFamily="50" charset="-127"/>
              <a:ea typeface="교보서체 Bold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99285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1" name="그림 100"/>
          <p:cNvPicPr>
            <a:picLocks noChangeAspect="1"/>
          </p:cNvPicPr>
          <p:nvPr userDrawn="1"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3" t="2020" r="4023" b="1758"/>
          <a:stretch/>
        </p:blipFill>
        <p:spPr>
          <a:xfrm>
            <a:off x="448110" y="701913"/>
            <a:ext cx="1726258" cy="2136533"/>
          </a:xfrm>
          <a:prstGeom prst="rect">
            <a:avLst/>
          </a:prstGeom>
        </p:spPr>
      </p:pic>
      <p:pic>
        <p:nvPicPr>
          <p:cNvPr id="99" name="그림 9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96" y="753"/>
            <a:ext cx="10384834" cy="7254123"/>
          </a:xfrm>
          <a:prstGeom prst="rect">
            <a:avLst/>
          </a:prstGeom>
        </p:spPr>
      </p:pic>
      <p:sp>
        <p:nvSpPr>
          <p:cNvPr id="6" name="직사각형 5"/>
          <p:cNvSpPr/>
          <p:nvPr userDrawn="1"/>
        </p:nvSpPr>
        <p:spPr>
          <a:xfrm>
            <a:off x="7500778" y="6437275"/>
            <a:ext cx="2641471" cy="6673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7472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51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5" name="그림 4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623165" y="6621850"/>
            <a:ext cx="2589228" cy="455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9060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196681" y="816468"/>
            <a:ext cx="931285" cy="576374"/>
          </a:xfrm>
          <a:prstGeom prst="rect">
            <a:avLst/>
          </a:prstGeom>
        </p:spPr>
      </p:pic>
      <p:pic>
        <p:nvPicPr>
          <p:cNvPr id="3" name="그림 2" descr="B_대외용_일반간지라인.png"/>
          <p:cNvPicPr>
            <a:picLocks noChangeAspect="1"/>
          </p:cNvPicPr>
          <p:nvPr userDrawn="1"/>
        </p:nvPicPr>
        <p:blipFill>
          <a:blip r:embed="rId3" cstate="print"/>
          <a:srcRect t="43753" r="44230" b="41671"/>
          <a:stretch>
            <a:fillRect/>
          </a:stretch>
        </p:blipFill>
        <p:spPr>
          <a:xfrm>
            <a:off x="4" y="1002225"/>
            <a:ext cx="10342075" cy="547912"/>
          </a:xfrm>
          <a:prstGeom prst="rect">
            <a:avLst/>
          </a:prstGeom>
          <a:effectLst/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2FCB20F-B542-E4FA-3ED2-184CBCB82381}"/>
              </a:ext>
            </a:extLst>
          </p:cNvPr>
          <p:cNvSpPr txBox="1"/>
          <p:nvPr userDrawn="1"/>
        </p:nvSpPr>
        <p:spPr>
          <a:xfrm>
            <a:off x="352833" y="238148"/>
            <a:ext cx="3392922" cy="469680"/>
          </a:xfrm>
          <a:prstGeom prst="rect">
            <a:avLst/>
          </a:prstGeom>
          <a:noFill/>
          <a:effectLst>
            <a:reflection blurRad="6350" stA="50000" endA="300" endPos="90000" dir="5400000" sy="-100000" algn="bl" rotWithShape="0"/>
          </a:effectLst>
        </p:spPr>
        <p:txBody>
          <a:bodyPr wrap="square" lIns="0" rtlCol="0">
            <a:spAutoFit/>
          </a:bodyPr>
          <a:lstStyle>
            <a:defPPr>
              <a:defRPr lang="ko-KR"/>
            </a:defPPr>
            <a:lvl1pPr>
              <a:defRPr sz="3200" b="1" spc="-300">
                <a:gradFill flip="none" rotWithShape="1">
                  <a:gsLst>
                    <a:gs pos="31000">
                      <a:srgbClr val="4DB948"/>
                    </a:gs>
                    <a:gs pos="77000">
                      <a:srgbClr val="003975"/>
                    </a:gs>
                  </a:gsLst>
                  <a:lin ang="0" scaled="1"/>
                  <a:tileRect/>
                </a:gradFill>
                <a:latin typeface="Kyobo SemiBold" panose="020B0600000101010101" pitchFamily="34" charset="-127"/>
                <a:ea typeface="Kyobo SemiBold" panose="020B0600000101010101" pitchFamily="34" charset="-127"/>
              </a:defRPr>
            </a:lvl1pPr>
          </a:lstStyle>
          <a:p>
            <a:pPr marL="0" marR="0" lvl="0" indent="0" algn="l" defTabSz="77472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452" b="1" i="0" u="none" strike="noStrike" kern="1200" cap="none" spc="-115" normalizeH="0" baseline="0" noProof="0" dirty="0" smtClean="0">
                <a:ln>
                  <a:noFill/>
                </a:ln>
                <a:gradFill flip="none" rotWithShape="1">
                  <a:gsLst>
                    <a:gs pos="50000">
                      <a:srgbClr val="507C89"/>
                    </a:gs>
                    <a:gs pos="50000">
                      <a:srgbClr val="141450"/>
                    </a:gs>
                  </a:gsLst>
                  <a:lin ang="2700000" scaled="1"/>
                  <a:tileRect/>
                </a:gra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Contents</a:t>
            </a:r>
            <a:endParaRPr kumimoji="0" lang="ko-KR" altLang="en-US" sz="2452" b="1" i="0" u="none" strike="noStrike" kern="1200" cap="none" spc="-115" normalizeH="0" baseline="0" noProof="0" dirty="0" smtClean="0">
              <a:ln>
                <a:noFill/>
              </a:ln>
              <a:gradFill flip="none" rotWithShape="1">
                <a:gsLst>
                  <a:gs pos="50000">
                    <a:srgbClr val="507C89"/>
                  </a:gs>
                  <a:gs pos="50000">
                    <a:srgbClr val="141450"/>
                  </a:gs>
                </a:gsLst>
                <a:lin ang="2700000" scaled="1"/>
                <a:tileRect/>
              </a:gra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" name="직사각형 3"/>
          <p:cNvSpPr/>
          <p:nvPr userDrawn="1"/>
        </p:nvSpPr>
        <p:spPr>
          <a:xfrm>
            <a:off x="138192" y="6866201"/>
            <a:ext cx="5243634" cy="2956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7472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525" b="0" i="0" u="none" strike="noStrike" kern="1200" cap="none" spc="0" normalizeH="0" baseline="0" noProof="0">
              <a:ln>
                <a:noFill/>
              </a:ln>
              <a:solidFill>
                <a:srgbClr val="507C89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85731" y="6961564"/>
            <a:ext cx="10194249" cy="2111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4288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772" b="1" i="0" u="none" strike="noStrike" kern="1200" cap="none" spc="0" normalizeH="0" baseline="0" noProof="0" dirty="0" smtClean="0">
                <a:ln>
                  <a:noFill/>
                </a:ln>
                <a:solidFill>
                  <a:srgbClr val="507C89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※ </a:t>
            </a:r>
            <a:r>
              <a:rPr kumimoji="0" lang="ko-KR" altLang="en-US" sz="772" b="1" i="0" u="none" strike="noStrike" kern="1200" cap="none" spc="0" normalizeH="0" baseline="0" noProof="0" dirty="0" smtClean="0">
                <a:ln>
                  <a:noFill/>
                </a:ln>
                <a:solidFill>
                  <a:srgbClr val="507C89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본 자료는 컨설턴트 교육용으로 </a:t>
            </a:r>
            <a:r>
              <a:rPr kumimoji="0" lang="ko-KR" altLang="en-US" sz="772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507C89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환급금</a:t>
            </a:r>
            <a:r>
              <a:rPr kumimoji="0" lang="ko-KR" altLang="en-US" sz="772" b="1" i="0" u="none" strike="noStrike" kern="1200" cap="none" spc="0" normalizeH="0" baseline="0" noProof="0" dirty="0" smtClean="0">
                <a:ln>
                  <a:noFill/>
                </a:ln>
                <a:solidFill>
                  <a:srgbClr val="507C89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및 보험금 지급의 근거가 될 수 없으며 고객안내자료로 활용할 수 없습니다</a:t>
            </a:r>
            <a:r>
              <a:rPr kumimoji="0" lang="en-US" altLang="ko-KR" sz="772" b="1" i="0" u="none" strike="noStrike" kern="1200" cap="none" spc="0" normalizeH="0" baseline="0" noProof="0" dirty="0" smtClean="0">
                <a:ln>
                  <a:noFill/>
                </a:ln>
                <a:solidFill>
                  <a:srgbClr val="507C89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772" b="1" i="0" u="none" strike="noStrike" kern="1200" cap="none" spc="0" normalizeH="0" baseline="0" noProof="0" dirty="0">
              <a:ln>
                <a:noFill/>
              </a:ln>
              <a:solidFill>
                <a:srgbClr val="507C89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59975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그림 10" descr="B_대외용_일반간지라인.png"/>
          <p:cNvPicPr>
            <a:picLocks noChangeAspect="1"/>
          </p:cNvPicPr>
          <p:nvPr userDrawn="1"/>
        </p:nvPicPr>
        <p:blipFill>
          <a:blip r:embed="rId2" cstate="print"/>
          <a:srcRect t="43753" r="44230" b="41671"/>
          <a:stretch>
            <a:fillRect/>
          </a:stretch>
        </p:blipFill>
        <p:spPr>
          <a:xfrm>
            <a:off x="162054" y="530540"/>
            <a:ext cx="10221784" cy="547912"/>
          </a:xfrm>
          <a:prstGeom prst="rect">
            <a:avLst/>
          </a:prstGeom>
          <a:effectLst/>
        </p:spPr>
      </p:pic>
      <p:sp>
        <p:nvSpPr>
          <p:cNvPr id="2" name="직사각형 1"/>
          <p:cNvSpPr/>
          <p:nvPr userDrawn="1"/>
        </p:nvSpPr>
        <p:spPr>
          <a:xfrm>
            <a:off x="9252302" y="449288"/>
            <a:ext cx="945568" cy="20727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7472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51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4" name="그림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19167" y="658250"/>
            <a:ext cx="778703" cy="481941"/>
          </a:xfrm>
          <a:prstGeom prst="rect">
            <a:avLst/>
          </a:prstGeom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9530410" y="421801"/>
            <a:ext cx="611838" cy="2347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4258" tIns="37130" rIns="74258" bIns="37130"/>
          <a:lstStyle/>
          <a:p>
            <a:pPr marL="0" marR="0" lvl="0" indent="0" algn="r" defTabSz="74302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73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fld id="{16B1565D-7790-4B20-9C8C-6E71895AF331}" type="slidenum">
              <a:rPr kumimoji="0" lang="ko-KR" altLang="en-US" sz="1073" b="1" i="0" u="none" strike="noStrike" kern="1200" cap="none" spc="0" normalizeH="0" baseline="0" noProof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pPr marL="0" marR="0" lvl="0" indent="0" algn="r" defTabSz="74302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073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244532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3649">
          <p15:clr>
            <a:srgbClr val="FBAE40"/>
          </p15:clr>
        </p15:guide>
      </p15:sldGuideLst>
    </p:ext>
  </p:extLs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1" y="4"/>
            <a:ext cx="10383125" cy="7255815"/>
          </a:xfrm>
          <a:prstGeom prst="rect">
            <a:avLst/>
          </a:prstGeom>
        </p:spPr>
      </p:pic>
      <p:sp>
        <p:nvSpPr>
          <p:cNvPr id="9" name="Rounded Rectangle 2"/>
          <p:cNvSpPr/>
          <p:nvPr userDrawn="1"/>
        </p:nvSpPr>
        <p:spPr>
          <a:xfrm>
            <a:off x="321693" y="933703"/>
            <a:ext cx="9750680" cy="462179"/>
          </a:xfrm>
          <a:prstGeom prst="roundRect">
            <a:avLst>
              <a:gd name="adj" fmla="val 3968"/>
            </a:avLst>
          </a:prstGeom>
          <a:solidFill>
            <a:srgbClr val="507C89">
              <a:alpha val="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062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0" name="사다리꼴 9"/>
          <p:cNvSpPr/>
          <p:nvPr userDrawn="1"/>
        </p:nvSpPr>
        <p:spPr>
          <a:xfrm rot="10800000" flipV="1">
            <a:off x="184258" y="1395882"/>
            <a:ext cx="10015465" cy="179696"/>
          </a:xfrm>
          <a:prstGeom prst="trapezoid">
            <a:avLst>
              <a:gd name="adj" fmla="val 33955"/>
            </a:avLst>
          </a:prstGeom>
          <a:solidFill>
            <a:srgbClr val="141450">
              <a:alpha val="5000"/>
            </a:srgbClr>
          </a:solidFill>
          <a:ln w="2540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7472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52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1" name="직사각형 10"/>
          <p:cNvSpPr/>
          <p:nvPr userDrawn="1"/>
        </p:nvSpPr>
        <p:spPr>
          <a:xfrm>
            <a:off x="184260" y="1579215"/>
            <a:ext cx="10015465" cy="5337352"/>
          </a:xfrm>
          <a:prstGeom prst="rect">
            <a:avLst/>
          </a:prstGeom>
          <a:noFill/>
          <a:ln w="6350">
            <a:solidFill>
              <a:srgbClr val="141450">
                <a:alpha val="50000"/>
              </a:srgb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7472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52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2" name="Rounded Rectangle 3"/>
          <p:cNvSpPr/>
          <p:nvPr userDrawn="1"/>
        </p:nvSpPr>
        <p:spPr>
          <a:xfrm>
            <a:off x="321693" y="1272955"/>
            <a:ext cx="134470" cy="126565"/>
          </a:xfrm>
          <a:prstGeom prst="roundRect">
            <a:avLst>
              <a:gd name="adj" fmla="val 50000"/>
            </a:avLst>
          </a:prstGeom>
          <a:solidFill>
            <a:sysClr val="window" lastClr="FFFFFF">
              <a:alpha val="41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062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44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3" name="Half Frame 4"/>
          <p:cNvSpPr/>
          <p:nvPr userDrawn="1"/>
        </p:nvSpPr>
        <p:spPr>
          <a:xfrm rot="5400000">
            <a:off x="9561934" y="1143372"/>
            <a:ext cx="658058" cy="529234"/>
          </a:xfrm>
          <a:prstGeom prst="halfFrame">
            <a:avLst>
              <a:gd name="adj1" fmla="val 23728"/>
              <a:gd name="adj2" fmla="val 24642"/>
            </a:avLst>
          </a:prstGeom>
          <a:solidFill>
            <a:sysClr val="window" lastClr="FFFFFF">
              <a:alpha val="23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062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44" b="0" i="0" u="none" strike="noStrike" kern="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14555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75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</p:bldLst>
  </p:timing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1" y="4"/>
            <a:ext cx="10383125" cy="7255815"/>
          </a:xfrm>
          <a:prstGeom prst="rect">
            <a:avLst/>
          </a:prstGeom>
        </p:spPr>
      </p:pic>
      <p:sp>
        <p:nvSpPr>
          <p:cNvPr id="9" name="Rounded Rectangle 2"/>
          <p:cNvSpPr/>
          <p:nvPr userDrawn="1"/>
        </p:nvSpPr>
        <p:spPr>
          <a:xfrm>
            <a:off x="184260" y="1065796"/>
            <a:ext cx="2962944" cy="5772213"/>
          </a:xfrm>
          <a:prstGeom prst="roundRect">
            <a:avLst>
              <a:gd name="adj" fmla="val 3968"/>
            </a:avLst>
          </a:prstGeom>
          <a:solidFill>
            <a:srgbClr val="507C89">
              <a:alpha val="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062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44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0" name="사다리꼴 9"/>
          <p:cNvSpPr/>
          <p:nvPr userDrawn="1"/>
        </p:nvSpPr>
        <p:spPr>
          <a:xfrm rot="5400000" flipV="1">
            <a:off x="296053" y="3796642"/>
            <a:ext cx="5971077" cy="268776"/>
          </a:xfrm>
          <a:prstGeom prst="trapezoid">
            <a:avLst>
              <a:gd name="adj" fmla="val 33955"/>
            </a:avLst>
          </a:prstGeom>
          <a:solidFill>
            <a:srgbClr val="141450">
              <a:alpha val="5000"/>
            </a:srgbClr>
          </a:solidFill>
          <a:ln w="2540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7472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52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1" name="직사각형 10"/>
          <p:cNvSpPr/>
          <p:nvPr userDrawn="1"/>
        </p:nvSpPr>
        <p:spPr>
          <a:xfrm>
            <a:off x="3415978" y="945491"/>
            <a:ext cx="6783747" cy="5971076"/>
          </a:xfrm>
          <a:prstGeom prst="rect">
            <a:avLst/>
          </a:prstGeom>
          <a:noFill/>
          <a:ln w="6350">
            <a:solidFill>
              <a:srgbClr val="141450">
                <a:alpha val="50000"/>
              </a:srgb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7472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52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2" name="Rounded Rectangle 3"/>
          <p:cNvSpPr/>
          <p:nvPr userDrawn="1"/>
        </p:nvSpPr>
        <p:spPr>
          <a:xfrm>
            <a:off x="321693" y="1272955"/>
            <a:ext cx="118853" cy="5358348"/>
          </a:xfrm>
          <a:prstGeom prst="roundRect">
            <a:avLst>
              <a:gd name="adj" fmla="val 50000"/>
            </a:avLst>
          </a:prstGeom>
          <a:solidFill>
            <a:sysClr val="window" lastClr="FFFFFF">
              <a:alpha val="41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062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44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3" name="Half Frame 4"/>
          <p:cNvSpPr/>
          <p:nvPr userDrawn="1"/>
        </p:nvSpPr>
        <p:spPr>
          <a:xfrm rot="5400000">
            <a:off x="2420040" y="1269053"/>
            <a:ext cx="658058" cy="529234"/>
          </a:xfrm>
          <a:prstGeom prst="halfFrame">
            <a:avLst>
              <a:gd name="adj1" fmla="val 23728"/>
              <a:gd name="adj2" fmla="val 24642"/>
            </a:avLst>
          </a:prstGeom>
          <a:solidFill>
            <a:sysClr val="window" lastClr="FFFFFF">
              <a:alpha val="23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062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044" b="0" i="0" u="none" strike="noStrike" kern="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80642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1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500"/>
                            </p:stCondLst>
                            <p:childTnLst>
                              <p:par>
                                <p:cTn id="1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</p:bldLst>
  </p:timing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733664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770" y="675"/>
            <a:ext cx="10387753" cy="7257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88334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>
          <a:xfrm>
            <a:off x="771" y="483553"/>
            <a:ext cx="10387752" cy="6769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933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70" y="672"/>
            <a:ext cx="10387752" cy="7257341"/>
          </a:xfrm>
          <a:prstGeom prst="rect">
            <a:avLst/>
          </a:prstGeom>
        </p:spPr>
      </p:pic>
      <p:sp>
        <p:nvSpPr>
          <p:cNvPr id="5" name="슬라이드 번호 개체 틀 2"/>
          <p:cNvSpPr txBox="1">
            <a:spLocks/>
          </p:cNvSpPr>
          <p:nvPr userDrawn="1"/>
        </p:nvSpPr>
        <p:spPr>
          <a:xfrm>
            <a:off x="9761527" y="6944384"/>
            <a:ext cx="583041" cy="396381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778561" rtl="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1" lang="en-US" altLang="ko-KR" sz="852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778561" rtl="0" eaLnBrk="1" fontAlgn="base" latinLnBrk="1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en-US" altLang="ko-KR" sz="852" b="0" i="0" u="none" strike="noStrike" kern="1200" cap="none" spc="0" normalizeH="0" baseline="0" noProof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519813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770" y="675"/>
            <a:ext cx="10387753" cy="7257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1368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자유형: 도형 4">
            <a:extLst>
              <a:ext uri="{FF2B5EF4-FFF2-40B4-BE49-F238E27FC236}">
                <a16:creationId xmlns:a16="http://schemas.microsoft.com/office/drawing/2014/main" id="{C6179DE7-D0F5-4FCE-9D64-2210387C6D0C}"/>
              </a:ext>
            </a:extLst>
          </p:cNvPr>
          <p:cNvSpPr/>
          <p:nvPr userDrawn="1"/>
        </p:nvSpPr>
        <p:spPr>
          <a:xfrm>
            <a:off x="1921057" y="-7192"/>
            <a:ext cx="8274621" cy="5679451"/>
          </a:xfrm>
          <a:custGeom>
            <a:avLst/>
            <a:gdLst>
              <a:gd name="connsiteX0" fmla="*/ 0 w 7296150"/>
              <a:gd name="connsiteY0" fmla="*/ 0 h 4038600"/>
              <a:gd name="connsiteX1" fmla="*/ 523875 w 7296150"/>
              <a:gd name="connsiteY1" fmla="*/ 38100 h 4038600"/>
              <a:gd name="connsiteX2" fmla="*/ 7296150 w 7296150"/>
              <a:gd name="connsiteY2" fmla="*/ 4038600 h 4038600"/>
              <a:gd name="connsiteX3" fmla="*/ 0 w 7296150"/>
              <a:gd name="connsiteY3" fmla="*/ 0 h 4038600"/>
              <a:gd name="connsiteX0" fmla="*/ 0 w 7277100"/>
              <a:gd name="connsiteY0" fmla="*/ 0 h 4000500"/>
              <a:gd name="connsiteX1" fmla="*/ 504825 w 7277100"/>
              <a:gd name="connsiteY1" fmla="*/ 0 h 4000500"/>
              <a:gd name="connsiteX2" fmla="*/ 7277100 w 7277100"/>
              <a:gd name="connsiteY2" fmla="*/ 4000500 h 4000500"/>
              <a:gd name="connsiteX3" fmla="*/ 0 w 7277100"/>
              <a:gd name="connsiteY3" fmla="*/ 0 h 4000500"/>
              <a:gd name="connsiteX0" fmla="*/ 0 w 7286625"/>
              <a:gd name="connsiteY0" fmla="*/ 0 h 4019550"/>
              <a:gd name="connsiteX1" fmla="*/ 514350 w 7286625"/>
              <a:gd name="connsiteY1" fmla="*/ 19050 h 4019550"/>
              <a:gd name="connsiteX2" fmla="*/ 7286625 w 7286625"/>
              <a:gd name="connsiteY2" fmla="*/ 4019550 h 4019550"/>
              <a:gd name="connsiteX3" fmla="*/ 0 w 7286625"/>
              <a:gd name="connsiteY3" fmla="*/ 0 h 4019550"/>
              <a:gd name="connsiteX0" fmla="*/ 0 w 7286625"/>
              <a:gd name="connsiteY0" fmla="*/ 0 h 4019550"/>
              <a:gd name="connsiteX1" fmla="*/ 514350 w 7286625"/>
              <a:gd name="connsiteY1" fmla="*/ 19050 h 4019550"/>
              <a:gd name="connsiteX2" fmla="*/ 7286625 w 7286625"/>
              <a:gd name="connsiteY2" fmla="*/ 4019550 h 4019550"/>
              <a:gd name="connsiteX3" fmla="*/ 0 w 7286625"/>
              <a:gd name="connsiteY3" fmla="*/ 0 h 4019550"/>
              <a:gd name="connsiteX0" fmla="*/ 0 w 7286625"/>
              <a:gd name="connsiteY0" fmla="*/ 0 h 4019550"/>
              <a:gd name="connsiteX1" fmla="*/ 514350 w 7286625"/>
              <a:gd name="connsiteY1" fmla="*/ 19050 h 4019550"/>
              <a:gd name="connsiteX2" fmla="*/ 7286625 w 7286625"/>
              <a:gd name="connsiteY2" fmla="*/ 4019550 h 4019550"/>
              <a:gd name="connsiteX3" fmla="*/ 0 w 7286625"/>
              <a:gd name="connsiteY3" fmla="*/ 0 h 4019550"/>
              <a:gd name="connsiteX0" fmla="*/ 0 w 7286625"/>
              <a:gd name="connsiteY0" fmla="*/ 0 h 4019550"/>
              <a:gd name="connsiteX1" fmla="*/ 514350 w 7286625"/>
              <a:gd name="connsiteY1" fmla="*/ 19050 h 4019550"/>
              <a:gd name="connsiteX2" fmla="*/ 7286625 w 7286625"/>
              <a:gd name="connsiteY2" fmla="*/ 4019550 h 4019550"/>
              <a:gd name="connsiteX3" fmla="*/ 0 w 7286625"/>
              <a:gd name="connsiteY3" fmla="*/ 0 h 4019550"/>
              <a:gd name="connsiteX0" fmla="*/ 0 w 7286625"/>
              <a:gd name="connsiteY0" fmla="*/ 0 h 4019550"/>
              <a:gd name="connsiteX1" fmla="*/ 514350 w 7286625"/>
              <a:gd name="connsiteY1" fmla="*/ 19050 h 4019550"/>
              <a:gd name="connsiteX2" fmla="*/ 7286625 w 7286625"/>
              <a:gd name="connsiteY2" fmla="*/ 4019550 h 4019550"/>
              <a:gd name="connsiteX3" fmla="*/ 0 w 7286625"/>
              <a:gd name="connsiteY3" fmla="*/ 0 h 4019550"/>
              <a:gd name="connsiteX0" fmla="*/ 0 w 7286625"/>
              <a:gd name="connsiteY0" fmla="*/ 0 h 4019550"/>
              <a:gd name="connsiteX1" fmla="*/ 514350 w 7286625"/>
              <a:gd name="connsiteY1" fmla="*/ 19050 h 4019550"/>
              <a:gd name="connsiteX2" fmla="*/ 7286625 w 7286625"/>
              <a:gd name="connsiteY2" fmla="*/ 4019550 h 4019550"/>
              <a:gd name="connsiteX3" fmla="*/ 0 w 7286625"/>
              <a:gd name="connsiteY3" fmla="*/ 0 h 4019550"/>
              <a:gd name="connsiteX0" fmla="*/ 0 w 7286625"/>
              <a:gd name="connsiteY0" fmla="*/ 0 h 4019550"/>
              <a:gd name="connsiteX1" fmla="*/ 514350 w 7286625"/>
              <a:gd name="connsiteY1" fmla="*/ 19050 h 4019550"/>
              <a:gd name="connsiteX2" fmla="*/ 7286625 w 7286625"/>
              <a:gd name="connsiteY2" fmla="*/ 4019550 h 4019550"/>
              <a:gd name="connsiteX3" fmla="*/ 0 w 7286625"/>
              <a:gd name="connsiteY3" fmla="*/ 0 h 4019550"/>
              <a:gd name="connsiteX0" fmla="*/ 0 w 7286625"/>
              <a:gd name="connsiteY0" fmla="*/ 0 h 4019550"/>
              <a:gd name="connsiteX1" fmla="*/ 514350 w 7286625"/>
              <a:gd name="connsiteY1" fmla="*/ 19050 h 4019550"/>
              <a:gd name="connsiteX2" fmla="*/ 7286625 w 7286625"/>
              <a:gd name="connsiteY2" fmla="*/ 4019550 h 4019550"/>
              <a:gd name="connsiteX3" fmla="*/ 0 w 7286625"/>
              <a:gd name="connsiteY3" fmla="*/ 0 h 4019550"/>
              <a:gd name="connsiteX0" fmla="*/ 0 w 7286625"/>
              <a:gd name="connsiteY0" fmla="*/ 0 h 4019550"/>
              <a:gd name="connsiteX1" fmla="*/ 514350 w 7286625"/>
              <a:gd name="connsiteY1" fmla="*/ 19050 h 4019550"/>
              <a:gd name="connsiteX2" fmla="*/ 7286625 w 7286625"/>
              <a:gd name="connsiteY2" fmla="*/ 4019550 h 4019550"/>
              <a:gd name="connsiteX3" fmla="*/ 0 w 7286625"/>
              <a:gd name="connsiteY3" fmla="*/ 0 h 4019550"/>
              <a:gd name="connsiteX0" fmla="*/ 0 w 7286625"/>
              <a:gd name="connsiteY0" fmla="*/ 0 h 4019550"/>
              <a:gd name="connsiteX1" fmla="*/ 514350 w 7286625"/>
              <a:gd name="connsiteY1" fmla="*/ 19050 h 4019550"/>
              <a:gd name="connsiteX2" fmla="*/ 7286625 w 7286625"/>
              <a:gd name="connsiteY2" fmla="*/ 4019550 h 4019550"/>
              <a:gd name="connsiteX3" fmla="*/ 0 w 7286625"/>
              <a:gd name="connsiteY3" fmla="*/ 0 h 4019550"/>
              <a:gd name="connsiteX0" fmla="*/ 0 w 7286625"/>
              <a:gd name="connsiteY0" fmla="*/ 0 h 4019550"/>
              <a:gd name="connsiteX1" fmla="*/ 514350 w 7286625"/>
              <a:gd name="connsiteY1" fmla="*/ 19050 h 4019550"/>
              <a:gd name="connsiteX2" fmla="*/ 7286625 w 7286625"/>
              <a:gd name="connsiteY2" fmla="*/ 4019550 h 4019550"/>
              <a:gd name="connsiteX3" fmla="*/ 0 w 7286625"/>
              <a:gd name="connsiteY3" fmla="*/ 0 h 4019550"/>
              <a:gd name="connsiteX0" fmla="*/ 0 w 7286625"/>
              <a:gd name="connsiteY0" fmla="*/ 0 h 4019550"/>
              <a:gd name="connsiteX1" fmla="*/ 514350 w 7286625"/>
              <a:gd name="connsiteY1" fmla="*/ 19050 h 4019550"/>
              <a:gd name="connsiteX2" fmla="*/ 7286625 w 7286625"/>
              <a:gd name="connsiteY2" fmla="*/ 4019550 h 4019550"/>
              <a:gd name="connsiteX3" fmla="*/ 0 w 7286625"/>
              <a:gd name="connsiteY3" fmla="*/ 0 h 4019550"/>
              <a:gd name="connsiteX0" fmla="*/ 0 w 7286625"/>
              <a:gd name="connsiteY0" fmla="*/ 0 h 4019550"/>
              <a:gd name="connsiteX1" fmla="*/ 514350 w 7286625"/>
              <a:gd name="connsiteY1" fmla="*/ 19050 h 4019550"/>
              <a:gd name="connsiteX2" fmla="*/ 7286625 w 7286625"/>
              <a:gd name="connsiteY2" fmla="*/ 4019550 h 4019550"/>
              <a:gd name="connsiteX3" fmla="*/ 0 w 7286625"/>
              <a:gd name="connsiteY3" fmla="*/ 0 h 4019550"/>
              <a:gd name="connsiteX0" fmla="*/ 0 w 7286625"/>
              <a:gd name="connsiteY0" fmla="*/ 0 h 4026053"/>
              <a:gd name="connsiteX1" fmla="*/ 514350 w 7286625"/>
              <a:gd name="connsiteY1" fmla="*/ 19050 h 4026053"/>
              <a:gd name="connsiteX2" fmla="*/ 7286625 w 7286625"/>
              <a:gd name="connsiteY2" fmla="*/ 4019550 h 4026053"/>
              <a:gd name="connsiteX3" fmla="*/ 0 w 7286625"/>
              <a:gd name="connsiteY3" fmla="*/ 0 h 4026053"/>
              <a:gd name="connsiteX0" fmla="*/ 0 w 7286625"/>
              <a:gd name="connsiteY0" fmla="*/ 0 h 4029856"/>
              <a:gd name="connsiteX1" fmla="*/ 514350 w 7286625"/>
              <a:gd name="connsiteY1" fmla="*/ 19050 h 4029856"/>
              <a:gd name="connsiteX2" fmla="*/ 7286625 w 7286625"/>
              <a:gd name="connsiteY2" fmla="*/ 4019550 h 4029856"/>
              <a:gd name="connsiteX3" fmla="*/ 0 w 7286625"/>
              <a:gd name="connsiteY3" fmla="*/ 0 h 4029856"/>
              <a:gd name="connsiteX0" fmla="*/ 0 w 7286625"/>
              <a:gd name="connsiteY0" fmla="*/ 0 h 4029856"/>
              <a:gd name="connsiteX1" fmla="*/ 514350 w 7286625"/>
              <a:gd name="connsiteY1" fmla="*/ 19050 h 4029856"/>
              <a:gd name="connsiteX2" fmla="*/ 7286625 w 7286625"/>
              <a:gd name="connsiteY2" fmla="*/ 4019550 h 4029856"/>
              <a:gd name="connsiteX3" fmla="*/ 0 w 7286625"/>
              <a:gd name="connsiteY3" fmla="*/ 0 h 4029856"/>
              <a:gd name="connsiteX0" fmla="*/ 0 w 7286625"/>
              <a:gd name="connsiteY0" fmla="*/ 0 h 4029856"/>
              <a:gd name="connsiteX1" fmla="*/ 514350 w 7286625"/>
              <a:gd name="connsiteY1" fmla="*/ 19050 h 4029856"/>
              <a:gd name="connsiteX2" fmla="*/ 7286625 w 7286625"/>
              <a:gd name="connsiteY2" fmla="*/ 4019550 h 4029856"/>
              <a:gd name="connsiteX3" fmla="*/ 0 w 7286625"/>
              <a:gd name="connsiteY3" fmla="*/ 0 h 4029856"/>
              <a:gd name="connsiteX0" fmla="*/ 0 w 7286625"/>
              <a:gd name="connsiteY0" fmla="*/ 0 h 4029286"/>
              <a:gd name="connsiteX1" fmla="*/ 514350 w 7286625"/>
              <a:gd name="connsiteY1" fmla="*/ 19050 h 4029286"/>
              <a:gd name="connsiteX2" fmla="*/ 7286625 w 7286625"/>
              <a:gd name="connsiteY2" fmla="*/ 4019550 h 4029286"/>
              <a:gd name="connsiteX3" fmla="*/ 0 w 7286625"/>
              <a:gd name="connsiteY3" fmla="*/ 0 h 4029286"/>
              <a:gd name="connsiteX0" fmla="*/ 0 w 7286625"/>
              <a:gd name="connsiteY0" fmla="*/ 0 h 4030399"/>
              <a:gd name="connsiteX1" fmla="*/ 514350 w 7286625"/>
              <a:gd name="connsiteY1" fmla="*/ 19050 h 4030399"/>
              <a:gd name="connsiteX2" fmla="*/ 7286625 w 7286625"/>
              <a:gd name="connsiteY2" fmla="*/ 4019550 h 4030399"/>
              <a:gd name="connsiteX3" fmla="*/ 0 w 7286625"/>
              <a:gd name="connsiteY3" fmla="*/ 0 h 4030399"/>
              <a:gd name="connsiteX0" fmla="*/ 0 w 7286625"/>
              <a:gd name="connsiteY0" fmla="*/ 0 h 4030447"/>
              <a:gd name="connsiteX1" fmla="*/ 514350 w 7286625"/>
              <a:gd name="connsiteY1" fmla="*/ 19050 h 4030447"/>
              <a:gd name="connsiteX2" fmla="*/ 7286625 w 7286625"/>
              <a:gd name="connsiteY2" fmla="*/ 4019550 h 4030447"/>
              <a:gd name="connsiteX3" fmla="*/ 0 w 7286625"/>
              <a:gd name="connsiteY3" fmla="*/ 0 h 4030447"/>
              <a:gd name="connsiteX0" fmla="*/ 0 w 7286625"/>
              <a:gd name="connsiteY0" fmla="*/ 0 h 4030896"/>
              <a:gd name="connsiteX1" fmla="*/ 514350 w 7286625"/>
              <a:gd name="connsiteY1" fmla="*/ 19050 h 4030896"/>
              <a:gd name="connsiteX2" fmla="*/ 7286625 w 7286625"/>
              <a:gd name="connsiteY2" fmla="*/ 4019550 h 4030896"/>
              <a:gd name="connsiteX3" fmla="*/ 0 w 7286625"/>
              <a:gd name="connsiteY3" fmla="*/ 0 h 4030896"/>
              <a:gd name="connsiteX0" fmla="*/ 0 w 7286625"/>
              <a:gd name="connsiteY0" fmla="*/ 0 h 4030896"/>
              <a:gd name="connsiteX1" fmla="*/ 514350 w 7286625"/>
              <a:gd name="connsiteY1" fmla="*/ 9525 h 4030896"/>
              <a:gd name="connsiteX2" fmla="*/ 7286625 w 7286625"/>
              <a:gd name="connsiteY2" fmla="*/ 4019550 h 4030896"/>
              <a:gd name="connsiteX3" fmla="*/ 0 w 7286625"/>
              <a:gd name="connsiteY3" fmla="*/ 0 h 4030896"/>
              <a:gd name="connsiteX0" fmla="*/ 0 w 7286625"/>
              <a:gd name="connsiteY0" fmla="*/ 0 h 4026737"/>
              <a:gd name="connsiteX1" fmla="*/ 514350 w 7286625"/>
              <a:gd name="connsiteY1" fmla="*/ 9525 h 4026737"/>
              <a:gd name="connsiteX2" fmla="*/ 7286625 w 7286625"/>
              <a:gd name="connsiteY2" fmla="*/ 4019550 h 4026737"/>
              <a:gd name="connsiteX3" fmla="*/ 0 w 7286625"/>
              <a:gd name="connsiteY3" fmla="*/ 0 h 4026737"/>
              <a:gd name="connsiteX0" fmla="*/ 0 w 7286625"/>
              <a:gd name="connsiteY0" fmla="*/ 0 h 4026569"/>
              <a:gd name="connsiteX1" fmla="*/ 514350 w 7286625"/>
              <a:gd name="connsiteY1" fmla="*/ 9525 h 4026569"/>
              <a:gd name="connsiteX2" fmla="*/ 7286625 w 7286625"/>
              <a:gd name="connsiteY2" fmla="*/ 4019550 h 4026569"/>
              <a:gd name="connsiteX3" fmla="*/ 0 w 7286625"/>
              <a:gd name="connsiteY3" fmla="*/ 0 h 4026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86625" h="4026569">
                <a:moveTo>
                  <a:pt x="0" y="0"/>
                </a:moveTo>
                <a:lnTo>
                  <a:pt x="514350" y="9525"/>
                </a:lnTo>
                <a:cubicBezTo>
                  <a:pt x="685800" y="1990725"/>
                  <a:pt x="2171700" y="3810000"/>
                  <a:pt x="7286625" y="4019550"/>
                </a:cubicBezTo>
                <a:cubicBezTo>
                  <a:pt x="2543175" y="4156075"/>
                  <a:pt x="304800" y="2282825"/>
                  <a:pt x="0" y="0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575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01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" name="자유형: 도형 1">
            <a:extLst>
              <a:ext uri="{FF2B5EF4-FFF2-40B4-BE49-F238E27FC236}">
                <a16:creationId xmlns:a16="http://schemas.microsoft.com/office/drawing/2014/main" id="{96FFB94C-B84A-46A3-BF10-6C511C2C85D4}"/>
              </a:ext>
            </a:extLst>
          </p:cNvPr>
          <p:cNvSpPr/>
          <p:nvPr userDrawn="1"/>
        </p:nvSpPr>
        <p:spPr>
          <a:xfrm>
            <a:off x="2076768" y="-7191"/>
            <a:ext cx="8274621" cy="5656916"/>
          </a:xfrm>
          <a:custGeom>
            <a:avLst/>
            <a:gdLst>
              <a:gd name="connsiteX0" fmla="*/ 0 w 7296150"/>
              <a:gd name="connsiteY0" fmla="*/ 0 h 4038600"/>
              <a:gd name="connsiteX1" fmla="*/ 523875 w 7296150"/>
              <a:gd name="connsiteY1" fmla="*/ 38100 h 4038600"/>
              <a:gd name="connsiteX2" fmla="*/ 7296150 w 7296150"/>
              <a:gd name="connsiteY2" fmla="*/ 4038600 h 4038600"/>
              <a:gd name="connsiteX3" fmla="*/ 0 w 7296150"/>
              <a:gd name="connsiteY3" fmla="*/ 0 h 4038600"/>
              <a:gd name="connsiteX0" fmla="*/ 0 w 7277100"/>
              <a:gd name="connsiteY0" fmla="*/ 0 h 4000500"/>
              <a:gd name="connsiteX1" fmla="*/ 504825 w 7277100"/>
              <a:gd name="connsiteY1" fmla="*/ 0 h 4000500"/>
              <a:gd name="connsiteX2" fmla="*/ 7277100 w 7277100"/>
              <a:gd name="connsiteY2" fmla="*/ 4000500 h 4000500"/>
              <a:gd name="connsiteX3" fmla="*/ 0 w 7277100"/>
              <a:gd name="connsiteY3" fmla="*/ 0 h 4000500"/>
              <a:gd name="connsiteX0" fmla="*/ 0 w 7286625"/>
              <a:gd name="connsiteY0" fmla="*/ 0 h 4019550"/>
              <a:gd name="connsiteX1" fmla="*/ 514350 w 7286625"/>
              <a:gd name="connsiteY1" fmla="*/ 19050 h 4019550"/>
              <a:gd name="connsiteX2" fmla="*/ 7286625 w 7286625"/>
              <a:gd name="connsiteY2" fmla="*/ 4019550 h 4019550"/>
              <a:gd name="connsiteX3" fmla="*/ 0 w 7286625"/>
              <a:gd name="connsiteY3" fmla="*/ 0 h 4019550"/>
              <a:gd name="connsiteX0" fmla="*/ 0 w 7286625"/>
              <a:gd name="connsiteY0" fmla="*/ 0 h 4019550"/>
              <a:gd name="connsiteX1" fmla="*/ 514350 w 7286625"/>
              <a:gd name="connsiteY1" fmla="*/ 19050 h 4019550"/>
              <a:gd name="connsiteX2" fmla="*/ 7286625 w 7286625"/>
              <a:gd name="connsiteY2" fmla="*/ 4019550 h 4019550"/>
              <a:gd name="connsiteX3" fmla="*/ 0 w 7286625"/>
              <a:gd name="connsiteY3" fmla="*/ 0 h 4019550"/>
              <a:gd name="connsiteX0" fmla="*/ 0 w 7286625"/>
              <a:gd name="connsiteY0" fmla="*/ 0 h 4019550"/>
              <a:gd name="connsiteX1" fmla="*/ 514350 w 7286625"/>
              <a:gd name="connsiteY1" fmla="*/ 19050 h 4019550"/>
              <a:gd name="connsiteX2" fmla="*/ 7286625 w 7286625"/>
              <a:gd name="connsiteY2" fmla="*/ 4019550 h 4019550"/>
              <a:gd name="connsiteX3" fmla="*/ 0 w 7286625"/>
              <a:gd name="connsiteY3" fmla="*/ 0 h 4019550"/>
              <a:gd name="connsiteX0" fmla="*/ 0 w 7286625"/>
              <a:gd name="connsiteY0" fmla="*/ 0 h 4019550"/>
              <a:gd name="connsiteX1" fmla="*/ 514350 w 7286625"/>
              <a:gd name="connsiteY1" fmla="*/ 19050 h 4019550"/>
              <a:gd name="connsiteX2" fmla="*/ 7286625 w 7286625"/>
              <a:gd name="connsiteY2" fmla="*/ 4019550 h 4019550"/>
              <a:gd name="connsiteX3" fmla="*/ 0 w 7286625"/>
              <a:gd name="connsiteY3" fmla="*/ 0 h 4019550"/>
              <a:gd name="connsiteX0" fmla="*/ 0 w 7286625"/>
              <a:gd name="connsiteY0" fmla="*/ 0 h 4019550"/>
              <a:gd name="connsiteX1" fmla="*/ 514350 w 7286625"/>
              <a:gd name="connsiteY1" fmla="*/ 19050 h 4019550"/>
              <a:gd name="connsiteX2" fmla="*/ 7286625 w 7286625"/>
              <a:gd name="connsiteY2" fmla="*/ 4019550 h 4019550"/>
              <a:gd name="connsiteX3" fmla="*/ 0 w 7286625"/>
              <a:gd name="connsiteY3" fmla="*/ 0 h 4019550"/>
              <a:gd name="connsiteX0" fmla="*/ 0 w 7286625"/>
              <a:gd name="connsiteY0" fmla="*/ 0 h 4019550"/>
              <a:gd name="connsiteX1" fmla="*/ 514350 w 7286625"/>
              <a:gd name="connsiteY1" fmla="*/ 19050 h 4019550"/>
              <a:gd name="connsiteX2" fmla="*/ 7286625 w 7286625"/>
              <a:gd name="connsiteY2" fmla="*/ 4019550 h 4019550"/>
              <a:gd name="connsiteX3" fmla="*/ 0 w 7286625"/>
              <a:gd name="connsiteY3" fmla="*/ 0 h 4019550"/>
              <a:gd name="connsiteX0" fmla="*/ 0 w 7286625"/>
              <a:gd name="connsiteY0" fmla="*/ 0 h 4019550"/>
              <a:gd name="connsiteX1" fmla="*/ 514350 w 7286625"/>
              <a:gd name="connsiteY1" fmla="*/ 19050 h 4019550"/>
              <a:gd name="connsiteX2" fmla="*/ 7286625 w 7286625"/>
              <a:gd name="connsiteY2" fmla="*/ 4019550 h 4019550"/>
              <a:gd name="connsiteX3" fmla="*/ 0 w 7286625"/>
              <a:gd name="connsiteY3" fmla="*/ 0 h 4019550"/>
              <a:gd name="connsiteX0" fmla="*/ 0 w 7286625"/>
              <a:gd name="connsiteY0" fmla="*/ 0 h 4019550"/>
              <a:gd name="connsiteX1" fmla="*/ 514350 w 7286625"/>
              <a:gd name="connsiteY1" fmla="*/ 19050 h 4019550"/>
              <a:gd name="connsiteX2" fmla="*/ 7286625 w 7286625"/>
              <a:gd name="connsiteY2" fmla="*/ 4019550 h 4019550"/>
              <a:gd name="connsiteX3" fmla="*/ 0 w 7286625"/>
              <a:gd name="connsiteY3" fmla="*/ 0 h 4019550"/>
              <a:gd name="connsiteX0" fmla="*/ 0 w 7286625"/>
              <a:gd name="connsiteY0" fmla="*/ 0 h 4019550"/>
              <a:gd name="connsiteX1" fmla="*/ 514350 w 7286625"/>
              <a:gd name="connsiteY1" fmla="*/ 19050 h 4019550"/>
              <a:gd name="connsiteX2" fmla="*/ 7286625 w 7286625"/>
              <a:gd name="connsiteY2" fmla="*/ 4019550 h 4019550"/>
              <a:gd name="connsiteX3" fmla="*/ 0 w 7286625"/>
              <a:gd name="connsiteY3" fmla="*/ 0 h 4019550"/>
              <a:gd name="connsiteX0" fmla="*/ 0 w 7286625"/>
              <a:gd name="connsiteY0" fmla="*/ 0 h 4019550"/>
              <a:gd name="connsiteX1" fmla="*/ 514350 w 7286625"/>
              <a:gd name="connsiteY1" fmla="*/ 19050 h 4019550"/>
              <a:gd name="connsiteX2" fmla="*/ 7286625 w 7286625"/>
              <a:gd name="connsiteY2" fmla="*/ 4019550 h 4019550"/>
              <a:gd name="connsiteX3" fmla="*/ 0 w 7286625"/>
              <a:gd name="connsiteY3" fmla="*/ 0 h 4019550"/>
              <a:gd name="connsiteX0" fmla="*/ 0 w 7286625"/>
              <a:gd name="connsiteY0" fmla="*/ 0 h 4019550"/>
              <a:gd name="connsiteX1" fmla="*/ 514350 w 7286625"/>
              <a:gd name="connsiteY1" fmla="*/ 19050 h 4019550"/>
              <a:gd name="connsiteX2" fmla="*/ 7286625 w 7286625"/>
              <a:gd name="connsiteY2" fmla="*/ 4019550 h 4019550"/>
              <a:gd name="connsiteX3" fmla="*/ 0 w 7286625"/>
              <a:gd name="connsiteY3" fmla="*/ 0 h 4019550"/>
              <a:gd name="connsiteX0" fmla="*/ 0 w 7286625"/>
              <a:gd name="connsiteY0" fmla="*/ 0 h 4019550"/>
              <a:gd name="connsiteX1" fmla="*/ 514350 w 7286625"/>
              <a:gd name="connsiteY1" fmla="*/ 19050 h 4019550"/>
              <a:gd name="connsiteX2" fmla="*/ 7286625 w 7286625"/>
              <a:gd name="connsiteY2" fmla="*/ 4019550 h 4019550"/>
              <a:gd name="connsiteX3" fmla="*/ 0 w 7286625"/>
              <a:gd name="connsiteY3" fmla="*/ 0 h 4019550"/>
              <a:gd name="connsiteX0" fmla="*/ 0 w 7286625"/>
              <a:gd name="connsiteY0" fmla="*/ 0 h 4019550"/>
              <a:gd name="connsiteX1" fmla="*/ 514350 w 7286625"/>
              <a:gd name="connsiteY1" fmla="*/ 19050 h 4019550"/>
              <a:gd name="connsiteX2" fmla="*/ 7286625 w 7286625"/>
              <a:gd name="connsiteY2" fmla="*/ 4019550 h 4019550"/>
              <a:gd name="connsiteX3" fmla="*/ 0 w 7286625"/>
              <a:gd name="connsiteY3" fmla="*/ 0 h 4019550"/>
              <a:gd name="connsiteX0" fmla="*/ 0 w 7286625"/>
              <a:gd name="connsiteY0" fmla="*/ 0 h 4026053"/>
              <a:gd name="connsiteX1" fmla="*/ 514350 w 7286625"/>
              <a:gd name="connsiteY1" fmla="*/ 19050 h 4026053"/>
              <a:gd name="connsiteX2" fmla="*/ 7286625 w 7286625"/>
              <a:gd name="connsiteY2" fmla="*/ 4019550 h 4026053"/>
              <a:gd name="connsiteX3" fmla="*/ 0 w 7286625"/>
              <a:gd name="connsiteY3" fmla="*/ 0 h 4026053"/>
              <a:gd name="connsiteX0" fmla="*/ 0 w 7286625"/>
              <a:gd name="connsiteY0" fmla="*/ 0 h 4029856"/>
              <a:gd name="connsiteX1" fmla="*/ 514350 w 7286625"/>
              <a:gd name="connsiteY1" fmla="*/ 19050 h 4029856"/>
              <a:gd name="connsiteX2" fmla="*/ 7286625 w 7286625"/>
              <a:gd name="connsiteY2" fmla="*/ 4019550 h 4029856"/>
              <a:gd name="connsiteX3" fmla="*/ 0 w 7286625"/>
              <a:gd name="connsiteY3" fmla="*/ 0 h 4029856"/>
              <a:gd name="connsiteX0" fmla="*/ 0 w 7286625"/>
              <a:gd name="connsiteY0" fmla="*/ 0 h 4029856"/>
              <a:gd name="connsiteX1" fmla="*/ 514350 w 7286625"/>
              <a:gd name="connsiteY1" fmla="*/ 19050 h 4029856"/>
              <a:gd name="connsiteX2" fmla="*/ 7286625 w 7286625"/>
              <a:gd name="connsiteY2" fmla="*/ 4019550 h 4029856"/>
              <a:gd name="connsiteX3" fmla="*/ 0 w 7286625"/>
              <a:gd name="connsiteY3" fmla="*/ 0 h 4029856"/>
              <a:gd name="connsiteX0" fmla="*/ 0 w 7286625"/>
              <a:gd name="connsiteY0" fmla="*/ 0 h 4029856"/>
              <a:gd name="connsiteX1" fmla="*/ 514350 w 7286625"/>
              <a:gd name="connsiteY1" fmla="*/ 19050 h 4029856"/>
              <a:gd name="connsiteX2" fmla="*/ 7286625 w 7286625"/>
              <a:gd name="connsiteY2" fmla="*/ 4019550 h 4029856"/>
              <a:gd name="connsiteX3" fmla="*/ 0 w 7286625"/>
              <a:gd name="connsiteY3" fmla="*/ 0 h 4029856"/>
              <a:gd name="connsiteX0" fmla="*/ 0 w 7286625"/>
              <a:gd name="connsiteY0" fmla="*/ 0 h 4029286"/>
              <a:gd name="connsiteX1" fmla="*/ 514350 w 7286625"/>
              <a:gd name="connsiteY1" fmla="*/ 19050 h 4029286"/>
              <a:gd name="connsiteX2" fmla="*/ 7286625 w 7286625"/>
              <a:gd name="connsiteY2" fmla="*/ 4019550 h 4029286"/>
              <a:gd name="connsiteX3" fmla="*/ 0 w 7286625"/>
              <a:gd name="connsiteY3" fmla="*/ 0 h 4029286"/>
              <a:gd name="connsiteX0" fmla="*/ 0 w 7286625"/>
              <a:gd name="connsiteY0" fmla="*/ 0 h 4030399"/>
              <a:gd name="connsiteX1" fmla="*/ 514350 w 7286625"/>
              <a:gd name="connsiteY1" fmla="*/ 19050 h 4030399"/>
              <a:gd name="connsiteX2" fmla="*/ 7286625 w 7286625"/>
              <a:gd name="connsiteY2" fmla="*/ 4019550 h 4030399"/>
              <a:gd name="connsiteX3" fmla="*/ 0 w 7286625"/>
              <a:gd name="connsiteY3" fmla="*/ 0 h 4030399"/>
              <a:gd name="connsiteX0" fmla="*/ 0 w 7286625"/>
              <a:gd name="connsiteY0" fmla="*/ 0 h 4030447"/>
              <a:gd name="connsiteX1" fmla="*/ 514350 w 7286625"/>
              <a:gd name="connsiteY1" fmla="*/ 19050 h 4030447"/>
              <a:gd name="connsiteX2" fmla="*/ 7286625 w 7286625"/>
              <a:gd name="connsiteY2" fmla="*/ 4019550 h 4030447"/>
              <a:gd name="connsiteX3" fmla="*/ 0 w 7286625"/>
              <a:gd name="connsiteY3" fmla="*/ 0 h 4030447"/>
              <a:gd name="connsiteX0" fmla="*/ 0 w 7286625"/>
              <a:gd name="connsiteY0" fmla="*/ 0 h 4030896"/>
              <a:gd name="connsiteX1" fmla="*/ 514350 w 7286625"/>
              <a:gd name="connsiteY1" fmla="*/ 19050 h 4030896"/>
              <a:gd name="connsiteX2" fmla="*/ 7286625 w 7286625"/>
              <a:gd name="connsiteY2" fmla="*/ 4019550 h 4030896"/>
              <a:gd name="connsiteX3" fmla="*/ 0 w 7286625"/>
              <a:gd name="connsiteY3" fmla="*/ 0 h 4030896"/>
              <a:gd name="connsiteX0" fmla="*/ 0 w 7286625"/>
              <a:gd name="connsiteY0" fmla="*/ 0 h 4030896"/>
              <a:gd name="connsiteX1" fmla="*/ 514350 w 7286625"/>
              <a:gd name="connsiteY1" fmla="*/ 9525 h 4030896"/>
              <a:gd name="connsiteX2" fmla="*/ 7286625 w 7286625"/>
              <a:gd name="connsiteY2" fmla="*/ 4019550 h 4030896"/>
              <a:gd name="connsiteX3" fmla="*/ 0 w 7286625"/>
              <a:gd name="connsiteY3" fmla="*/ 0 h 4030896"/>
              <a:gd name="connsiteX0" fmla="*/ 0 w 7286625"/>
              <a:gd name="connsiteY0" fmla="*/ 0 h 4026737"/>
              <a:gd name="connsiteX1" fmla="*/ 514350 w 7286625"/>
              <a:gd name="connsiteY1" fmla="*/ 9525 h 4026737"/>
              <a:gd name="connsiteX2" fmla="*/ 7286625 w 7286625"/>
              <a:gd name="connsiteY2" fmla="*/ 4019550 h 4026737"/>
              <a:gd name="connsiteX3" fmla="*/ 0 w 7286625"/>
              <a:gd name="connsiteY3" fmla="*/ 0 h 4026737"/>
              <a:gd name="connsiteX0" fmla="*/ 0 w 7286625"/>
              <a:gd name="connsiteY0" fmla="*/ 0 h 4026569"/>
              <a:gd name="connsiteX1" fmla="*/ 514350 w 7286625"/>
              <a:gd name="connsiteY1" fmla="*/ 9525 h 4026569"/>
              <a:gd name="connsiteX2" fmla="*/ 7286625 w 7286625"/>
              <a:gd name="connsiteY2" fmla="*/ 4019550 h 4026569"/>
              <a:gd name="connsiteX3" fmla="*/ 0 w 7286625"/>
              <a:gd name="connsiteY3" fmla="*/ 0 h 4026569"/>
              <a:gd name="connsiteX0" fmla="*/ 0 w 7286625"/>
              <a:gd name="connsiteY0" fmla="*/ 0 h 4007586"/>
              <a:gd name="connsiteX1" fmla="*/ 514350 w 7286625"/>
              <a:gd name="connsiteY1" fmla="*/ 9525 h 4007586"/>
              <a:gd name="connsiteX2" fmla="*/ 7286625 w 7286625"/>
              <a:gd name="connsiteY2" fmla="*/ 4000500 h 4007586"/>
              <a:gd name="connsiteX3" fmla="*/ 0 w 7286625"/>
              <a:gd name="connsiteY3" fmla="*/ 0 h 4007586"/>
              <a:gd name="connsiteX0" fmla="*/ 0 w 7286625"/>
              <a:gd name="connsiteY0" fmla="*/ 0 h 4011694"/>
              <a:gd name="connsiteX1" fmla="*/ 514350 w 7286625"/>
              <a:gd name="connsiteY1" fmla="*/ 9525 h 4011694"/>
              <a:gd name="connsiteX2" fmla="*/ 7286625 w 7286625"/>
              <a:gd name="connsiteY2" fmla="*/ 4000500 h 4011694"/>
              <a:gd name="connsiteX3" fmla="*/ 0 w 7286625"/>
              <a:gd name="connsiteY3" fmla="*/ 0 h 4011694"/>
              <a:gd name="connsiteX0" fmla="*/ 0 w 7286625"/>
              <a:gd name="connsiteY0" fmla="*/ 0 h 4010593"/>
              <a:gd name="connsiteX1" fmla="*/ 514350 w 7286625"/>
              <a:gd name="connsiteY1" fmla="*/ 9525 h 4010593"/>
              <a:gd name="connsiteX2" fmla="*/ 7286625 w 7286625"/>
              <a:gd name="connsiteY2" fmla="*/ 4000500 h 4010593"/>
              <a:gd name="connsiteX3" fmla="*/ 0 w 7286625"/>
              <a:gd name="connsiteY3" fmla="*/ 0 h 4010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86625" h="4010593">
                <a:moveTo>
                  <a:pt x="0" y="0"/>
                </a:moveTo>
                <a:lnTo>
                  <a:pt x="514350" y="9525"/>
                </a:lnTo>
                <a:cubicBezTo>
                  <a:pt x="685800" y="1990725"/>
                  <a:pt x="2171700" y="3790950"/>
                  <a:pt x="7286625" y="4000500"/>
                </a:cubicBezTo>
                <a:cubicBezTo>
                  <a:pt x="2562225" y="4165600"/>
                  <a:pt x="304800" y="2282825"/>
                  <a:pt x="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575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01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" name="자유형: 도형 2">
            <a:extLst>
              <a:ext uri="{FF2B5EF4-FFF2-40B4-BE49-F238E27FC236}">
                <a16:creationId xmlns:a16="http://schemas.microsoft.com/office/drawing/2014/main" id="{D7620DE0-0A98-4621-A31C-3F83C507D1C1}"/>
              </a:ext>
            </a:extLst>
          </p:cNvPr>
          <p:cNvSpPr/>
          <p:nvPr userDrawn="1"/>
        </p:nvSpPr>
        <p:spPr>
          <a:xfrm>
            <a:off x="1950092" y="493501"/>
            <a:ext cx="8222878" cy="5282758"/>
          </a:xfrm>
          <a:custGeom>
            <a:avLst/>
            <a:gdLst>
              <a:gd name="connsiteX0" fmla="*/ 0 w 7239000"/>
              <a:gd name="connsiteY0" fmla="*/ 0 h 3733800"/>
              <a:gd name="connsiteX1" fmla="*/ 2047875 w 7239000"/>
              <a:gd name="connsiteY1" fmla="*/ 3486150 h 3733800"/>
              <a:gd name="connsiteX2" fmla="*/ 7239000 w 7239000"/>
              <a:gd name="connsiteY2" fmla="*/ 3733800 h 3733800"/>
              <a:gd name="connsiteX3" fmla="*/ 0 w 7239000"/>
              <a:gd name="connsiteY3" fmla="*/ 0 h 3733800"/>
              <a:gd name="connsiteX0" fmla="*/ 0 w 7239000"/>
              <a:gd name="connsiteY0" fmla="*/ 0 h 3733800"/>
              <a:gd name="connsiteX1" fmla="*/ 2047875 w 7239000"/>
              <a:gd name="connsiteY1" fmla="*/ 3486150 h 3733800"/>
              <a:gd name="connsiteX2" fmla="*/ 7239000 w 7239000"/>
              <a:gd name="connsiteY2" fmla="*/ 3733800 h 3733800"/>
              <a:gd name="connsiteX3" fmla="*/ 0 w 7239000"/>
              <a:gd name="connsiteY3" fmla="*/ 0 h 3733800"/>
              <a:gd name="connsiteX0" fmla="*/ 0 w 7239000"/>
              <a:gd name="connsiteY0" fmla="*/ 0 h 3917737"/>
              <a:gd name="connsiteX1" fmla="*/ 2047875 w 7239000"/>
              <a:gd name="connsiteY1" fmla="*/ 3486150 h 3917737"/>
              <a:gd name="connsiteX2" fmla="*/ 7239000 w 7239000"/>
              <a:gd name="connsiteY2" fmla="*/ 3733800 h 3917737"/>
              <a:gd name="connsiteX3" fmla="*/ 0 w 7239000"/>
              <a:gd name="connsiteY3" fmla="*/ 0 h 3917737"/>
              <a:gd name="connsiteX0" fmla="*/ 0 w 7239000"/>
              <a:gd name="connsiteY0" fmla="*/ 0 h 3917737"/>
              <a:gd name="connsiteX1" fmla="*/ 2047875 w 7239000"/>
              <a:gd name="connsiteY1" fmla="*/ 3486150 h 3917737"/>
              <a:gd name="connsiteX2" fmla="*/ 7239000 w 7239000"/>
              <a:gd name="connsiteY2" fmla="*/ 3733800 h 3917737"/>
              <a:gd name="connsiteX3" fmla="*/ 0 w 7239000"/>
              <a:gd name="connsiteY3" fmla="*/ 0 h 3917737"/>
              <a:gd name="connsiteX0" fmla="*/ 0 w 7239000"/>
              <a:gd name="connsiteY0" fmla="*/ 0 h 3733800"/>
              <a:gd name="connsiteX1" fmla="*/ 7239000 w 7239000"/>
              <a:gd name="connsiteY1" fmla="*/ 3733800 h 3733800"/>
              <a:gd name="connsiteX2" fmla="*/ 0 w 7239000"/>
              <a:gd name="connsiteY2" fmla="*/ 0 h 3733800"/>
              <a:gd name="connsiteX0" fmla="*/ 0 w 7239000"/>
              <a:gd name="connsiteY0" fmla="*/ 0 h 3733800"/>
              <a:gd name="connsiteX1" fmla="*/ 7239000 w 7239000"/>
              <a:gd name="connsiteY1" fmla="*/ 3733800 h 3733800"/>
              <a:gd name="connsiteX2" fmla="*/ 0 w 7239000"/>
              <a:gd name="connsiteY2" fmla="*/ 0 h 3733800"/>
              <a:gd name="connsiteX0" fmla="*/ 0 w 7239000"/>
              <a:gd name="connsiteY0" fmla="*/ 0 h 3733800"/>
              <a:gd name="connsiteX1" fmla="*/ 7239000 w 7239000"/>
              <a:gd name="connsiteY1" fmla="*/ 3733800 h 3733800"/>
              <a:gd name="connsiteX2" fmla="*/ 0 w 7239000"/>
              <a:gd name="connsiteY2" fmla="*/ 0 h 3733800"/>
              <a:gd name="connsiteX0" fmla="*/ 0 w 7239000"/>
              <a:gd name="connsiteY0" fmla="*/ 0 h 3733800"/>
              <a:gd name="connsiteX1" fmla="*/ 7239000 w 7239000"/>
              <a:gd name="connsiteY1" fmla="*/ 3733800 h 3733800"/>
              <a:gd name="connsiteX2" fmla="*/ 0 w 7239000"/>
              <a:gd name="connsiteY2" fmla="*/ 0 h 3733800"/>
              <a:gd name="connsiteX0" fmla="*/ 0 w 7239000"/>
              <a:gd name="connsiteY0" fmla="*/ 0 h 3739418"/>
              <a:gd name="connsiteX1" fmla="*/ 7239000 w 7239000"/>
              <a:gd name="connsiteY1" fmla="*/ 3733800 h 3739418"/>
              <a:gd name="connsiteX2" fmla="*/ 0 w 7239000"/>
              <a:gd name="connsiteY2" fmla="*/ 0 h 3739418"/>
              <a:gd name="connsiteX0" fmla="*/ 0 w 7239000"/>
              <a:gd name="connsiteY0" fmla="*/ 0 h 3741985"/>
              <a:gd name="connsiteX1" fmla="*/ 7239000 w 7239000"/>
              <a:gd name="connsiteY1" fmla="*/ 3733800 h 3741985"/>
              <a:gd name="connsiteX2" fmla="*/ 0 w 7239000"/>
              <a:gd name="connsiteY2" fmla="*/ 0 h 3741985"/>
              <a:gd name="connsiteX0" fmla="*/ 0 w 7239000"/>
              <a:gd name="connsiteY0" fmla="*/ 0 h 3744767"/>
              <a:gd name="connsiteX1" fmla="*/ 7239000 w 7239000"/>
              <a:gd name="connsiteY1" fmla="*/ 3733800 h 3744767"/>
              <a:gd name="connsiteX2" fmla="*/ 0 w 7239000"/>
              <a:gd name="connsiteY2" fmla="*/ 0 h 3744767"/>
              <a:gd name="connsiteX0" fmla="*/ 0 w 7172325"/>
              <a:gd name="connsiteY0" fmla="*/ 0 h 3716342"/>
              <a:gd name="connsiteX1" fmla="*/ 7172325 w 7172325"/>
              <a:gd name="connsiteY1" fmla="*/ 3705225 h 3716342"/>
              <a:gd name="connsiteX2" fmla="*/ 0 w 7172325"/>
              <a:gd name="connsiteY2" fmla="*/ 0 h 3716342"/>
              <a:gd name="connsiteX0" fmla="*/ 0 w 7172325"/>
              <a:gd name="connsiteY0" fmla="*/ 0 h 3716342"/>
              <a:gd name="connsiteX1" fmla="*/ 7172325 w 7172325"/>
              <a:gd name="connsiteY1" fmla="*/ 3705225 h 3716342"/>
              <a:gd name="connsiteX2" fmla="*/ 0 w 7172325"/>
              <a:gd name="connsiteY2" fmla="*/ 0 h 3716342"/>
              <a:gd name="connsiteX0" fmla="*/ 0 w 7172325"/>
              <a:gd name="connsiteY0" fmla="*/ 0 h 3716342"/>
              <a:gd name="connsiteX1" fmla="*/ 7172325 w 7172325"/>
              <a:gd name="connsiteY1" fmla="*/ 3705225 h 3716342"/>
              <a:gd name="connsiteX2" fmla="*/ 0 w 7172325"/>
              <a:gd name="connsiteY2" fmla="*/ 0 h 3716342"/>
              <a:gd name="connsiteX0" fmla="*/ 0 w 7172325"/>
              <a:gd name="connsiteY0" fmla="*/ 0 h 3995335"/>
              <a:gd name="connsiteX1" fmla="*/ 7172325 w 7172325"/>
              <a:gd name="connsiteY1" fmla="*/ 3705225 h 3995335"/>
              <a:gd name="connsiteX2" fmla="*/ 0 w 7172325"/>
              <a:gd name="connsiteY2" fmla="*/ 0 h 3995335"/>
              <a:gd name="connsiteX0" fmla="*/ 0 w 7172325"/>
              <a:gd name="connsiteY0" fmla="*/ 0 h 3995335"/>
              <a:gd name="connsiteX1" fmla="*/ 7172325 w 7172325"/>
              <a:gd name="connsiteY1" fmla="*/ 3705225 h 3995335"/>
              <a:gd name="connsiteX2" fmla="*/ 0 w 7172325"/>
              <a:gd name="connsiteY2" fmla="*/ 0 h 3995335"/>
              <a:gd name="connsiteX0" fmla="*/ 0 w 7172325"/>
              <a:gd name="connsiteY0" fmla="*/ 0 h 3927313"/>
              <a:gd name="connsiteX1" fmla="*/ 7172325 w 7172325"/>
              <a:gd name="connsiteY1" fmla="*/ 3705225 h 3927313"/>
              <a:gd name="connsiteX2" fmla="*/ 0 w 7172325"/>
              <a:gd name="connsiteY2" fmla="*/ 0 h 3927313"/>
              <a:gd name="connsiteX0" fmla="*/ 0 w 7172325"/>
              <a:gd name="connsiteY0" fmla="*/ 0 h 3705225"/>
              <a:gd name="connsiteX1" fmla="*/ 7172325 w 7172325"/>
              <a:gd name="connsiteY1" fmla="*/ 3705225 h 3705225"/>
              <a:gd name="connsiteX2" fmla="*/ 0 w 7172325"/>
              <a:gd name="connsiteY2" fmla="*/ 0 h 3705225"/>
              <a:gd name="connsiteX0" fmla="*/ 0 w 7172325"/>
              <a:gd name="connsiteY0" fmla="*/ 0 h 3975065"/>
              <a:gd name="connsiteX1" fmla="*/ 7172325 w 7172325"/>
              <a:gd name="connsiteY1" fmla="*/ 3705225 h 3975065"/>
              <a:gd name="connsiteX2" fmla="*/ 0 w 7172325"/>
              <a:gd name="connsiteY2" fmla="*/ 0 h 3975065"/>
              <a:gd name="connsiteX0" fmla="*/ 2763 w 7175088"/>
              <a:gd name="connsiteY0" fmla="*/ 0 h 3909670"/>
              <a:gd name="connsiteX1" fmla="*/ 7175088 w 7175088"/>
              <a:gd name="connsiteY1" fmla="*/ 3705225 h 3909670"/>
              <a:gd name="connsiteX2" fmla="*/ 2763 w 7175088"/>
              <a:gd name="connsiteY2" fmla="*/ 0 h 3909670"/>
              <a:gd name="connsiteX0" fmla="*/ 2763 w 7175088"/>
              <a:gd name="connsiteY0" fmla="*/ 0 h 3909670"/>
              <a:gd name="connsiteX1" fmla="*/ 7175088 w 7175088"/>
              <a:gd name="connsiteY1" fmla="*/ 3705225 h 3909670"/>
              <a:gd name="connsiteX2" fmla="*/ 2763 w 7175088"/>
              <a:gd name="connsiteY2" fmla="*/ 0 h 3909670"/>
              <a:gd name="connsiteX0" fmla="*/ 2763 w 7175088"/>
              <a:gd name="connsiteY0" fmla="*/ 0 h 3909670"/>
              <a:gd name="connsiteX1" fmla="*/ 7175088 w 7175088"/>
              <a:gd name="connsiteY1" fmla="*/ 3705225 h 3909670"/>
              <a:gd name="connsiteX2" fmla="*/ 2763 w 7175088"/>
              <a:gd name="connsiteY2" fmla="*/ 0 h 3909670"/>
              <a:gd name="connsiteX0" fmla="*/ 2763 w 7175088"/>
              <a:gd name="connsiteY0" fmla="*/ 0 h 3909670"/>
              <a:gd name="connsiteX1" fmla="*/ 7175088 w 7175088"/>
              <a:gd name="connsiteY1" fmla="*/ 3705225 h 3909670"/>
              <a:gd name="connsiteX2" fmla="*/ 2763 w 7175088"/>
              <a:gd name="connsiteY2" fmla="*/ 0 h 3909670"/>
              <a:gd name="connsiteX0" fmla="*/ 2763 w 7175088"/>
              <a:gd name="connsiteY0" fmla="*/ 0 h 3909670"/>
              <a:gd name="connsiteX1" fmla="*/ 7175088 w 7175088"/>
              <a:gd name="connsiteY1" fmla="*/ 3705225 h 3909670"/>
              <a:gd name="connsiteX2" fmla="*/ 2763 w 7175088"/>
              <a:gd name="connsiteY2" fmla="*/ 0 h 3909670"/>
              <a:gd name="connsiteX0" fmla="*/ 2763 w 7175088"/>
              <a:gd name="connsiteY0" fmla="*/ 0 h 3909670"/>
              <a:gd name="connsiteX1" fmla="*/ 7175088 w 7175088"/>
              <a:gd name="connsiteY1" fmla="*/ 3705225 h 3909670"/>
              <a:gd name="connsiteX2" fmla="*/ 2763 w 7175088"/>
              <a:gd name="connsiteY2" fmla="*/ 0 h 3909670"/>
              <a:gd name="connsiteX0" fmla="*/ 0 w 7172325"/>
              <a:gd name="connsiteY0" fmla="*/ 0 h 3892257"/>
              <a:gd name="connsiteX1" fmla="*/ 7172325 w 7172325"/>
              <a:gd name="connsiteY1" fmla="*/ 3705225 h 3892257"/>
              <a:gd name="connsiteX2" fmla="*/ 0 w 7172325"/>
              <a:gd name="connsiteY2" fmla="*/ 0 h 3892257"/>
              <a:gd name="connsiteX0" fmla="*/ 0 w 7172325"/>
              <a:gd name="connsiteY0" fmla="*/ 0 h 3713751"/>
              <a:gd name="connsiteX1" fmla="*/ 7172325 w 7172325"/>
              <a:gd name="connsiteY1" fmla="*/ 3705225 h 3713751"/>
              <a:gd name="connsiteX2" fmla="*/ 0 w 7172325"/>
              <a:gd name="connsiteY2" fmla="*/ 0 h 3713751"/>
              <a:gd name="connsiteX0" fmla="*/ 0 w 7172325"/>
              <a:gd name="connsiteY0" fmla="*/ 0 h 3719098"/>
              <a:gd name="connsiteX1" fmla="*/ 7172325 w 7172325"/>
              <a:gd name="connsiteY1" fmla="*/ 3705225 h 3719098"/>
              <a:gd name="connsiteX2" fmla="*/ 0 w 7172325"/>
              <a:gd name="connsiteY2" fmla="*/ 0 h 3719098"/>
              <a:gd name="connsiteX0" fmla="*/ 0 w 7172325"/>
              <a:gd name="connsiteY0" fmla="*/ 0 h 3718478"/>
              <a:gd name="connsiteX1" fmla="*/ 7172325 w 7172325"/>
              <a:gd name="connsiteY1" fmla="*/ 3705225 h 3718478"/>
              <a:gd name="connsiteX2" fmla="*/ 0 w 7172325"/>
              <a:gd name="connsiteY2" fmla="*/ 0 h 3718478"/>
              <a:gd name="connsiteX0" fmla="*/ 0 w 7172325"/>
              <a:gd name="connsiteY0" fmla="*/ 0 h 3718478"/>
              <a:gd name="connsiteX1" fmla="*/ 7172325 w 7172325"/>
              <a:gd name="connsiteY1" fmla="*/ 3705225 h 3718478"/>
              <a:gd name="connsiteX2" fmla="*/ 0 w 7172325"/>
              <a:gd name="connsiteY2" fmla="*/ 0 h 3718478"/>
              <a:gd name="connsiteX0" fmla="*/ 0 w 7172325"/>
              <a:gd name="connsiteY0" fmla="*/ 0 h 3718478"/>
              <a:gd name="connsiteX1" fmla="*/ 7172325 w 7172325"/>
              <a:gd name="connsiteY1" fmla="*/ 3705225 h 3718478"/>
              <a:gd name="connsiteX2" fmla="*/ 0 w 7172325"/>
              <a:gd name="connsiteY2" fmla="*/ 0 h 3718478"/>
              <a:gd name="connsiteX0" fmla="*/ 0 w 7172325"/>
              <a:gd name="connsiteY0" fmla="*/ 0 h 3728733"/>
              <a:gd name="connsiteX1" fmla="*/ 7172325 w 7172325"/>
              <a:gd name="connsiteY1" fmla="*/ 3705225 h 3728733"/>
              <a:gd name="connsiteX2" fmla="*/ 0 w 7172325"/>
              <a:gd name="connsiteY2" fmla="*/ 0 h 3728733"/>
              <a:gd name="connsiteX0" fmla="*/ 0 w 7172325"/>
              <a:gd name="connsiteY0" fmla="*/ 0 h 3722357"/>
              <a:gd name="connsiteX1" fmla="*/ 7172325 w 7172325"/>
              <a:gd name="connsiteY1" fmla="*/ 3705225 h 3722357"/>
              <a:gd name="connsiteX2" fmla="*/ 0 w 7172325"/>
              <a:gd name="connsiteY2" fmla="*/ 0 h 3722357"/>
              <a:gd name="connsiteX0" fmla="*/ 0 w 7162598"/>
              <a:gd name="connsiteY0" fmla="*/ 0 h 3722357"/>
              <a:gd name="connsiteX1" fmla="*/ 7162598 w 7162598"/>
              <a:gd name="connsiteY1" fmla="*/ 3705225 h 3722357"/>
              <a:gd name="connsiteX2" fmla="*/ 0 w 7162598"/>
              <a:gd name="connsiteY2" fmla="*/ 0 h 3722357"/>
              <a:gd name="connsiteX0" fmla="*/ 0 w 7162598"/>
              <a:gd name="connsiteY0" fmla="*/ 0 h 3718466"/>
              <a:gd name="connsiteX1" fmla="*/ 7162598 w 7162598"/>
              <a:gd name="connsiteY1" fmla="*/ 3705225 h 3718466"/>
              <a:gd name="connsiteX2" fmla="*/ 0 w 7162598"/>
              <a:gd name="connsiteY2" fmla="*/ 0 h 3718466"/>
              <a:gd name="connsiteX0" fmla="*/ 0 w 7162598"/>
              <a:gd name="connsiteY0" fmla="*/ 0 h 3718466"/>
              <a:gd name="connsiteX1" fmla="*/ 7162598 w 7162598"/>
              <a:gd name="connsiteY1" fmla="*/ 3705225 h 3718466"/>
              <a:gd name="connsiteX2" fmla="*/ 0 w 7162598"/>
              <a:gd name="connsiteY2" fmla="*/ 0 h 3718466"/>
              <a:gd name="connsiteX0" fmla="*/ 0 w 7162598"/>
              <a:gd name="connsiteY0" fmla="*/ 0 h 3718466"/>
              <a:gd name="connsiteX1" fmla="*/ 7162598 w 7162598"/>
              <a:gd name="connsiteY1" fmla="*/ 3705225 h 3718466"/>
              <a:gd name="connsiteX2" fmla="*/ 0 w 7162598"/>
              <a:gd name="connsiteY2" fmla="*/ 0 h 3718466"/>
              <a:gd name="connsiteX0" fmla="*/ 0 w 7162598"/>
              <a:gd name="connsiteY0" fmla="*/ 0 h 3738182"/>
              <a:gd name="connsiteX1" fmla="*/ 7162598 w 7162598"/>
              <a:gd name="connsiteY1" fmla="*/ 3705225 h 3738182"/>
              <a:gd name="connsiteX2" fmla="*/ 0 w 7162598"/>
              <a:gd name="connsiteY2" fmla="*/ 0 h 3738182"/>
              <a:gd name="connsiteX0" fmla="*/ 0 w 7162598"/>
              <a:gd name="connsiteY0" fmla="*/ 0 h 3738182"/>
              <a:gd name="connsiteX1" fmla="*/ 7162598 w 7162598"/>
              <a:gd name="connsiteY1" fmla="*/ 3705225 h 3738182"/>
              <a:gd name="connsiteX2" fmla="*/ 0 w 7162598"/>
              <a:gd name="connsiteY2" fmla="*/ 0 h 3738182"/>
              <a:gd name="connsiteX0" fmla="*/ 0 w 7162598"/>
              <a:gd name="connsiteY0" fmla="*/ 0 h 3738182"/>
              <a:gd name="connsiteX1" fmla="*/ 7162598 w 7162598"/>
              <a:gd name="connsiteY1" fmla="*/ 3705225 h 3738182"/>
              <a:gd name="connsiteX2" fmla="*/ 0 w 7162598"/>
              <a:gd name="connsiteY2" fmla="*/ 0 h 3738182"/>
              <a:gd name="connsiteX0" fmla="*/ 0 w 7162598"/>
              <a:gd name="connsiteY0" fmla="*/ 0 h 3738182"/>
              <a:gd name="connsiteX1" fmla="*/ 7162598 w 7162598"/>
              <a:gd name="connsiteY1" fmla="*/ 3705225 h 3738182"/>
              <a:gd name="connsiteX2" fmla="*/ 0 w 7162598"/>
              <a:gd name="connsiteY2" fmla="*/ 0 h 3738182"/>
              <a:gd name="connsiteX0" fmla="*/ 0 w 7162598"/>
              <a:gd name="connsiteY0" fmla="*/ 0 h 3736839"/>
              <a:gd name="connsiteX1" fmla="*/ 7162598 w 7162598"/>
              <a:gd name="connsiteY1" fmla="*/ 3705225 h 3736839"/>
              <a:gd name="connsiteX2" fmla="*/ 0 w 7162598"/>
              <a:gd name="connsiteY2" fmla="*/ 0 h 3736839"/>
              <a:gd name="connsiteX0" fmla="*/ 0 w 7162598"/>
              <a:gd name="connsiteY0" fmla="*/ 0 h 3736839"/>
              <a:gd name="connsiteX1" fmla="*/ 7162598 w 7162598"/>
              <a:gd name="connsiteY1" fmla="*/ 3705225 h 3736839"/>
              <a:gd name="connsiteX2" fmla="*/ 0 w 7162598"/>
              <a:gd name="connsiteY2" fmla="*/ 0 h 3736839"/>
              <a:gd name="connsiteX0" fmla="*/ 0 w 7162598"/>
              <a:gd name="connsiteY0" fmla="*/ 0 h 3736839"/>
              <a:gd name="connsiteX1" fmla="*/ 7162598 w 7162598"/>
              <a:gd name="connsiteY1" fmla="*/ 3705225 h 3736839"/>
              <a:gd name="connsiteX2" fmla="*/ 0 w 7162598"/>
              <a:gd name="connsiteY2" fmla="*/ 0 h 3736839"/>
              <a:gd name="connsiteX0" fmla="*/ 0 w 7162598"/>
              <a:gd name="connsiteY0" fmla="*/ 0 h 3736839"/>
              <a:gd name="connsiteX1" fmla="*/ 7162598 w 7162598"/>
              <a:gd name="connsiteY1" fmla="*/ 3705225 h 3736839"/>
              <a:gd name="connsiteX2" fmla="*/ 0 w 7162598"/>
              <a:gd name="connsiteY2" fmla="*/ 0 h 3736839"/>
              <a:gd name="connsiteX0" fmla="*/ 0 w 7162598"/>
              <a:gd name="connsiteY0" fmla="*/ 0 h 3736839"/>
              <a:gd name="connsiteX1" fmla="*/ 7162598 w 7162598"/>
              <a:gd name="connsiteY1" fmla="*/ 3705225 h 3736839"/>
              <a:gd name="connsiteX2" fmla="*/ 0 w 7162598"/>
              <a:gd name="connsiteY2" fmla="*/ 0 h 3736839"/>
              <a:gd name="connsiteX0" fmla="*/ 0 w 7162598"/>
              <a:gd name="connsiteY0" fmla="*/ 0 h 3736839"/>
              <a:gd name="connsiteX1" fmla="*/ 7162598 w 7162598"/>
              <a:gd name="connsiteY1" fmla="*/ 3705225 h 3736839"/>
              <a:gd name="connsiteX2" fmla="*/ 0 w 7162598"/>
              <a:gd name="connsiteY2" fmla="*/ 0 h 3736839"/>
              <a:gd name="connsiteX0" fmla="*/ 0 w 7162598"/>
              <a:gd name="connsiteY0" fmla="*/ 0 h 3736839"/>
              <a:gd name="connsiteX1" fmla="*/ 7162598 w 7162598"/>
              <a:gd name="connsiteY1" fmla="*/ 3705225 h 3736839"/>
              <a:gd name="connsiteX2" fmla="*/ 0 w 7162598"/>
              <a:gd name="connsiteY2" fmla="*/ 0 h 3736839"/>
              <a:gd name="connsiteX0" fmla="*/ 0 w 7162598"/>
              <a:gd name="connsiteY0" fmla="*/ 0 h 3726589"/>
              <a:gd name="connsiteX1" fmla="*/ 7162598 w 7162598"/>
              <a:gd name="connsiteY1" fmla="*/ 3705225 h 3726589"/>
              <a:gd name="connsiteX2" fmla="*/ 0 w 7162598"/>
              <a:gd name="connsiteY2" fmla="*/ 0 h 3726589"/>
              <a:gd name="connsiteX0" fmla="*/ 0 w 7162598"/>
              <a:gd name="connsiteY0" fmla="*/ 0 h 3736839"/>
              <a:gd name="connsiteX1" fmla="*/ 7162598 w 7162598"/>
              <a:gd name="connsiteY1" fmla="*/ 3705225 h 3736839"/>
              <a:gd name="connsiteX2" fmla="*/ 0 w 7162598"/>
              <a:gd name="connsiteY2" fmla="*/ 0 h 3736839"/>
              <a:gd name="connsiteX0" fmla="*/ 0 w 7156562"/>
              <a:gd name="connsiteY0" fmla="*/ 0 h 3745687"/>
              <a:gd name="connsiteX1" fmla="*/ 7156562 w 7156562"/>
              <a:gd name="connsiteY1" fmla="*/ 3714279 h 3745687"/>
              <a:gd name="connsiteX2" fmla="*/ 0 w 7156562"/>
              <a:gd name="connsiteY2" fmla="*/ 0 h 3745687"/>
              <a:gd name="connsiteX0" fmla="*/ 0 w 7247096"/>
              <a:gd name="connsiteY0" fmla="*/ 0 h 3736839"/>
              <a:gd name="connsiteX1" fmla="*/ 7247096 w 7247096"/>
              <a:gd name="connsiteY1" fmla="*/ 3705225 h 3736839"/>
              <a:gd name="connsiteX2" fmla="*/ 0 w 7247096"/>
              <a:gd name="connsiteY2" fmla="*/ 0 h 3736839"/>
              <a:gd name="connsiteX0" fmla="*/ 0 w 7247096"/>
              <a:gd name="connsiteY0" fmla="*/ 0 h 3736839"/>
              <a:gd name="connsiteX1" fmla="*/ 7247096 w 7247096"/>
              <a:gd name="connsiteY1" fmla="*/ 3705225 h 3736839"/>
              <a:gd name="connsiteX2" fmla="*/ 0 w 7247096"/>
              <a:gd name="connsiteY2" fmla="*/ 0 h 3736839"/>
              <a:gd name="connsiteX0" fmla="*/ 0 w 7247096"/>
              <a:gd name="connsiteY0" fmla="*/ 0 h 3736839"/>
              <a:gd name="connsiteX1" fmla="*/ 7247096 w 7247096"/>
              <a:gd name="connsiteY1" fmla="*/ 3705225 h 3736839"/>
              <a:gd name="connsiteX2" fmla="*/ 0 w 7247096"/>
              <a:gd name="connsiteY2" fmla="*/ 0 h 3736839"/>
              <a:gd name="connsiteX0" fmla="*/ 0 w 7247096"/>
              <a:gd name="connsiteY0" fmla="*/ 0 h 3736839"/>
              <a:gd name="connsiteX1" fmla="*/ 7247096 w 7247096"/>
              <a:gd name="connsiteY1" fmla="*/ 3705225 h 3736839"/>
              <a:gd name="connsiteX2" fmla="*/ 0 w 7247096"/>
              <a:gd name="connsiteY2" fmla="*/ 0 h 3736839"/>
              <a:gd name="connsiteX0" fmla="*/ 0 w 7247096"/>
              <a:gd name="connsiteY0" fmla="*/ 0 h 3745988"/>
              <a:gd name="connsiteX1" fmla="*/ 7247096 w 7247096"/>
              <a:gd name="connsiteY1" fmla="*/ 3705225 h 3745988"/>
              <a:gd name="connsiteX2" fmla="*/ 0 w 7247096"/>
              <a:gd name="connsiteY2" fmla="*/ 0 h 3745988"/>
              <a:gd name="connsiteX0" fmla="*/ 0 w 7247096"/>
              <a:gd name="connsiteY0" fmla="*/ 0 h 3745988"/>
              <a:gd name="connsiteX1" fmla="*/ 7247096 w 7247096"/>
              <a:gd name="connsiteY1" fmla="*/ 3705225 h 3745988"/>
              <a:gd name="connsiteX2" fmla="*/ 0 w 7247096"/>
              <a:gd name="connsiteY2" fmla="*/ 0 h 3745988"/>
              <a:gd name="connsiteX0" fmla="*/ 0 w 7247096"/>
              <a:gd name="connsiteY0" fmla="*/ 0 h 3742385"/>
              <a:gd name="connsiteX1" fmla="*/ 7247096 w 7247096"/>
              <a:gd name="connsiteY1" fmla="*/ 3705225 h 3742385"/>
              <a:gd name="connsiteX2" fmla="*/ 0 w 7247096"/>
              <a:gd name="connsiteY2" fmla="*/ 0 h 3742385"/>
              <a:gd name="connsiteX0" fmla="*/ 0 w 7241060"/>
              <a:gd name="connsiteY0" fmla="*/ 0 h 3745325"/>
              <a:gd name="connsiteX1" fmla="*/ 7241060 w 7241060"/>
              <a:gd name="connsiteY1" fmla="*/ 3708243 h 3745325"/>
              <a:gd name="connsiteX2" fmla="*/ 0 w 7241060"/>
              <a:gd name="connsiteY2" fmla="*/ 0 h 3745325"/>
              <a:gd name="connsiteX0" fmla="*/ 0 w 7241060"/>
              <a:gd name="connsiteY0" fmla="*/ 0 h 3745325"/>
              <a:gd name="connsiteX1" fmla="*/ 7241060 w 7241060"/>
              <a:gd name="connsiteY1" fmla="*/ 3708243 h 3745325"/>
              <a:gd name="connsiteX2" fmla="*/ 0 w 7241060"/>
              <a:gd name="connsiteY2" fmla="*/ 0 h 3745325"/>
              <a:gd name="connsiteX0" fmla="*/ 0 w 7241060"/>
              <a:gd name="connsiteY0" fmla="*/ 0 h 3745325"/>
              <a:gd name="connsiteX1" fmla="*/ 7241060 w 7241060"/>
              <a:gd name="connsiteY1" fmla="*/ 3708243 h 3745325"/>
              <a:gd name="connsiteX2" fmla="*/ 0 w 7241060"/>
              <a:gd name="connsiteY2" fmla="*/ 0 h 3745325"/>
              <a:gd name="connsiteX0" fmla="*/ 0 w 7241060"/>
              <a:gd name="connsiteY0" fmla="*/ 0 h 3745325"/>
              <a:gd name="connsiteX1" fmla="*/ 7241060 w 7241060"/>
              <a:gd name="connsiteY1" fmla="*/ 3708243 h 3745325"/>
              <a:gd name="connsiteX2" fmla="*/ 0 w 7241060"/>
              <a:gd name="connsiteY2" fmla="*/ 0 h 3745325"/>
              <a:gd name="connsiteX0" fmla="*/ 0 w 7241060"/>
              <a:gd name="connsiteY0" fmla="*/ 0 h 3745325"/>
              <a:gd name="connsiteX1" fmla="*/ 7241060 w 7241060"/>
              <a:gd name="connsiteY1" fmla="*/ 3708243 h 3745325"/>
              <a:gd name="connsiteX2" fmla="*/ 0 w 7241060"/>
              <a:gd name="connsiteY2" fmla="*/ 0 h 3745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241060" h="3745325">
                <a:moveTo>
                  <a:pt x="0" y="0"/>
                </a:moveTo>
                <a:cubicBezTo>
                  <a:pt x="698112" y="2619307"/>
                  <a:pt x="3122351" y="3745804"/>
                  <a:pt x="7241060" y="3708243"/>
                </a:cubicBezTo>
                <a:cubicBezTo>
                  <a:pt x="3402389" y="3964568"/>
                  <a:pt x="561837" y="2909449"/>
                  <a:pt x="0" y="0"/>
                </a:cubicBezTo>
                <a:close/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575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01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14" name="그림 13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1" y="3"/>
            <a:ext cx="10387751" cy="7257339"/>
          </a:xfrm>
          <a:prstGeom prst="rect">
            <a:avLst/>
          </a:prstGeom>
        </p:spPr>
      </p:pic>
      <p:grpSp>
        <p:nvGrpSpPr>
          <p:cNvPr id="16" name="Group 7"/>
          <p:cNvGrpSpPr/>
          <p:nvPr userDrawn="1"/>
        </p:nvGrpSpPr>
        <p:grpSpPr>
          <a:xfrm>
            <a:off x="9213259" y="6864793"/>
            <a:ext cx="871490" cy="203111"/>
            <a:chOff x="7934433" y="3003797"/>
            <a:chExt cx="767433" cy="144000"/>
          </a:xfrm>
        </p:grpSpPr>
        <p:sp>
          <p:nvSpPr>
            <p:cNvPr id="17" name="Rectangle 8"/>
            <p:cNvSpPr/>
            <p:nvPr/>
          </p:nvSpPr>
          <p:spPr>
            <a:xfrm>
              <a:off x="7934433" y="3003797"/>
              <a:ext cx="144000" cy="14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755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422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8" name="Rectangle 9"/>
            <p:cNvSpPr/>
            <p:nvPr/>
          </p:nvSpPr>
          <p:spPr>
            <a:xfrm>
              <a:off x="8142244" y="3003797"/>
              <a:ext cx="144000" cy="14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755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422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9" name="Rectangle 10"/>
            <p:cNvSpPr/>
            <p:nvPr/>
          </p:nvSpPr>
          <p:spPr>
            <a:xfrm>
              <a:off x="8350055" y="3003797"/>
              <a:ext cx="144000" cy="144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755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422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20" name="Rectangle 11"/>
            <p:cNvSpPr/>
            <p:nvPr/>
          </p:nvSpPr>
          <p:spPr>
            <a:xfrm>
              <a:off x="8557866" y="3003797"/>
              <a:ext cx="144000" cy="144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755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422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endParaRPr>
            </a:p>
          </p:txBody>
        </p:sp>
      </p:grpSp>
      <p:sp>
        <p:nvSpPr>
          <p:cNvPr id="12" name="Rectangle 5"/>
          <p:cNvSpPr>
            <a:spLocks noChangeArrowheads="1"/>
          </p:cNvSpPr>
          <p:nvPr userDrawn="1"/>
        </p:nvSpPr>
        <p:spPr bwMode="auto">
          <a:xfrm>
            <a:off x="8770385" y="421797"/>
            <a:ext cx="1417329" cy="251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5412" tIns="47708" rIns="95412" bIns="47708"/>
          <a:lstStyle/>
          <a:p>
            <a:pPr marL="0" marR="0" lvl="0" indent="0" algn="r" defTabSz="95471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44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fld id="{16B1565D-7790-4B20-9C8C-6E71895AF331}" type="slidenum">
              <a:rPr kumimoji="0" lang="ko-KR" altLang="en-US" sz="1344" b="1" i="0" u="none" strike="noStrike" kern="1200" cap="none" spc="0" normalizeH="0" baseline="0" noProof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pPr marL="0" marR="0" lvl="0" indent="0" algn="r" defTabSz="95471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344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13" name="그림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8943" y="178754"/>
            <a:ext cx="698459" cy="288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211088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>
          <a:xfrm>
            <a:off x="771" y="483553"/>
            <a:ext cx="10387752" cy="6769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96330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70" y="672"/>
            <a:ext cx="10387752" cy="7257341"/>
          </a:xfrm>
          <a:prstGeom prst="rect">
            <a:avLst/>
          </a:prstGeom>
        </p:spPr>
      </p:pic>
      <p:sp>
        <p:nvSpPr>
          <p:cNvPr id="5" name="슬라이드 번호 개체 틀 2"/>
          <p:cNvSpPr txBox="1">
            <a:spLocks/>
          </p:cNvSpPr>
          <p:nvPr userDrawn="1"/>
        </p:nvSpPr>
        <p:spPr>
          <a:xfrm>
            <a:off x="9761527" y="6944384"/>
            <a:ext cx="583041" cy="396381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778561" rtl="0" eaLnBrk="1" fontAlgn="base" latinLnBrk="1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1" lang="en-US" altLang="ko-KR" sz="852" b="0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778561" rtl="0" eaLnBrk="1" fontAlgn="base" latinLnBrk="1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en-US" altLang="ko-KR" sz="852" b="0" i="0" u="none" strike="noStrike" kern="1200" cap="none" spc="0" normalizeH="0" baseline="0" noProof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03857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7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" y="8397"/>
            <a:ext cx="10383838" cy="72531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슬라이드 번호 개체 틀 5"/>
          <p:cNvSpPr txBox="1">
            <a:spLocks noChangeAspect="1"/>
          </p:cNvSpPr>
          <p:nvPr userDrawn="1"/>
        </p:nvSpPr>
        <p:spPr>
          <a:xfrm>
            <a:off x="9673039" y="6930852"/>
            <a:ext cx="749459" cy="379537"/>
          </a:xfrm>
          <a:prstGeom prst="rect">
            <a:avLst/>
          </a:prstGeom>
        </p:spPr>
        <p:txBody>
          <a:bodyPr lIns="92123" tIns="46061" rIns="92123" bIns="46061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2124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36B23E-0D7D-4474-99A0-8847B099930A}" type="slidenum">
              <a:rPr kumimoji="0" lang="ko-KR" altLang="en-US" sz="1133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92124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1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56404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7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0388744" cy="72582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382193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7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483658"/>
            <a:ext cx="10388744" cy="72565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슬라이드 번호 개체 틀 5"/>
          <p:cNvSpPr txBox="1">
            <a:spLocks noChangeAspect="1"/>
          </p:cNvSpPr>
          <p:nvPr userDrawn="1"/>
        </p:nvSpPr>
        <p:spPr>
          <a:xfrm>
            <a:off x="9673039" y="6930852"/>
            <a:ext cx="749459" cy="379537"/>
          </a:xfrm>
          <a:prstGeom prst="rect">
            <a:avLst/>
          </a:prstGeom>
        </p:spPr>
        <p:txBody>
          <a:bodyPr lIns="92123" tIns="46061" rIns="92123" bIns="46061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2124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36B23E-0D7D-4474-99A0-8847B099930A}" type="slidenum">
              <a:rPr kumimoji="0" lang="ko-KR" altLang="en-US" sz="1133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92124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1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24877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7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0388744" cy="72582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슬라이드 번호 개체 틀 5"/>
          <p:cNvSpPr txBox="1">
            <a:spLocks noChangeAspect="1"/>
          </p:cNvSpPr>
          <p:nvPr userDrawn="1"/>
        </p:nvSpPr>
        <p:spPr>
          <a:xfrm>
            <a:off x="9673039" y="6930852"/>
            <a:ext cx="749459" cy="379537"/>
          </a:xfrm>
          <a:prstGeom prst="rect">
            <a:avLst/>
          </a:prstGeom>
        </p:spPr>
        <p:txBody>
          <a:bodyPr lIns="92123" tIns="46061" rIns="92123" bIns="46061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2124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36B23E-0D7D-4474-99A0-8847B099930A}" type="slidenum">
              <a:rPr kumimoji="0" lang="ko-KR" altLang="en-US" sz="1133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92124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1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5400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7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0388744" cy="72582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슬라이드 번호 개체 틀 5"/>
          <p:cNvSpPr txBox="1">
            <a:spLocks noChangeAspect="1"/>
          </p:cNvSpPr>
          <p:nvPr userDrawn="1"/>
        </p:nvSpPr>
        <p:spPr>
          <a:xfrm>
            <a:off x="9673039" y="6930852"/>
            <a:ext cx="749459" cy="379537"/>
          </a:xfrm>
          <a:prstGeom prst="rect">
            <a:avLst/>
          </a:prstGeom>
        </p:spPr>
        <p:txBody>
          <a:bodyPr lIns="92123" tIns="46061" rIns="92123" bIns="46061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2124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36B23E-0D7D-4474-99A0-8847B099930A}" type="slidenum">
              <a:rPr kumimoji="0" lang="ko-KR" altLang="en-US" sz="1133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92124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1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00703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78790" y="2253716"/>
            <a:ext cx="8826262" cy="1555096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557576" y="4111096"/>
            <a:ext cx="7268687" cy="1854024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709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418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128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83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546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256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965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674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41923"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41923"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41923">
              <a:defRPr/>
            </a:pPr>
            <a:fld id="{0BDB8B4E-35F9-48E3-A59A-0B99EB3DF826}" type="slidenum">
              <a:rPr lang="ko-KR" altLang="en-US" smtClean="0"/>
              <a:pPr defTabSz="941923">
                <a:defRPr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917165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5"/>
          <p:cNvSpPr txBox="1">
            <a:spLocks noChangeAspect="1"/>
          </p:cNvSpPr>
          <p:nvPr userDrawn="1"/>
        </p:nvSpPr>
        <p:spPr>
          <a:xfrm>
            <a:off x="9673039" y="6930852"/>
            <a:ext cx="749459" cy="379537"/>
          </a:xfrm>
          <a:prstGeom prst="rect">
            <a:avLst/>
          </a:prstGeom>
        </p:spPr>
        <p:txBody>
          <a:bodyPr lIns="92123" tIns="46061" rIns="92123" bIns="46061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2124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36B23E-0D7D-4474-99A0-8847B099930A}" type="slidenum">
              <a:rPr kumimoji="0" lang="ko-KR" altLang="en-US" sz="1133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92124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ko-KR" altLang="en-US" sz="11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48437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6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 descr="img_university_program_03.jpg"/>
          <p:cNvPicPr>
            <a:picLocks noChangeAspect="1"/>
          </p:cNvPicPr>
          <p:nvPr userDrawn="1"/>
        </p:nvPicPr>
        <p:blipFill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lum brigh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3616659"/>
            <a:ext cx="10383839" cy="3671027"/>
          </a:xfrm>
          <a:prstGeom prst="rect">
            <a:avLst/>
          </a:prstGeom>
        </p:spPr>
      </p:pic>
      <p:sp>
        <p:nvSpPr>
          <p:cNvPr id="4" name="직사각형 3"/>
          <p:cNvSpPr/>
          <p:nvPr userDrawn="1"/>
        </p:nvSpPr>
        <p:spPr>
          <a:xfrm>
            <a:off x="0" y="0"/>
            <a:ext cx="10383838" cy="3765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078" tIns="40037" rIns="80078" bIns="40037" anchor="ctr"/>
          <a:lstStyle/>
          <a:p>
            <a:pPr algn="ctr" defTabSz="913977" eaLnBrk="1" latinLnBrk="1" hangingPunct="1">
              <a:defRPr/>
            </a:pPr>
            <a:endParaRPr kumimoji="1" lang="ko-KR" altLang="en-US" sz="1984" dirty="0">
              <a:solidFill>
                <a:prstClr val="white"/>
              </a:solidFill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0F3651F7-2466-4722-9C4C-94595706F0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24660" y="-1"/>
            <a:ext cx="5915818" cy="7573916"/>
          </a:xfrm>
          <a:prstGeom prst="rect">
            <a:avLst/>
          </a:prstGeom>
          <a:ln>
            <a:noFill/>
          </a:ln>
        </p:spPr>
      </p:pic>
      <p:sp>
        <p:nvSpPr>
          <p:cNvPr id="11" name="Rectangle 5"/>
          <p:cNvSpPr>
            <a:spLocks noChangeArrowheads="1"/>
          </p:cNvSpPr>
          <p:nvPr userDrawn="1"/>
        </p:nvSpPr>
        <p:spPr bwMode="auto">
          <a:xfrm>
            <a:off x="5911850" y="42863"/>
            <a:ext cx="4471988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5412" tIns="47708" rIns="95412" bIns="47708"/>
          <a:lstStyle/>
          <a:p>
            <a:pPr algn="r" defTabSz="954717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344" b="1" dirty="0">
                <a:solidFill>
                  <a:srgbClr val="FF0000"/>
                </a:solidFill>
              </a:rPr>
              <a:t>FP </a:t>
            </a:r>
            <a:r>
              <a:rPr lang="ko-KR" altLang="en-US" sz="1344" b="1" dirty="0">
                <a:solidFill>
                  <a:srgbClr val="FF0000"/>
                </a:solidFill>
              </a:rPr>
              <a:t>교육용</a:t>
            </a:r>
            <a:endParaRPr lang="en-US" altLang="ko-KR" sz="1344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73131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자유형: 도형 2">
            <a:extLst>
              <a:ext uri="{FF2B5EF4-FFF2-40B4-BE49-F238E27FC236}">
                <a16:creationId xmlns:a16="http://schemas.microsoft.com/office/drawing/2014/main" id="{208B27CB-0016-4E16-B332-AB8C261D2D73}"/>
              </a:ext>
            </a:extLst>
          </p:cNvPr>
          <p:cNvSpPr/>
          <p:nvPr userDrawn="1"/>
        </p:nvSpPr>
        <p:spPr>
          <a:xfrm>
            <a:off x="2549136" y="7155"/>
            <a:ext cx="1583860" cy="7261134"/>
          </a:xfrm>
          <a:custGeom>
            <a:avLst/>
            <a:gdLst>
              <a:gd name="connsiteX0" fmla="*/ 280657 w 280657"/>
              <a:gd name="connsiteY0" fmla="*/ 0 h 5169529"/>
              <a:gd name="connsiteX1" fmla="*/ 271604 w 280657"/>
              <a:gd name="connsiteY1" fmla="*/ 5169529 h 5169529"/>
              <a:gd name="connsiteX2" fmla="*/ 0 w 280657"/>
              <a:gd name="connsiteY2" fmla="*/ 5169529 h 5169529"/>
              <a:gd name="connsiteX3" fmla="*/ 280657 w 280657"/>
              <a:gd name="connsiteY3" fmla="*/ 0 h 5169529"/>
              <a:gd name="connsiteX0" fmla="*/ 280657 w 761272"/>
              <a:gd name="connsiteY0" fmla="*/ 0 h 5169529"/>
              <a:gd name="connsiteX1" fmla="*/ 271604 w 761272"/>
              <a:gd name="connsiteY1" fmla="*/ 5169529 h 5169529"/>
              <a:gd name="connsiteX2" fmla="*/ 0 w 761272"/>
              <a:gd name="connsiteY2" fmla="*/ 5169529 h 5169529"/>
              <a:gd name="connsiteX3" fmla="*/ 280657 w 761272"/>
              <a:gd name="connsiteY3" fmla="*/ 0 h 5169529"/>
              <a:gd name="connsiteX0" fmla="*/ 280657 w 761272"/>
              <a:gd name="connsiteY0" fmla="*/ 0 h 5169529"/>
              <a:gd name="connsiteX1" fmla="*/ 271604 w 761272"/>
              <a:gd name="connsiteY1" fmla="*/ 5169529 h 5169529"/>
              <a:gd name="connsiteX2" fmla="*/ 0 w 761272"/>
              <a:gd name="connsiteY2" fmla="*/ 5169529 h 5169529"/>
              <a:gd name="connsiteX3" fmla="*/ 280657 w 761272"/>
              <a:gd name="connsiteY3" fmla="*/ 0 h 5169529"/>
              <a:gd name="connsiteX0" fmla="*/ 280657 w 1065906"/>
              <a:gd name="connsiteY0" fmla="*/ 0 h 5169529"/>
              <a:gd name="connsiteX1" fmla="*/ 271604 w 1065906"/>
              <a:gd name="connsiteY1" fmla="*/ 5169529 h 5169529"/>
              <a:gd name="connsiteX2" fmla="*/ 0 w 1065906"/>
              <a:gd name="connsiteY2" fmla="*/ 5169529 h 5169529"/>
              <a:gd name="connsiteX3" fmla="*/ 280657 w 1065906"/>
              <a:gd name="connsiteY3" fmla="*/ 0 h 5169529"/>
              <a:gd name="connsiteX0" fmla="*/ 280657 w 1065906"/>
              <a:gd name="connsiteY0" fmla="*/ 0 h 5169529"/>
              <a:gd name="connsiteX1" fmla="*/ 271604 w 1065906"/>
              <a:gd name="connsiteY1" fmla="*/ 5169529 h 5169529"/>
              <a:gd name="connsiteX2" fmla="*/ 0 w 1065906"/>
              <a:gd name="connsiteY2" fmla="*/ 5169529 h 5169529"/>
              <a:gd name="connsiteX3" fmla="*/ 280657 w 1065906"/>
              <a:gd name="connsiteY3" fmla="*/ 0 h 5169529"/>
              <a:gd name="connsiteX0" fmla="*/ 280657 w 1065906"/>
              <a:gd name="connsiteY0" fmla="*/ 0 h 5169529"/>
              <a:gd name="connsiteX1" fmla="*/ 271604 w 1065906"/>
              <a:gd name="connsiteY1" fmla="*/ 5169529 h 5169529"/>
              <a:gd name="connsiteX2" fmla="*/ 0 w 1065906"/>
              <a:gd name="connsiteY2" fmla="*/ 5169529 h 5169529"/>
              <a:gd name="connsiteX3" fmla="*/ 280657 w 1065906"/>
              <a:gd name="connsiteY3" fmla="*/ 0 h 5169529"/>
              <a:gd name="connsiteX0" fmla="*/ 280657 w 1065906"/>
              <a:gd name="connsiteY0" fmla="*/ 0 h 5169529"/>
              <a:gd name="connsiteX1" fmla="*/ 271604 w 1065906"/>
              <a:gd name="connsiteY1" fmla="*/ 5169529 h 5169529"/>
              <a:gd name="connsiteX2" fmla="*/ 0 w 1065906"/>
              <a:gd name="connsiteY2" fmla="*/ 5169529 h 5169529"/>
              <a:gd name="connsiteX3" fmla="*/ 280657 w 1065906"/>
              <a:gd name="connsiteY3" fmla="*/ 0 h 5169529"/>
              <a:gd name="connsiteX0" fmla="*/ 280657 w 1065906"/>
              <a:gd name="connsiteY0" fmla="*/ 0 h 5169529"/>
              <a:gd name="connsiteX1" fmla="*/ 271604 w 1065906"/>
              <a:gd name="connsiteY1" fmla="*/ 5169529 h 5169529"/>
              <a:gd name="connsiteX2" fmla="*/ 0 w 1065906"/>
              <a:gd name="connsiteY2" fmla="*/ 5169529 h 5169529"/>
              <a:gd name="connsiteX3" fmla="*/ 280657 w 1065906"/>
              <a:gd name="connsiteY3" fmla="*/ 0 h 5169529"/>
              <a:gd name="connsiteX0" fmla="*/ 280657 w 1065906"/>
              <a:gd name="connsiteY0" fmla="*/ 0 h 5169529"/>
              <a:gd name="connsiteX1" fmla="*/ 271604 w 1065906"/>
              <a:gd name="connsiteY1" fmla="*/ 5169529 h 5169529"/>
              <a:gd name="connsiteX2" fmla="*/ 0 w 1065906"/>
              <a:gd name="connsiteY2" fmla="*/ 5169529 h 5169529"/>
              <a:gd name="connsiteX3" fmla="*/ 280657 w 1065906"/>
              <a:gd name="connsiteY3" fmla="*/ 0 h 5169529"/>
              <a:gd name="connsiteX0" fmla="*/ 280657 w 1065906"/>
              <a:gd name="connsiteY0" fmla="*/ 0 h 5169529"/>
              <a:gd name="connsiteX1" fmla="*/ 271604 w 1065906"/>
              <a:gd name="connsiteY1" fmla="*/ 5169529 h 5169529"/>
              <a:gd name="connsiteX2" fmla="*/ 0 w 1065906"/>
              <a:gd name="connsiteY2" fmla="*/ 5169529 h 5169529"/>
              <a:gd name="connsiteX3" fmla="*/ 280657 w 1065906"/>
              <a:gd name="connsiteY3" fmla="*/ 0 h 5169529"/>
              <a:gd name="connsiteX0" fmla="*/ 280657 w 1065906"/>
              <a:gd name="connsiteY0" fmla="*/ 0 h 5169529"/>
              <a:gd name="connsiteX1" fmla="*/ 271604 w 1065906"/>
              <a:gd name="connsiteY1" fmla="*/ 5169529 h 5169529"/>
              <a:gd name="connsiteX2" fmla="*/ 0 w 1065906"/>
              <a:gd name="connsiteY2" fmla="*/ 5169529 h 5169529"/>
              <a:gd name="connsiteX3" fmla="*/ 280657 w 1065906"/>
              <a:gd name="connsiteY3" fmla="*/ 0 h 5169529"/>
              <a:gd name="connsiteX0" fmla="*/ 280657 w 1065906"/>
              <a:gd name="connsiteY0" fmla="*/ 0 h 5169529"/>
              <a:gd name="connsiteX1" fmla="*/ 271604 w 1065906"/>
              <a:gd name="connsiteY1" fmla="*/ 5169529 h 5169529"/>
              <a:gd name="connsiteX2" fmla="*/ 0 w 1065906"/>
              <a:gd name="connsiteY2" fmla="*/ 5169529 h 5169529"/>
              <a:gd name="connsiteX3" fmla="*/ 280657 w 1065906"/>
              <a:gd name="connsiteY3" fmla="*/ 0 h 5169529"/>
              <a:gd name="connsiteX0" fmla="*/ 280657 w 1065906"/>
              <a:gd name="connsiteY0" fmla="*/ 0 h 5169529"/>
              <a:gd name="connsiteX1" fmla="*/ 271604 w 1065906"/>
              <a:gd name="connsiteY1" fmla="*/ 5169529 h 5169529"/>
              <a:gd name="connsiteX2" fmla="*/ 0 w 1065906"/>
              <a:gd name="connsiteY2" fmla="*/ 5169529 h 5169529"/>
              <a:gd name="connsiteX3" fmla="*/ 280657 w 1065906"/>
              <a:gd name="connsiteY3" fmla="*/ 0 h 5169529"/>
              <a:gd name="connsiteX0" fmla="*/ 280657 w 1065906"/>
              <a:gd name="connsiteY0" fmla="*/ 0 h 5169529"/>
              <a:gd name="connsiteX1" fmla="*/ 271604 w 1065906"/>
              <a:gd name="connsiteY1" fmla="*/ 5169529 h 5169529"/>
              <a:gd name="connsiteX2" fmla="*/ 0 w 1065906"/>
              <a:gd name="connsiteY2" fmla="*/ 5169529 h 5169529"/>
              <a:gd name="connsiteX3" fmla="*/ 280657 w 1065906"/>
              <a:gd name="connsiteY3" fmla="*/ 0 h 5169529"/>
              <a:gd name="connsiteX0" fmla="*/ 301759 w 1087008"/>
              <a:gd name="connsiteY0" fmla="*/ 0 h 5169529"/>
              <a:gd name="connsiteX1" fmla="*/ 292706 w 1087008"/>
              <a:gd name="connsiteY1" fmla="*/ 5169529 h 5169529"/>
              <a:gd name="connsiteX2" fmla="*/ 0 w 1087008"/>
              <a:gd name="connsiteY2" fmla="*/ 5169529 h 5169529"/>
              <a:gd name="connsiteX3" fmla="*/ 301759 w 1087008"/>
              <a:gd name="connsiteY3" fmla="*/ 0 h 5169529"/>
              <a:gd name="connsiteX0" fmla="*/ 301759 w 1087008"/>
              <a:gd name="connsiteY0" fmla="*/ 0 h 5169529"/>
              <a:gd name="connsiteX1" fmla="*/ 292706 w 1087008"/>
              <a:gd name="connsiteY1" fmla="*/ 5169529 h 5169529"/>
              <a:gd name="connsiteX2" fmla="*/ 0 w 1087008"/>
              <a:gd name="connsiteY2" fmla="*/ 5169529 h 5169529"/>
              <a:gd name="connsiteX3" fmla="*/ 301759 w 1087008"/>
              <a:gd name="connsiteY3" fmla="*/ 0 h 5169529"/>
              <a:gd name="connsiteX0" fmla="*/ 301759 w 1087008"/>
              <a:gd name="connsiteY0" fmla="*/ 0 h 5169529"/>
              <a:gd name="connsiteX1" fmla="*/ 292706 w 1087008"/>
              <a:gd name="connsiteY1" fmla="*/ 5169529 h 5169529"/>
              <a:gd name="connsiteX2" fmla="*/ 0 w 1087008"/>
              <a:gd name="connsiteY2" fmla="*/ 5169529 h 5169529"/>
              <a:gd name="connsiteX3" fmla="*/ 301759 w 1087008"/>
              <a:gd name="connsiteY3" fmla="*/ 0 h 5169529"/>
              <a:gd name="connsiteX0" fmla="*/ 301759 w 1087008"/>
              <a:gd name="connsiteY0" fmla="*/ 0 h 5169529"/>
              <a:gd name="connsiteX1" fmla="*/ 292706 w 1087008"/>
              <a:gd name="connsiteY1" fmla="*/ 5169529 h 5169529"/>
              <a:gd name="connsiteX2" fmla="*/ 0 w 1087008"/>
              <a:gd name="connsiteY2" fmla="*/ 5169529 h 5169529"/>
              <a:gd name="connsiteX3" fmla="*/ 301759 w 1087008"/>
              <a:gd name="connsiteY3" fmla="*/ 0 h 5169529"/>
              <a:gd name="connsiteX0" fmla="*/ 301759 w 1087008"/>
              <a:gd name="connsiteY0" fmla="*/ 0 h 5169529"/>
              <a:gd name="connsiteX1" fmla="*/ 292706 w 1087008"/>
              <a:gd name="connsiteY1" fmla="*/ 5169529 h 5169529"/>
              <a:gd name="connsiteX2" fmla="*/ 0 w 1087008"/>
              <a:gd name="connsiteY2" fmla="*/ 5169529 h 5169529"/>
              <a:gd name="connsiteX3" fmla="*/ 301759 w 1087008"/>
              <a:gd name="connsiteY3" fmla="*/ 0 h 5169529"/>
              <a:gd name="connsiteX0" fmla="*/ 301759 w 1087008"/>
              <a:gd name="connsiteY0" fmla="*/ 0 h 5169529"/>
              <a:gd name="connsiteX1" fmla="*/ 292706 w 1087008"/>
              <a:gd name="connsiteY1" fmla="*/ 5169529 h 5169529"/>
              <a:gd name="connsiteX2" fmla="*/ 0 w 1087008"/>
              <a:gd name="connsiteY2" fmla="*/ 5169529 h 5169529"/>
              <a:gd name="connsiteX3" fmla="*/ 301759 w 1087008"/>
              <a:gd name="connsiteY3" fmla="*/ 0 h 5169529"/>
              <a:gd name="connsiteX0" fmla="*/ 301759 w 1087008"/>
              <a:gd name="connsiteY0" fmla="*/ 0 h 5169529"/>
              <a:gd name="connsiteX1" fmla="*/ 292706 w 1087008"/>
              <a:gd name="connsiteY1" fmla="*/ 5169529 h 5169529"/>
              <a:gd name="connsiteX2" fmla="*/ 0 w 1087008"/>
              <a:gd name="connsiteY2" fmla="*/ 5169529 h 5169529"/>
              <a:gd name="connsiteX3" fmla="*/ 301759 w 1087008"/>
              <a:gd name="connsiteY3" fmla="*/ 0 h 5169529"/>
              <a:gd name="connsiteX0" fmla="*/ 301759 w 1087008"/>
              <a:gd name="connsiteY0" fmla="*/ 0 h 5169529"/>
              <a:gd name="connsiteX1" fmla="*/ 292706 w 1087008"/>
              <a:gd name="connsiteY1" fmla="*/ 5169529 h 5169529"/>
              <a:gd name="connsiteX2" fmla="*/ 0 w 1087008"/>
              <a:gd name="connsiteY2" fmla="*/ 5169529 h 5169529"/>
              <a:gd name="connsiteX3" fmla="*/ 301759 w 1087008"/>
              <a:gd name="connsiteY3" fmla="*/ 0 h 5169529"/>
              <a:gd name="connsiteX0" fmla="*/ 301759 w 1087008"/>
              <a:gd name="connsiteY0" fmla="*/ 0 h 5169529"/>
              <a:gd name="connsiteX1" fmla="*/ 292706 w 1087008"/>
              <a:gd name="connsiteY1" fmla="*/ 5169529 h 5169529"/>
              <a:gd name="connsiteX2" fmla="*/ 0 w 1087008"/>
              <a:gd name="connsiteY2" fmla="*/ 5169529 h 5169529"/>
              <a:gd name="connsiteX3" fmla="*/ 301759 w 1087008"/>
              <a:gd name="connsiteY3" fmla="*/ 0 h 5169529"/>
              <a:gd name="connsiteX0" fmla="*/ 301759 w 1087008"/>
              <a:gd name="connsiteY0" fmla="*/ 0 h 5169529"/>
              <a:gd name="connsiteX1" fmla="*/ 292706 w 1087008"/>
              <a:gd name="connsiteY1" fmla="*/ 5169529 h 5169529"/>
              <a:gd name="connsiteX2" fmla="*/ 0 w 1087008"/>
              <a:gd name="connsiteY2" fmla="*/ 5169529 h 5169529"/>
              <a:gd name="connsiteX3" fmla="*/ 301759 w 1087008"/>
              <a:gd name="connsiteY3" fmla="*/ 0 h 5169529"/>
              <a:gd name="connsiteX0" fmla="*/ 301759 w 1087008"/>
              <a:gd name="connsiteY0" fmla="*/ 0 h 5169529"/>
              <a:gd name="connsiteX1" fmla="*/ 292706 w 1087008"/>
              <a:gd name="connsiteY1" fmla="*/ 5169529 h 5169529"/>
              <a:gd name="connsiteX2" fmla="*/ 0 w 1087008"/>
              <a:gd name="connsiteY2" fmla="*/ 5169529 h 5169529"/>
              <a:gd name="connsiteX3" fmla="*/ 301759 w 1087008"/>
              <a:gd name="connsiteY3" fmla="*/ 0 h 5169529"/>
              <a:gd name="connsiteX0" fmla="*/ 301759 w 981021"/>
              <a:gd name="connsiteY0" fmla="*/ 0 h 5169529"/>
              <a:gd name="connsiteX1" fmla="*/ 292706 w 981021"/>
              <a:gd name="connsiteY1" fmla="*/ 5169529 h 5169529"/>
              <a:gd name="connsiteX2" fmla="*/ 0 w 981021"/>
              <a:gd name="connsiteY2" fmla="*/ 5169529 h 5169529"/>
              <a:gd name="connsiteX3" fmla="*/ 301759 w 981021"/>
              <a:gd name="connsiteY3" fmla="*/ 0 h 5169529"/>
              <a:gd name="connsiteX0" fmla="*/ 301759 w 918930"/>
              <a:gd name="connsiteY0" fmla="*/ 0 h 5169529"/>
              <a:gd name="connsiteX1" fmla="*/ 292706 w 918930"/>
              <a:gd name="connsiteY1" fmla="*/ 5169529 h 5169529"/>
              <a:gd name="connsiteX2" fmla="*/ 0 w 918930"/>
              <a:gd name="connsiteY2" fmla="*/ 5169529 h 5169529"/>
              <a:gd name="connsiteX3" fmla="*/ 301759 w 918930"/>
              <a:gd name="connsiteY3" fmla="*/ 0 h 5169529"/>
              <a:gd name="connsiteX0" fmla="*/ 301759 w 1078980"/>
              <a:gd name="connsiteY0" fmla="*/ 0 h 5169529"/>
              <a:gd name="connsiteX1" fmla="*/ 292706 w 1078980"/>
              <a:gd name="connsiteY1" fmla="*/ 5169529 h 5169529"/>
              <a:gd name="connsiteX2" fmla="*/ 0 w 1078980"/>
              <a:gd name="connsiteY2" fmla="*/ 5169529 h 5169529"/>
              <a:gd name="connsiteX3" fmla="*/ 301759 w 1078980"/>
              <a:gd name="connsiteY3" fmla="*/ 0 h 5169529"/>
              <a:gd name="connsiteX0" fmla="*/ 301759 w 1084328"/>
              <a:gd name="connsiteY0" fmla="*/ 0 h 5169529"/>
              <a:gd name="connsiteX1" fmla="*/ 292706 w 1084328"/>
              <a:gd name="connsiteY1" fmla="*/ 5169529 h 5169529"/>
              <a:gd name="connsiteX2" fmla="*/ 0 w 1084328"/>
              <a:gd name="connsiteY2" fmla="*/ 5169529 h 5169529"/>
              <a:gd name="connsiteX3" fmla="*/ 301759 w 1084328"/>
              <a:gd name="connsiteY3" fmla="*/ 0 h 5169529"/>
              <a:gd name="connsiteX0" fmla="*/ 301759 w 1086927"/>
              <a:gd name="connsiteY0" fmla="*/ 0 h 5169529"/>
              <a:gd name="connsiteX1" fmla="*/ 292706 w 1086927"/>
              <a:gd name="connsiteY1" fmla="*/ 5169529 h 5169529"/>
              <a:gd name="connsiteX2" fmla="*/ 0 w 1086927"/>
              <a:gd name="connsiteY2" fmla="*/ 5169529 h 5169529"/>
              <a:gd name="connsiteX3" fmla="*/ 301759 w 1086927"/>
              <a:gd name="connsiteY3" fmla="*/ 0 h 5169529"/>
              <a:gd name="connsiteX0" fmla="*/ 301759 w 1076561"/>
              <a:gd name="connsiteY0" fmla="*/ 0 h 5169529"/>
              <a:gd name="connsiteX1" fmla="*/ 292706 w 1076561"/>
              <a:gd name="connsiteY1" fmla="*/ 5169529 h 5169529"/>
              <a:gd name="connsiteX2" fmla="*/ 0 w 1076561"/>
              <a:gd name="connsiteY2" fmla="*/ 5169529 h 5169529"/>
              <a:gd name="connsiteX3" fmla="*/ 301759 w 1076561"/>
              <a:gd name="connsiteY3" fmla="*/ 0 h 5169529"/>
              <a:gd name="connsiteX0" fmla="*/ 301759 w 1094749"/>
              <a:gd name="connsiteY0" fmla="*/ 0 h 5169529"/>
              <a:gd name="connsiteX1" fmla="*/ 292706 w 1094749"/>
              <a:gd name="connsiteY1" fmla="*/ 5169529 h 5169529"/>
              <a:gd name="connsiteX2" fmla="*/ 0 w 1094749"/>
              <a:gd name="connsiteY2" fmla="*/ 5169529 h 5169529"/>
              <a:gd name="connsiteX3" fmla="*/ 301759 w 1094749"/>
              <a:gd name="connsiteY3" fmla="*/ 0 h 5169529"/>
              <a:gd name="connsiteX0" fmla="*/ 301759 w 1084328"/>
              <a:gd name="connsiteY0" fmla="*/ 0 h 5169529"/>
              <a:gd name="connsiteX1" fmla="*/ 292706 w 1084328"/>
              <a:gd name="connsiteY1" fmla="*/ 5169529 h 5169529"/>
              <a:gd name="connsiteX2" fmla="*/ 0 w 1084328"/>
              <a:gd name="connsiteY2" fmla="*/ 5169529 h 5169529"/>
              <a:gd name="connsiteX3" fmla="*/ 301759 w 1084328"/>
              <a:gd name="connsiteY3" fmla="*/ 0 h 5169529"/>
              <a:gd name="connsiteX0" fmla="*/ 301759 w 1097769"/>
              <a:gd name="connsiteY0" fmla="*/ 0 h 5169529"/>
              <a:gd name="connsiteX1" fmla="*/ 292706 w 1097769"/>
              <a:gd name="connsiteY1" fmla="*/ 5169529 h 5169529"/>
              <a:gd name="connsiteX2" fmla="*/ 0 w 1097769"/>
              <a:gd name="connsiteY2" fmla="*/ 5169529 h 5169529"/>
              <a:gd name="connsiteX3" fmla="*/ 301759 w 1097769"/>
              <a:gd name="connsiteY3" fmla="*/ 0 h 5169529"/>
              <a:gd name="connsiteX0" fmla="*/ 301759 w 1081652"/>
              <a:gd name="connsiteY0" fmla="*/ 0 h 5169529"/>
              <a:gd name="connsiteX1" fmla="*/ 292706 w 1081652"/>
              <a:gd name="connsiteY1" fmla="*/ 5169529 h 5169529"/>
              <a:gd name="connsiteX2" fmla="*/ 0 w 1081652"/>
              <a:gd name="connsiteY2" fmla="*/ 5169529 h 5169529"/>
              <a:gd name="connsiteX3" fmla="*/ 301759 w 1081652"/>
              <a:gd name="connsiteY3" fmla="*/ 0 h 5169529"/>
              <a:gd name="connsiteX0" fmla="*/ 301759 w 1049879"/>
              <a:gd name="connsiteY0" fmla="*/ 0 h 5169529"/>
              <a:gd name="connsiteX1" fmla="*/ 292706 w 1049879"/>
              <a:gd name="connsiteY1" fmla="*/ 5169529 h 5169529"/>
              <a:gd name="connsiteX2" fmla="*/ 0 w 1049879"/>
              <a:gd name="connsiteY2" fmla="*/ 5169529 h 5169529"/>
              <a:gd name="connsiteX3" fmla="*/ 301759 w 1049879"/>
              <a:gd name="connsiteY3" fmla="*/ 0 h 5169529"/>
              <a:gd name="connsiteX0" fmla="*/ 301759 w 1034244"/>
              <a:gd name="connsiteY0" fmla="*/ 0 h 5169529"/>
              <a:gd name="connsiteX1" fmla="*/ 292706 w 1034244"/>
              <a:gd name="connsiteY1" fmla="*/ 5169529 h 5169529"/>
              <a:gd name="connsiteX2" fmla="*/ 0 w 1034244"/>
              <a:gd name="connsiteY2" fmla="*/ 5169529 h 5169529"/>
              <a:gd name="connsiteX3" fmla="*/ 301759 w 1034244"/>
              <a:gd name="connsiteY3" fmla="*/ 0 h 5169529"/>
              <a:gd name="connsiteX0" fmla="*/ 301759 w 1034244"/>
              <a:gd name="connsiteY0" fmla="*/ 0 h 5169529"/>
              <a:gd name="connsiteX1" fmla="*/ 292706 w 1034244"/>
              <a:gd name="connsiteY1" fmla="*/ 5169529 h 5169529"/>
              <a:gd name="connsiteX2" fmla="*/ 0 w 1034244"/>
              <a:gd name="connsiteY2" fmla="*/ 5169529 h 5169529"/>
              <a:gd name="connsiteX3" fmla="*/ 301759 w 1034244"/>
              <a:gd name="connsiteY3" fmla="*/ 0 h 5169529"/>
              <a:gd name="connsiteX0" fmla="*/ 301759 w 1030828"/>
              <a:gd name="connsiteY0" fmla="*/ 0 h 5169529"/>
              <a:gd name="connsiteX1" fmla="*/ 285672 w 1030828"/>
              <a:gd name="connsiteY1" fmla="*/ 5169529 h 5169529"/>
              <a:gd name="connsiteX2" fmla="*/ 0 w 1030828"/>
              <a:gd name="connsiteY2" fmla="*/ 5169529 h 5169529"/>
              <a:gd name="connsiteX3" fmla="*/ 301759 w 1030828"/>
              <a:gd name="connsiteY3" fmla="*/ 0 h 5169529"/>
              <a:gd name="connsiteX0" fmla="*/ 301759 w 1046406"/>
              <a:gd name="connsiteY0" fmla="*/ 0 h 5169529"/>
              <a:gd name="connsiteX1" fmla="*/ 285672 w 1046406"/>
              <a:gd name="connsiteY1" fmla="*/ 5169529 h 5169529"/>
              <a:gd name="connsiteX2" fmla="*/ 0 w 1046406"/>
              <a:gd name="connsiteY2" fmla="*/ 5169529 h 5169529"/>
              <a:gd name="connsiteX3" fmla="*/ 301759 w 1046406"/>
              <a:gd name="connsiteY3" fmla="*/ 0 h 5169529"/>
              <a:gd name="connsiteX0" fmla="*/ 319549 w 1055493"/>
              <a:gd name="connsiteY0" fmla="*/ 0 h 5137507"/>
              <a:gd name="connsiteX1" fmla="*/ 285672 w 1055493"/>
              <a:gd name="connsiteY1" fmla="*/ 5137507 h 5137507"/>
              <a:gd name="connsiteX2" fmla="*/ 0 w 1055493"/>
              <a:gd name="connsiteY2" fmla="*/ 5137507 h 5137507"/>
              <a:gd name="connsiteX3" fmla="*/ 319549 w 1055493"/>
              <a:gd name="connsiteY3" fmla="*/ 0 h 5137507"/>
              <a:gd name="connsiteX0" fmla="*/ 319549 w 1055493"/>
              <a:gd name="connsiteY0" fmla="*/ 0 h 5155297"/>
              <a:gd name="connsiteX1" fmla="*/ 285672 w 1055493"/>
              <a:gd name="connsiteY1" fmla="*/ 5155297 h 5155297"/>
              <a:gd name="connsiteX2" fmla="*/ 0 w 1055493"/>
              <a:gd name="connsiteY2" fmla="*/ 5155297 h 5155297"/>
              <a:gd name="connsiteX3" fmla="*/ 319549 w 1055493"/>
              <a:gd name="connsiteY3" fmla="*/ 0 h 5155297"/>
              <a:gd name="connsiteX0" fmla="*/ 319549 w 1054135"/>
              <a:gd name="connsiteY0" fmla="*/ 0 h 5155297"/>
              <a:gd name="connsiteX1" fmla="*/ 285672 w 1054135"/>
              <a:gd name="connsiteY1" fmla="*/ 5155297 h 5155297"/>
              <a:gd name="connsiteX2" fmla="*/ 0 w 1054135"/>
              <a:gd name="connsiteY2" fmla="*/ 5155297 h 5155297"/>
              <a:gd name="connsiteX3" fmla="*/ 319549 w 1054135"/>
              <a:gd name="connsiteY3" fmla="*/ 0 h 5155297"/>
              <a:gd name="connsiteX0" fmla="*/ 319549 w 1052777"/>
              <a:gd name="connsiteY0" fmla="*/ 0 h 5155297"/>
              <a:gd name="connsiteX1" fmla="*/ 285672 w 1052777"/>
              <a:gd name="connsiteY1" fmla="*/ 5155297 h 5155297"/>
              <a:gd name="connsiteX2" fmla="*/ 0 w 1052777"/>
              <a:gd name="connsiteY2" fmla="*/ 5155297 h 5155297"/>
              <a:gd name="connsiteX3" fmla="*/ 319549 w 1052777"/>
              <a:gd name="connsiteY3" fmla="*/ 0 h 5155297"/>
              <a:gd name="connsiteX0" fmla="*/ 319549 w 1052777"/>
              <a:gd name="connsiteY0" fmla="*/ 0 h 5155297"/>
              <a:gd name="connsiteX1" fmla="*/ 285672 w 1052777"/>
              <a:gd name="connsiteY1" fmla="*/ 5155297 h 5155297"/>
              <a:gd name="connsiteX2" fmla="*/ 0 w 1052777"/>
              <a:gd name="connsiteY2" fmla="*/ 5155297 h 5155297"/>
              <a:gd name="connsiteX3" fmla="*/ 319549 w 1052777"/>
              <a:gd name="connsiteY3" fmla="*/ 0 h 5155297"/>
              <a:gd name="connsiteX0" fmla="*/ 319549 w 1052777"/>
              <a:gd name="connsiteY0" fmla="*/ 0 h 5155297"/>
              <a:gd name="connsiteX1" fmla="*/ 285672 w 1052777"/>
              <a:gd name="connsiteY1" fmla="*/ 5155297 h 5155297"/>
              <a:gd name="connsiteX2" fmla="*/ 0 w 1052777"/>
              <a:gd name="connsiteY2" fmla="*/ 5155297 h 5155297"/>
              <a:gd name="connsiteX3" fmla="*/ 319549 w 1052777"/>
              <a:gd name="connsiteY3" fmla="*/ 0 h 5155297"/>
              <a:gd name="connsiteX0" fmla="*/ 319549 w 1052777"/>
              <a:gd name="connsiteY0" fmla="*/ 0 h 5155297"/>
              <a:gd name="connsiteX1" fmla="*/ 285672 w 1052777"/>
              <a:gd name="connsiteY1" fmla="*/ 5155297 h 5155297"/>
              <a:gd name="connsiteX2" fmla="*/ 0 w 1052777"/>
              <a:gd name="connsiteY2" fmla="*/ 5155297 h 5155297"/>
              <a:gd name="connsiteX3" fmla="*/ 319549 w 1052777"/>
              <a:gd name="connsiteY3" fmla="*/ 0 h 5155297"/>
              <a:gd name="connsiteX0" fmla="*/ 319549 w 1037922"/>
              <a:gd name="connsiteY0" fmla="*/ 0 h 5155297"/>
              <a:gd name="connsiteX1" fmla="*/ 285672 w 1037922"/>
              <a:gd name="connsiteY1" fmla="*/ 5155297 h 5155297"/>
              <a:gd name="connsiteX2" fmla="*/ 0 w 1037922"/>
              <a:gd name="connsiteY2" fmla="*/ 5155297 h 5155297"/>
              <a:gd name="connsiteX3" fmla="*/ 319549 w 1037922"/>
              <a:gd name="connsiteY3" fmla="*/ 0 h 5155297"/>
              <a:gd name="connsiteX0" fmla="*/ 319549 w 1037922"/>
              <a:gd name="connsiteY0" fmla="*/ 0 h 5155297"/>
              <a:gd name="connsiteX1" fmla="*/ 285672 w 1037922"/>
              <a:gd name="connsiteY1" fmla="*/ 5155297 h 5155297"/>
              <a:gd name="connsiteX2" fmla="*/ 0 w 1037922"/>
              <a:gd name="connsiteY2" fmla="*/ 5155297 h 5155297"/>
              <a:gd name="connsiteX3" fmla="*/ 319549 w 1037922"/>
              <a:gd name="connsiteY3" fmla="*/ 0 h 5155297"/>
              <a:gd name="connsiteX0" fmla="*/ 319549 w 1037922"/>
              <a:gd name="connsiteY0" fmla="*/ 0 h 5155297"/>
              <a:gd name="connsiteX1" fmla="*/ 285672 w 1037922"/>
              <a:gd name="connsiteY1" fmla="*/ 5155297 h 5155297"/>
              <a:gd name="connsiteX2" fmla="*/ 0 w 1037922"/>
              <a:gd name="connsiteY2" fmla="*/ 5155297 h 5155297"/>
              <a:gd name="connsiteX3" fmla="*/ 319549 w 1037922"/>
              <a:gd name="connsiteY3" fmla="*/ 0 h 5155297"/>
              <a:gd name="connsiteX0" fmla="*/ 314686 w 1035467"/>
              <a:gd name="connsiteY0" fmla="*/ 0 h 5160160"/>
              <a:gd name="connsiteX1" fmla="*/ 285672 w 1035467"/>
              <a:gd name="connsiteY1" fmla="*/ 5160160 h 5160160"/>
              <a:gd name="connsiteX2" fmla="*/ 0 w 1035467"/>
              <a:gd name="connsiteY2" fmla="*/ 5160160 h 5160160"/>
              <a:gd name="connsiteX3" fmla="*/ 314686 w 1035467"/>
              <a:gd name="connsiteY3" fmla="*/ 0 h 5160160"/>
              <a:gd name="connsiteX0" fmla="*/ 314686 w 1042817"/>
              <a:gd name="connsiteY0" fmla="*/ 0 h 5160160"/>
              <a:gd name="connsiteX1" fmla="*/ 285672 w 1042817"/>
              <a:gd name="connsiteY1" fmla="*/ 5160160 h 5160160"/>
              <a:gd name="connsiteX2" fmla="*/ 0 w 1042817"/>
              <a:gd name="connsiteY2" fmla="*/ 5160160 h 5160160"/>
              <a:gd name="connsiteX3" fmla="*/ 314686 w 1042817"/>
              <a:gd name="connsiteY3" fmla="*/ 0 h 5160160"/>
              <a:gd name="connsiteX0" fmla="*/ 668647 w 1245586"/>
              <a:gd name="connsiteY0" fmla="*/ 0 h 5123289"/>
              <a:gd name="connsiteX1" fmla="*/ 285672 w 1245586"/>
              <a:gd name="connsiteY1" fmla="*/ 5123289 h 5123289"/>
              <a:gd name="connsiteX2" fmla="*/ 0 w 1245586"/>
              <a:gd name="connsiteY2" fmla="*/ 5123289 h 5123289"/>
              <a:gd name="connsiteX3" fmla="*/ 668647 w 1245586"/>
              <a:gd name="connsiteY3" fmla="*/ 0 h 5123289"/>
              <a:gd name="connsiteX0" fmla="*/ 668647 w 1393156"/>
              <a:gd name="connsiteY0" fmla="*/ 0 h 5138037"/>
              <a:gd name="connsiteX1" fmla="*/ 632259 w 1393156"/>
              <a:gd name="connsiteY1" fmla="*/ 5138037 h 5138037"/>
              <a:gd name="connsiteX2" fmla="*/ 0 w 1393156"/>
              <a:gd name="connsiteY2" fmla="*/ 5123289 h 5138037"/>
              <a:gd name="connsiteX3" fmla="*/ 668647 w 1393156"/>
              <a:gd name="connsiteY3" fmla="*/ 0 h 5138037"/>
              <a:gd name="connsiteX0" fmla="*/ 668647 w 1371856"/>
              <a:gd name="connsiteY0" fmla="*/ 0 h 5138037"/>
              <a:gd name="connsiteX1" fmla="*/ 588014 w 1371856"/>
              <a:gd name="connsiteY1" fmla="*/ 5138037 h 5138037"/>
              <a:gd name="connsiteX2" fmla="*/ 0 w 1371856"/>
              <a:gd name="connsiteY2" fmla="*/ 5123289 h 5138037"/>
              <a:gd name="connsiteX3" fmla="*/ 668647 w 1371856"/>
              <a:gd name="connsiteY3" fmla="*/ 0 h 5138037"/>
              <a:gd name="connsiteX0" fmla="*/ 668647 w 1371856"/>
              <a:gd name="connsiteY0" fmla="*/ 0 h 5138037"/>
              <a:gd name="connsiteX1" fmla="*/ 588014 w 1371856"/>
              <a:gd name="connsiteY1" fmla="*/ 5138037 h 5138037"/>
              <a:gd name="connsiteX2" fmla="*/ 0 w 1371856"/>
              <a:gd name="connsiteY2" fmla="*/ 5123289 h 5138037"/>
              <a:gd name="connsiteX3" fmla="*/ 668647 w 1371856"/>
              <a:gd name="connsiteY3" fmla="*/ 0 h 5138037"/>
              <a:gd name="connsiteX0" fmla="*/ 668647 w 1371856"/>
              <a:gd name="connsiteY0" fmla="*/ 0 h 5138037"/>
              <a:gd name="connsiteX1" fmla="*/ 588014 w 1371856"/>
              <a:gd name="connsiteY1" fmla="*/ 5138037 h 5138037"/>
              <a:gd name="connsiteX2" fmla="*/ 0 w 1371856"/>
              <a:gd name="connsiteY2" fmla="*/ 5123289 h 5138037"/>
              <a:gd name="connsiteX3" fmla="*/ 668647 w 1371856"/>
              <a:gd name="connsiteY3" fmla="*/ 0 h 5138037"/>
              <a:gd name="connsiteX0" fmla="*/ 668647 w 1371856"/>
              <a:gd name="connsiteY0" fmla="*/ 0 h 5138037"/>
              <a:gd name="connsiteX1" fmla="*/ 588014 w 1371856"/>
              <a:gd name="connsiteY1" fmla="*/ 5138037 h 5138037"/>
              <a:gd name="connsiteX2" fmla="*/ 0 w 1371856"/>
              <a:gd name="connsiteY2" fmla="*/ 5123289 h 5138037"/>
              <a:gd name="connsiteX3" fmla="*/ 668647 w 1371856"/>
              <a:gd name="connsiteY3" fmla="*/ 0 h 5138037"/>
              <a:gd name="connsiteX0" fmla="*/ 668647 w 1394880"/>
              <a:gd name="connsiteY0" fmla="*/ 0 h 5138037"/>
              <a:gd name="connsiteX1" fmla="*/ 588014 w 1394880"/>
              <a:gd name="connsiteY1" fmla="*/ 5138037 h 5138037"/>
              <a:gd name="connsiteX2" fmla="*/ 0 w 1394880"/>
              <a:gd name="connsiteY2" fmla="*/ 5123289 h 5138037"/>
              <a:gd name="connsiteX3" fmla="*/ 668647 w 1394880"/>
              <a:gd name="connsiteY3" fmla="*/ 0 h 5138037"/>
              <a:gd name="connsiteX0" fmla="*/ 662823 w 1391760"/>
              <a:gd name="connsiteY0" fmla="*/ 0 h 5158422"/>
              <a:gd name="connsiteX1" fmla="*/ 588014 w 1391760"/>
              <a:gd name="connsiteY1" fmla="*/ 5158422 h 5158422"/>
              <a:gd name="connsiteX2" fmla="*/ 0 w 1391760"/>
              <a:gd name="connsiteY2" fmla="*/ 5143674 h 5158422"/>
              <a:gd name="connsiteX3" fmla="*/ 662823 w 1391760"/>
              <a:gd name="connsiteY3" fmla="*/ 0 h 5158422"/>
              <a:gd name="connsiteX0" fmla="*/ 669497 w 1398434"/>
              <a:gd name="connsiteY0" fmla="*/ 0 h 5158422"/>
              <a:gd name="connsiteX1" fmla="*/ 594688 w 1398434"/>
              <a:gd name="connsiteY1" fmla="*/ 5158422 h 5158422"/>
              <a:gd name="connsiteX2" fmla="*/ 0 w 1398434"/>
              <a:gd name="connsiteY2" fmla="*/ 5150348 h 5158422"/>
              <a:gd name="connsiteX3" fmla="*/ 669497 w 1398434"/>
              <a:gd name="connsiteY3" fmla="*/ 0 h 5158422"/>
              <a:gd name="connsiteX0" fmla="*/ 588016 w 1356073"/>
              <a:gd name="connsiteY0" fmla="*/ 0 h 5161439"/>
              <a:gd name="connsiteX1" fmla="*/ 594688 w 1356073"/>
              <a:gd name="connsiteY1" fmla="*/ 5161439 h 5161439"/>
              <a:gd name="connsiteX2" fmla="*/ 0 w 1356073"/>
              <a:gd name="connsiteY2" fmla="*/ 5153365 h 5161439"/>
              <a:gd name="connsiteX3" fmla="*/ 588016 w 1356073"/>
              <a:gd name="connsiteY3" fmla="*/ 0 h 5161439"/>
              <a:gd name="connsiteX0" fmla="*/ 588016 w 1356073"/>
              <a:gd name="connsiteY0" fmla="*/ 0 h 5161439"/>
              <a:gd name="connsiteX1" fmla="*/ 594688 w 1356073"/>
              <a:gd name="connsiteY1" fmla="*/ 5161439 h 5161439"/>
              <a:gd name="connsiteX2" fmla="*/ 0 w 1356073"/>
              <a:gd name="connsiteY2" fmla="*/ 5153365 h 5161439"/>
              <a:gd name="connsiteX3" fmla="*/ 588016 w 1356073"/>
              <a:gd name="connsiteY3" fmla="*/ 0 h 5161439"/>
              <a:gd name="connsiteX0" fmla="*/ 588016 w 1360636"/>
              <a:gd name="connsiteY0" fmla="*/ 0 h 5161439"/>
              <a:gd name="connsiteX1" fmla="*/ 594688 w 1360636"/>
              <a:gd name="connsiteY1" fmla="*/ 5161439 h 5161439"/>
              <a:gd name="connsiteX2" fmla="*/ 0 w 1360636"/>
              <a:gd name="connsiteY2" fmla="*/ 5153365 h 5161439"/>
              <a:gd name="connsiteX3" fmla="*/ 588016 w 1360636"/>
              <a:gd name="connsiteY3" fmla="*/ 0 h 5161439"/>
              <a:gd name="connsiteX0" fmla="*/ 666618 w 1401622"/>
              <a:gd name="connsiteY0" fmla="*/ 0 h 5161439"/>
              <a:gd name="connsiteX1" fmla="*/ 594688 w 1401622"/>
              <a:gd name="connsiteY1" fmla="*/ 5161439 h 5161439"/>
              <a:gd name="connsiteX2" fmla="*/ 0 w 1401622"/>
              <a:gd name="connsiteY2" fmla="*/ 5153365 h 5161439"/>
              <a:gd name="connsiteX3" fmla="*/ 666618 w 1401622"/>
              <a:gd name="connsiteY3" fmla="*/ 0 h 5161439"/>
              <a:gd name="connsiteX0" fmla="*/ 666618 w 1149867"/>
              <a:gd name="connsiteY0" fmla="*/ 547422 h 5708861"/>
              <a:gd name="connsiteX1" fmla="*/ 757819 w 1149867"/>
              <a:gd name="connsiteY1" fmla="*/ 731398 h 5708861"/>
              <a:gd name="connsiteX2" fmla="*/ 594688 w 1149867"/>
              <a:gd name="connsiteY2" fmla="*/ 5708861 h 5708861"/>
              <a:gd name="connsiteX3" fmla="*/ 0 w 1149867"/>
              <a:gd name="connsiteY3" fmla="*/ 5700787 h 5708861"/>
              <a:gd name="connsiteX4" fmla="*/ 666618 w 1149867"/>
              <a:gd name="connsiteY4" fmla="*/ 547422 h 5708861"/>
              <a:gd name="connsiteX0" fmla="*/ 666618 w 1149867"/>
              <a:gd name="connsiteY0" fmla="*/ 537491 h 5698930"/>
              <a:gd name="connsiteX1" fmla="*/ 645156 w 1149867"/>
              <a:gd name="connsiteY1" fmla="*/ 745047 h 5698930"/>
              <a:gd name="connsiteX2" fmla="*/ 594688 w 1149867"/>
              <a:gd name="connsiteY2" fmla="*/ 5698930 h 5698930"/>
              <a:gd name="connsiteX3" fmla="*/ 0 w 1149867"/>
              <a:gd name="connsiteY3" fmla="*/ 5690856 h 5698930"/>
              <a:gd name="connsiteX4" fmla="*/ 666618 w 1149867"/>
              <a:gd name="connsiteY4" fmla="*/ 537491 h 5698930"/>
              <a:gd name="connsiteX0" fmla="*/ 698058 w 1170507"/>
              <a:gd name="connsiteY0" fmla="*/ 539678 h 5695877"/>
              <a:gd name="connsiteX1" fmla="*/ 645156 w 1170507"/>
              <a:gd name="connsiteY1" fmla="*/ 741994 h 5695877"/>
              <a:gd name="connsiteX2" fmla="*/ 594688 w 1170507"/>
              <a:gd name="connsiteY2" fmla="*/ 5695877 h 5695877"/>
              <a:gd name="connsiteX3" fmla="*/ 0 w 1170507"/>
              <a:gd name="connsiteY3" fmla="*/ 5687803 h 5695877"/>
              <a:gd name="connsiteX4" fmla="*/ 698058 w 1170507"/>
              <a:gd name="connsiteY4" fmla="*/ 539678 h 5695877"/>
              <a:gd name="connsiteX0" fmla="*/ 698058 w 1170507"/>
              <a:gd name="connsiteY0" fmla="*/ 627656 h 5783855"/>
              <a:gd name="connsiteX1" fmla="*/ 653017 w 1170507"/>
              <a:gd name="connsiteY1" fmla="*/ 638708 h 5783855"/>
              <a:gd name="connsiteX2" fmla="*/ 594688 w 1170507"/>
              <a:gd name="connsiteY2" fmla="*/ 5783855 h 5783855"/>
              <a:gd name="connsiteX3" fmla="*/ 0 w 1170507"/>
              <a:gd name="connsiteY3" fmla="*/ 5775781 h 5783855"/>
              <a:gd name="connsiteX4" fmla="*/ 698058 w 1170507"/>
              <a:gd name="connsiteY4" fmla="*/ 627656 h 5783855"/>
              <a:gd name="connsiteX0" fmla="*/ 698058 w 1170507"/>
              <a:gd name="connsiteY0" fmla="*/ 634273 h 5790472"/>
              <a:gd name="connsiteX1" fmla="*/ 653017 w 1170507"/>
              <a:gd name="connsiteY1" fmla="*/ 632225 h 5790472"/>
              <a:gd name="connsiteX2" fmla="*/ 594688 w 1170507"/>
              <a:gd name="connsiteY2" fmla="*/ 5790472 h 5790472"/>
              <a:gd name="connsiteX3" fmla="*/ 0 w 1170507"/>
              <a:gd name="connsiteY3" fmla="*/ 5782398 h 5790472"/>
              <a:gd name="connsiteX4" fmla="*/ 698058 w 1170507"/>
              <a:gd name="connsiteY4" fmla="*/ 634273 h 5790472"/>
              <a:gd name="connsiteX0" fmla="*/ 698058 w 1170507"/>
              <a:gd name="connsiteY0" fmla="*/ 634273 h 5790472"/>
              <a:gd name="connsiteX1" fmla="*/ 653017 w 1170507"/>
              <a:gd name="connsiteY1" fmla="*/ 632225 h 5790472"/>
              <a:gd name="connsiteX2" fmla="*/ 594688 w 1170507"/>
              <a:gd name="connsiteY2" fmla="*/ 5790472 h 5790472"/>
              <a:gd name="connsiteX3" fmla="*/ 0 w 1170507"/>
              <a:gd name="connsiteY3" fmla="*/ 5782398 h 5790472"/>
              <a:gd name="connsiteX4" fmla="*/ 698058 w 1170507"/>
              <a:gd name="connsiteY4" fmla="*/ 634273 h 5790472"/>
              <a:gd name="connsiteX0" fmla="*/ 698058 w 1170507"/>
              <a:gd name="connsiteY0" fmla="*/ 367662 h 5523861"/>
              <a:gd name="connsiteX1" fmla="*/ 653017 w 1170507"/>
              <a:gd name="connsiteY1" fmla="*/ 365614 h 5523861"/>
              <a:gd name="connsiteX2" fmla="*/ 594688 w 1170507"/>
              <a:gd name="connsiteY2" fmla="*/ 5523861 h 5523861"/>
              <a:gd name="connsiteX3" fmla="*/ 0 w 1170507"/>
              <a:gd name="connsiteY3" fmla="*/ 5515787 h 5523861"/>
              <a:gd name="connsiteX4" fmla="*/ 698058 w 1170507"/>
              <a:gd name="connsiteY4" fmla="*/ 367662 h 5523861"/>
              <a:gd name="connsiteX0" fmla="*/ 698058 w 1170507"/>
              <a:gd name="connsiteY0" fmla="*/ 2048 h 5158247"/>
              <a:gd name="connsiteX1" fmla="*/ 653017 w 1170507"/>
              <a:gd name="connsiteY1" fmla="*/ 0 h 5158247"/>
              <a:gd name="connsiteX2" fmla="*/ 594688 w 1170507"/>
              <a:gd name="connsiteY2" fmla="*/ 5158247 h 5158247"/>
              <a:gd name="connsiteX3" fmla="*/ 0 w 1170507"/>
              <a:gd name="connsiteY3" fmla="*/ 5150173 h 5158247"/>
              <a:gd name="connsiteX4" fmla="*/ 698058 w 1170507"/>
              <a:gd name="connsiteY4" fmla="*/ 2048 h 5158247"/>
              <a:gd name="connsiteX0" fmla="*/ 698058 w 1239095"/>
              <a:gd name="connsiteY0" fmla="*/ 2048 h 5158247"/>
              <a:gd name="connsiteX1" fmla="*/ 653017 w 1239095"/>
              <a:gd name="connsiteY1" fmla="*/ 0 h 5158247"/>
              <a:gd name="connsiteX2" fmla="*/ 594688 w 1239095"/>
              <a:gd name="connsiteY2" fmla="*/ 5158247 h 5158247"/>
              <a:gd name="connsiteX3" fmla="*/ 0 w 1239095"/>
              <a:gd name="connsiteY3" fmla="*/ 5150173 h 5158247"/>
              <a:gd name="connsiteX4" fmla="*/ 698058 w 1239095"/>
              <a:gd name="connsiteY4" fmla="*/ 2048 h 5158247"/>
              <a:gd name="connsiteX0" fmla="*/ 703298 w 1242619"/>
              <a:gd name="connsiteY0" fmla="*/ 2048 h 5158247"/>
              <a:gd name="connsiteX1" fmla="*/ 658257 w 1242619"/>
              <a:gd name="connsiteY1" fmla="*/ 0 h 5158247"/>
              <a:gd name="connsiteX2" fmla="*/ 599928 w 1242619"/>
              <a:gd name="connsiteY2" fmla="*/ 5158247 h 5158247"/>
              <a:gd name="connsiteX3" fmla="*/ 0 w 1242619"/>
              <a:gd name="connsiteY3" fmla="*/ 5147552 h 5158247"/>
              <a:gd name="connsiteX4" fmla="*/ 703298 w 1242619"/>
              <a:gd name="connsiteY4" fmla="*/ 2048 h 5158247"/>
              <a:gd name="connsiteX0" fmla="*/ 708538 w 1246150"/>
              <a:gd name="connsiteY0" fmla="*/ 2048 h 5158247"/>
              <a:gd name="connsiteX1" fmla="*/ 663497 w 1246150"/>
              <a:gd name="connsiteY1" fmla="*/ 0 h 5158247"/>
              <a:gd name="connsiteX2" fmla="*/ 605168 w 1246150"/>
              <a:gd name="connsiteY2" fmla="*/ 5158247 h 5158247"/>
              <a:gd name="connsiteX3" fmla="*/ 0 w 1246150"/>
              <a:gd name="connsiteY3" fmla="*/ 5147552 h 5158247"/>
              <a:gd name="connsiteX4" fmla="*/ 708538 w 1246150"/>
              <a:gd name="connsiteY4" fmla="*/ 2048 h 5158247"/>
              <a:gd name="connsiteX0" fmla="*/ 708538 w 1246150"/>
              <a:gd name="connsiteY0" fmla="*/ 2048 h 5158247"/>
              <a:gd name="connsiteX1" fmla="*/ 663497 w 1246150"/>
              <a:gd name="connsiteY1" fmla="*/ 0 h 5158247"/>
              <a:gd name="connsiteX2" fmla="*/ 605168 w 1246150"/>
              <a:gd name="connsiteY2" fmla="*/ 5158247 h 5158247"/>
              <a:gd name="connsiteX3" fmla="*/ 0 w 1246150"/>
              <a:gd name="connsiteY3" fmla="*/ 5147552 h 5158247"/>
              <a:gd name="connsiteX4" fmla="*/ 708538 w 1246150"/>
              <a:gd name="connsiteY4" fmla="*/ 2048 h 5158247"/>
              <a:gd name="connsiteX0" fmla="*/ 708538 w 1246150"/>
              <a:gd name="connsiteY0" fmla="*/ 2048 h 5153007"/>
              <a:gd name="connsiteX1" fmla="*/ 663497 w 1246150"/>
              <a:gd name="connsiteY1" fmla="*/ 0 h 5153007"/>
              <a:gd name="connsiteX2" fmla="*/ 605168 w 1246150"/>
              <a:gd name="connsiteY2" fmla="*/ 5153007 h 5153007"/>
              <a:gd name="connsiteX3" fmla="*/ 0 w 1246150"/>
              <a:gd name="connsiteY3" fmla="*/ 5147552 h 5153007"/>
              <a:gd name="connsiteX4" fmla="*/ 708538 w 1246150"/>
              <a:gd name="connsiteY4" fmla="*/ 2048 h 5153007"/>
              <a:gd name="connsiteX0" fmla="*/ 708538 w 1257416"/>
              <a:gd name="connsiteY0" fmla="*/ 2048 h 5153007"/>
              <a:gd name="connsiteX1" fmla="*/ 663497 w 1257416"/>
              <a:gd name="connsiteY1" fmla="*/ 0 h 5153007"/>
              <a:gd name="connsiteX2" fmla="*/ 605168 w 1257416"/>
              <a:gd name="connsiteY2" fmla="*/ 5153007 h 5153007"/>
              <a:gd name="connsiteX3" fmla="*/ 0 w 1257416"/>
              <a:gd name="connsiteY3" fmla="*/ 5147552 h 5153007"/>
              <a:gd name="connsiteX4" fmla="*/ 708538 w 1257416"/>
              <a:gd name="connsiteY4" fmla="*/ 2048 h 5153007"/>
              <a:gd name="connsiteX0" fmla="*/ 708538 w 1257416"/>
              <a:gd name="connsiteY0" fmla="*/ 2048 h 5153007"/>
              <a:gd name="connsiteX1" fmla="*/ 663497 w 1257416"/>
              <a:gd name="connsiteY1" fmla="*/ 0 h 5153007"/>
              <a:gd name="connsiteX2" fmla="*/ 605168 w 1257416"/>
              <a:gd name="connsiteY2" fmla="*/ 5153007 h 5153007"/>
              <a:gd name="connsiteX3" fmla="*/ 0 w 1257416"/>
              <a:gd name="connsiteY3" fmla="*/ 5147552 h 5153007"/>
              <a:gd name="connsiteX4" fmla="*/ 708538 w 1257416"/>
              <a:gd name="connsiteY4" fmla="*/ 2048 h 5153007"/>
              <a:gd name="connsiteX0" fmla="*/ 708538 w 1375551"/>
              <a:gd name="connsiteY0" fmla="*/ 2048 h 5153007"/>
              <a:gd name="connsiteX1" fmla="*/ 663497 w 1375551"/>
              <a:gd name="connsiteY1" fmla="*/ 0 h 5153007"/>
              <a:gd name="connsiteX2" fmla="*/ 605168 w 1375551"/>
              <a:gd name="connsiteY2" fmla="*/ 5153007 h 5153007"/>
              <a:gd name="connsiteX3" fmla="*/ 0 w 1375551"/>
              <a:gd name="connsiteY3" fmla="*/ 5147552 h 5153007"/>
              <a:gd name="connsiteX4" fmla="*/ 708538 w 1375551"/>
              <a:gd name="connsiteY4" fmla="*/ 2048 h 5153007"/>
              <a:gd name="connsiteX0" fmla="*/ 848388 w 1375551"/>
              <a:gd name="connsiteY0" fmla="*/ 2048 h 5153007"/>
              <a:gd name="connsiteX1" fmla="*/ 663497 w 1375551"/>
              <a:gd name="connsiteY1" fmla="*/ 0 h 5153007"/>
              <a:gd name="connsiteX2" fmla="*/ 605168 w 1375551"/>
              <a:gd name="connsiteY2" fmla="*/ 5153007 h 5153007"/>
              <a:gd name="connsiteX3" fmla="*/ 0 w 1375551"/>
              <a:gd name="connsiteY3" fmla="*/ 5147552 h 5153007"/>
              <a:gd name="connsiteX4" fmla="*/ 848388 w 1375551"/>
              <a:gd name="connsiteY4" fmla="*/ 2048 h 5153007"/>
              <a:gd name="connsiteX0" fmla="*/ 848388 w 1353486"/>
              <a:gd name="connsiteY0" fmla="*/ 2048 h 5153007"/>
              <a:gd name="connsiteX1" fmla="*/ 598951 w 1353486"/>
              <a:gd name="connsiteY1" fmla="*/ 0 h 5153007"/>
              <a:gd name="connsiteX2" fmla="*/ 605168 w 1353486"/>
              <a:gd name="connsiteY2" fmla="*/ 5153007 h 5153007"/>
              <a:gd name="connsiteX3" fmla="*/ 0 w 1353486"/>
              <a:gd name="connsiteY3" fmla="*/ 5147552 h 5153007"/>
              <a:gd name="connsiteX4" fmla="*/ 848388 w 1353486"/>
              <a:gd name="connsiteY4" fmla="*/ 2048 h 5153007"/>
              <a:gd name="connsiteX0" fmla="*/ 848388 w 1577804"/>
              <a:gd name="connsiteY0" fmla="*/ 0 h 5150959"/>
              <a:gd name="connsiteX1" fmla="*/ 1136833 w 1577804"/>
              <a:gd name="connsiteY1" fmla="*/ 51740 h 5150959"/>
              <a:gd name="connsiteX2" fmla="*/ 605168 w 1577804"/>
              <a:gd name="connsiteY2" fmla="*/ 5150959 h 5150959"/>
              <a:gd name="connsiteX3" fmla="*/ 0 w 1577804"/>
              <a:gd name="connsiteY3" fmla="*/ 5145504 h 5150959"/>
              <a:gd name="connsiteX4" fmla="*/ 848388 w 1577804"/>
              <a:gd name="connsiteY4" fmla="*/ 0 h 5150959"/>
              <a:gd name="connsiteX0" fmla="*/ 681644 w 1577804"/>
              <a:gd name="connsiteY0" fmla="*/ 0 h 5145580"/>
              <a:gd name="connsiteX1" fmla="*/ 1136833 w 1577804"/>
              <a:gd name="connsiteY1" fmla="*/ 46361 h 5145580"/>
              <a:gd name="connsiteX2" fmla="*/ 605168 w 1577804"/>
              <a:gd name="connsiteY2" fmla="*/ 5145580 h 5145580"/>
              <a:gd name="connsiteX3" fmla="*/ 0 w 1577804"/>
              <a:gd name="connsiteY3" fmla="*/ 5140125 h 5145580"/>
              <a:gd name="connsiteX4" fmla="*/ 681644 w 1577804"/>
              <a:gd name="connsiteY4" fmla="*/ 0 h 5145580"/>
              <a:gd name="connsiteX0" fmla="*/ 681644 w 1577804"/>
              <a:gd name="connsiteY0" fmla="*/ 0 h 5145580"/>
              <a:gd name="connsiteX1" fmla="*/ 1136833 w 1577804"/>
              <a:gd name="connsiteY1" fmla="*/ 46361 h 5145580"/>
              <a:gd name="connsiteX2" fmla="*/ 605168 w 1577804"/>
              <a:gd name="connsiteY2" fmla="*/ 5145580 h 5145580"/>
              <a:gd name="connsiteX3" fmla="*/ 0 w 1577804"/>
              <a:gd name="connsiteY3" fmla="*/ 5140125 h 5145580"/>
              <a:gd name="connsiteX4" fmla="*/ 681644 w 1577804"/>
              <a:gd name="connsiteY4" fmla="*/ 0 h 5145580"/>
              <a:gd name="connsiteX0" fmla="*/ 675205 w 1571365"/>
              <a:gd name="connsiteY0" fmla="*/ 0 h 5145580"/>
              <a:gd name="connsiteX1" fmla="*/ 1130394 w 1571365"/>
              <a:gd name="connsiteY1" fmla="*/ 46361 h 5145580"/>
              <a:gd name="connsiteX2" fmla="*/ 598729 w 1571365"/>
              <a:gd name="connsiteY2" fmla="*/ 5145580 h 5145580"/>
              <a:gd name="connsiteX3" fmla="*/ 0 w 1571365"/>
              <a:gd name="connsiteY3" fmla="*/ 5140125 h 5145580"/>
              <a:gd name="connsiteX4" fmla="*/ 675205 w 1571365"/>
              <a:gd name="connsiteY4" fmla="*/ 0 h 5145580"/>
              <a:gd name="connsiteX0" fmla="*/ 681645 w 1577805"/>
              <a:gd name="connsiteY0" fmla="*/ 0 h 5145580"/>
              <a:gd name="connsiteX1" fmla="*/ 1136834 w 1577805"/>
              <a:gd name="connsiteY1" fmla="*/ 46361 h 5145580"/>
              <a:gd name="connsiteX2" fmla="*/ 605169 w 1577805"/>
              <a:gd name="connsiteY2" fmla="*/ 5145580 h 5145580"/>
              <a:gd name="connsiteX3" fmla="*/ 0 w 1577805"/>
              <a:gd name="connsiteY3" fmla="*/ 5140125 h 5145580"/>
              <a:gd name="connsiteX4" fmla="*/ 681645 w 1577805"/>
              <a:gd name="connsiteY4" fmla="*/ 0 h 5145580"/>
              <a:gd name="connsiteX0" fmla="*/ 681645 w 1399933"/>
              <a:gd name="connsiteY0" fmla="*/ 0 h 5145580"/>
              <a:gd name="connsiteX1" fmla="*/ 731150 w 1399933"/>
              <a:gd name="connsiteY1" fmla="*/ 1285 h 5145580"/>
              <a:gd name="connsiteX2" fmla="*/ 605169 w 1399933"/>
              <a:gd name="connsiteY2" fmla="*/ 5145580 h 5145580"/>
              <a:gd name="connsiteX3" fmla="*/ 0 w 1399933"/>
              <a:gd name="connsiteY3" fmla="*/ 5140125 h 5145580"/>
              <a:gd name="connsiteX4" fmla="*/ 681645 w 1399933"/>
              <a:gd name="connsiteY4" fmla="*/ 0 h 5145580"/>
              <a:gd name="connsiteX0" fmla="*/ 681645 w 1399933"/>
              <a:gd name="connsiteY0" fmla="*/ 0 h 5145580"/>
              <a:gd name="connsiteX1" fmla="*/ 731150 w 1399933"/>
              <a:gd name="connsiteY1" fmla="*/ 1285 h 5145580"/>
              <a:gd name="connsiteX2" fmla="*/ 605169 w 1399933"/>
              <a:gd name="connsiteY2" fmla="*/ 5145580 h 5145580"/>
              <a:gd name="connsiteX3" fmla="*/ 0 w 1399933"/>
              <a:gd name="connsiteY3" fmla="*/ 5140125 h 5145580"/>
              <a:gd name="connsiteX4" fmla="*/ 681645 w 1399933"/>
              <a:gd name="connsiteY4" fmla="*/ 0 h 5145580"/>
              <a:gd name="connsiteX0" fmla="*/ 681645 w 1386537"/>
              <a:gd name="connsiteY0" fmla="*/ 0 h 5145580"/>
              <a:gd name="connsiteX1" fmla="*/ 731150 w 1386537"/>
              <a:gd name="connsiteY1" fmla="*/ 1285 h 5145580"/>
              <a:gd name="connsiteX2" fmla="*/ 605169 w 1386537"/>
              <a:gd name="connsiteY2" fmla="*/ 5145580 h 5145580"/>
              <a:gd name="connsiteX3" fmla="*/ 0 w 1386537"/>
              <a:gd name="connsiteY3" fmla="*/ 5140125 h 5145580"/>
              <a:gd name="connsiteX4" fmla="*/ 681645 w 1386537"/>
              <a:gd name="connsiteY4" fmla="*/ 0 h 5145580"/>
              <a:gd name="connsiteX0" fmla="*/ 681645 w 1378704"/>
              <a:gd name="connsiteY0" fmla="*/ 9644 h 5155224"/>
              <a:gd name="connsiteX1" fmla="*/ 709292 w 1378704"/>
              <a:gd name="connsiteY1" fmla="*/ 0 h 5155224"/>
              <a:gd name="connsiteX2" fmla="*/ 605169 w 1378704"/>
              <a:gd name="connsiteY2" fmla="*/ 5155224 h 5155224"/>
              <a:gd name="connsiteX3" fmla="*/ 0 w 1378704"/>
              <a:gd name="connsiteY3" fmla="*/ 5149769 h 5155224"/>
              <a:gd name="connsiteX4" fmla="*/ 681645 w 1378704"/>
              <a:gd name="connsiteY4" fmla="*/ 9644 h 5155224"/>
              <a:gd name="connsiteX0" fmla="*/ 681645 w 1378704"/>
              <a:gd name="connsiteY0" fmla="*/ 2358 h 5147938"/>
              <a:gd name="connsiteX1" fmla="*/ 709292 w 1378704"/>
              <a:gd name="connsiteY1" fmla="*/ 0 h 5147938"/>
              <a:gd name="connsiteX2" fmla="*/ 605169 w 1378704"/>
              <a:gd name="connsiteY2" fmla="*/ 5147938 h 5147938"/>
              <a:gd name="connsiteX3" fmla="*/ 0 w 1378704"/>
              <a:gd name="connsiteY3" fmla="*/ 5142483 h 5147938"/>
              <a:gd name="connsiteX4" fmla="*/ 681645 w 1378704"/>
              <a:gd name="connsiteY4" fmla="*/ 2358 h 5147938"/>
              <a:gd name="connsiteX0" fmla="*/ 681645 w 1394746"/>
              <a:gd name="connsiteY0" fmla="*/ 2358 h 5147938"/>
              <a:gd name="connsiteX1" fmla="*/ 709292 w 1394746"/>
              <a:gd name="connsiteY1" fmla="*/ 0 h 5147938"/>
              <a:gd name="connsiteX2" fmla="*/ 605169 w 1394746"/>
              <a:gd name="connsiteY2" fmla="*/ 5147938 h 5147938"/>
              <a:gd name="connsiteX3" fmla="*/ 0 w 1394746"/>
              <a:gd name="connsiteY3" fmla="*/ 5142483 h 5147938"/>
              <a:gd name="connsiteX4" fmla="*/ 681645 w 1394746"/>
              <a:gd name="connsiteY4" fmla="*/ 2358 h 5147938"/>
              <a:gd name="connsiteX0" fmla="*/ 678002 w 1394746"/>
              <a:gd name="connsiteY0" fmla="*/ 2358 h 5147938"/>
              <a:gd name="connsiteX1" fmla="*/ 709292 w 1394746"/>
              <a:gd name="connsiteY1" fmla="*/ 0 h 5147938"/>
              <a:gd name="connsiteX2" fmla="*/ 605169 w 1394746"/>
              <a:gd name="connsiteY2" fmla="*/ 5147938 h 5147938"/>
              <a:gd name="connsiteX3" fmla="*/ 0 w 1394746"/>
              <a:gd name="connsiteY3" fmla="*/ 5142483 h 5147938"/>
              <a:gd name="connsiteX4" fmla="*/ 678002 w 1394746"/>
              <a:gd name="connsiteY4" fmla="*/ 2358 h 5147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4746" h="5147938">
                <a:moveTo>
                  <a:pt x="678002" y="2358"/>
                </a:moveTo>
                <a:cubicBezTo>
                  <a:pt x="660202" y="4684"/>
                  <a:pt x="729140" y="4379"/>
                  <a:pt x="709292" y="0"/>
                </a:cubicBezTo>
                <a:cubicBezTo>
                  <a:pt x="1164073" y="792664"/>
                  <a:pt x="2044121" y="3295264"/>
                  <a:pt x="605169" y="5147938"/>
                </a:cubicBezTo>
                <a:lnTo>
                  <a:pt x="0" y="5142483"/>
                </a:lnTo>
                <a:cubicBezTo>
                  <a:pt x="1286717" y="3715598"/>
                  <a:pt x="1489690" y="1855467"/>
                  <a:pt x="678002" y="2358"/>
                </a:cubicBezTo>
                <a:close/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7755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42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" name="자유형: 도형 1">
            <a:extLst>
              <a:ext uri="{FF2B5EF4-FFF2-40B4-BE49-F238E27FC236}">
                <a16:creationId xmlns:a16="http://schemas.microsoft.com/office/drawing/2014/main" id="{211C3F06-D6FC-4C75-A071-26658C2B36EB}"/>
              </a:ext>
            </a:extLst>
          </p:cNvPr>
          <p:cNvSpPr/>
          <p:nvPr userDrawn="1"/>
        </p:nvSpPr>
        <p:spPr>
          <a:xfrm>
            <a:off x="2955393" y="-4985"/>
            <a:ext cx="1301160" cy="7271036"/>
          </a:xfrm>
          <a:custGeom>
            <a:avLst/>
            <a:gdLst>
              <a:gd name="connsiteX0" fmla="*/ 280657 w 280657"/>
              <a:gd name="connsiteY0" fmla="*/ 0 h 5169529"/>
              <a:gd name="connsiteX1" fmla="*/ 271604 w 280657"/>
              <a:gd name="connsiteY1" fmla="*/ 5169529 h 5169529"/>
              <a:gd name="connsiteX2" fmla="*/ 0 w 280657"/>
              <a:gd name="connsiteY2" fmla="*/ 5169529 h 5169529"/>
              <a:gd name="connsiteX3" fmla="*/ 280657 w 280657"/>
              <a:gd name="connsiteY3" fmla="*/ 0 h 5169529"/>
              <a:gd name="connsiteX0" fmla="*/ 280657 w 761272"/>
              <a:gd name="connsiteY0" fmla="*/ 0 h 5169529"/>
              <a:gd name="connsiteX1" fmla="*/ 271604 w 761272"/>
              <a:gd name="connsiteY1" fmla="*/ 5169529 h 5169529"/>
              <a:gd name="connsiteX2" fmla="*/ 0 w 761272"/>
              <a:gd name="connsiteY2" fmla="*/ 5169529 h 5169529"/>
              <a:gd name="connsiteX3" fmla="*/ 280657 w 761272"/>
              <a:gd name="connsiteY3" fmla="*/ 0 h 5169529"/>
              <a:gd name="connsiteX0" fmla="*/ 280657 w 761272"/>
              <a:gd name="connsiteY0" fmla="*/ 0 h 5169529"/>
              <a:gd name="connsiteX1" fmla="*/ 271604 w 761272"/>
              <a:gd name="connsiteY1" fmla="*/ 5169529 h 5169529"/>
              <a:gd name="connsiteX2" fmla="*/ 0 w 761272"/>
              <a:gd name="connsiteY2" fmla="*/ 5169529 h 5169529"/>
              <a:gd name="connsiteX3" fmla="*/ 280657 w 761272"/>
              <a:gd name="connsiteY3" fmla="*/ 0 h 5169529"/>
              <a:gd name="connsiteX0" fmla="*/ 280657 w 1065906"/>
              <a:gd name="connsiteY0" fmla="*/ 0 h 5169529"/>
              <a:gd name="connsiteX1" fmla="*/ 271604 w 1065906"/>
              <a:gd name="connsiteY1" fmla="*/ 5169529 h 5169529"/>
              <a:gd name="connsiteX2" fmla="*/ 0 w 1065906"/>
              <a:gd name="connsiteY2" fmla="*/ 5169529 h 5169529"/>
              <a:gd name="connsiteX3" fmla="*/ 280657 w 1065906"/>
              <a:gd name="connsiteY3" fmla="*/ 0 h 5169529"/>
              <a:gd name="connsiteX0" fmla="*/ 280657 w 1065906"/>
              <a:gd name="connsiteY0" fmla="*/ 0 h 5169529"/>
              <a:gd name="connsiteX1" fmla="*/ 271604 w 1065906"/>
              <a:gd name="connsiteY1" fmla="*/ 5169529 h 5169529"/>
              <a:gd name="connsiteX2" fmla="*/ 0 w 1065906"/>
              <a:gd name="connsiteY2" fmla="*/ 5169529 h 5169529"/>
              <a:gd name="connsiteX3" fmla="*/ 280657 w 1065906"/>
              <a:gd name="connsiteY3" fmla="*/ 0 h 5169529"/>
              <a:gd name="connsiteX0" fmla="*/ 280657 w 1065906"/>
              <a:gd name="connsiteY0" fmla="*/ 0 h 5169529"/>
              <a:gd name="connsiteX1" fmla="*/ 271604 w 1065906"/>
              <a:gd name="connsiteY1" fmla="*/ 5169529 h 5169529"/>
              <a:gd name="connsiteX2" fmla="*/ 0 w 1065906"/>
              <a:gd name="connsiteY2" fmla="*/ 5169529 h 5169529"/>
              <a:gd name="connsiteX3" fmla="*/ 280657 w 1065906"/>
              <a:gd name="connsiteY3" fmla="*/ 0 h 5169529"/>
              <a:gd name="connsiteX0" fmla="*/ 280657 w 1065906"/>
              <a:gd name="connsiteY0" fmla="*/ 0 h 5169529"/>
              <a:gd name="connsiteX1" fmla="*/ 271604 w 1065906"/>
              <a:gd name="connsiteY1" fmla="*/ 5169529 h 5169529"/>
              <a:gd name="connsiteX2" fmla="*/ 0 w 1065906"/>
              <a:gd name="connsiteY2" fmla="*/ 5169529 h 5169529"/>
              <a:gd name="connsiteX3" fmla="*/ 280657 w 1065906"/>
              <a:gd name="connsiteY3" fmla="*/ 0 h 5169529"/>
              <a:gd name="connsiteX0" fmla="*/ 280657 w 1065906"/>
              <a:gd name="connsiteY0" fmla="*/ 0 h 5169529"/>
              <a:gd name="connsiteX1" fmla="*/ 271604 w 1065906"/>
              <a:gd name="connsiteY1" fmla="*/ 5169529 h 5169529"/>
              <a:gd name="connsiteX2" fmla="*/ 0 w 1065906"/>
              <a:gd name="connsiteY2" fmla="*/ 5169529 h 5169529"/>
              <a:gd name="connsiteX3" fmla="*/ 280657 w 1065906"/>
              <a:gd name="connsiteY3" fmla="*/ 0 h 5169529"/>
              <a:gd name="connsiteX0" fmla="*/ 280657 w 1065906"/>
              <a:gd name="connsiteY0" fmla="*/ 0 h 5169529"/>
              <a:gd name="connsiteX1" fmla="*/ 271604 w 1065906"/>
              <a:gd name="connsiteY1" fmla="*/ 5169529 h 5169529"/>
              <a:gd name="connsiteX2" fmla="*/ 0 w 1065906"/>
              <a:gd name="connsiteY2" fmla="*/ 5169529 h 5169529"/>
              <a:gd name="connsiteX3" fmla="*/ 280657 w 1065906"/>
              <a:gd name="connsiteY3" fmla="*/ 0 h 5169529"/>
              <a:gd name="connsiteX0" fmla="*/ 280657 w 1065906"/>
              <a:gd name="connsiteY0" fmla="*/ 0 h 5169529"/>
              <a:gd name="connsiteX1" fmla="*/ 271604 w 1065906"/>
              <a:gd name="connsiteY1" fmla="*/ 5169529 h 5169529"/>
              <a:gd name="connsiteX2" fmla="*/ 0 w 1065906"/>
              <a:gd name="connsiteY2" fmla="*/ 5169529 h 5169529"/>
              <a:gd name="connsiteX3" fmla="*/ 280657 w 1065906"/>
              <a:gd name="connsiteY3" fmla="*/ 0 h 5169529"/>
              <a:gd name="connsiteX0" fmla="*/ 280657 w 1065906"/>
              <a:gd name="connsiteY0" fmla="*/ 0 h 5169529"/>
              <a:gd name="connsiteX1" fmla="*/ 271604 w 1065906"/>
              <a:gd name="connsiteY1" fmla="*/ 5169529 h 5169529"/>
              <a:gd name="connsiteX2" fmla="*/ 0 w 1065906"/>
              <a:gd name="connsiteY2" fmla="*/ 5169529 h 5169529"/>
              <a:gd name="connsiteX3" fmla="*/ 280657 w 1065906"/>
              <a:gd name="connsiteY3" fmla="*/ 0 h 5169529"/>
              <a:gd name="connsiteX0" fmla="*/ 280657 w 1065906"/>
              <a:gd name="connsiteY0" fmla="*/ 0 h 5169529"/>
              <a:gd name="connsiteX1" fmla="*/ 271604 w 1065906"/>
              <a:gd name="connsiteY1" fmla="*/ 5169529 h 5169529"/>
              <a:gd name="connsiteX2" fmla="*/ 0 w 1065906"/>
              <a:gd name="connsiteY2" fmla="*/ 5169529 h 5169529"/>
              <a:gd name="connsiteX3" fmla="*/ 280657 w 1065906"/>
              <a:gd name="connsiteY3" fmla="*/ 0 h 5169529"/>
              <a:gd name="connsiteX0" fmla="*/ 280657 w 1065906"/>
              <a:gd name="connsiteY0" fmla="*/ 0 h 5169529"/>
              <a:gd name="connsiteX1" fmla="*/ 271604 w 1065906"/>
              <a:gd name="connsiteY1" fmla="*/ 5169529 h 5169529"/>
              <a:gd name="connsiteX2" fmla="*/ 0 w 1065906"/>
              <a:gd name="connsiteY2" fmla="*/ 5169529 h 5169529"/>
              <a:gd name="connsiteX3" fmla="*/ 280657 w 1065906"/>
              <a:gd name="connsiteY3" fmla="*/ 0 h 5169529"/>
              <a:gd name="connsiteX0" fmla="*/ 280657 w 1065906"/>
              <a:gd name="connsiteY0" fmla="*/ 0 h 5169529"/>
              <a:gd name="connsiteX1" fmla="*/ 271604 w 1065906"/>
              <a:gd name="connsiteY1" fmla="*/ 5169529 h 5169529"/>
              <a:gd name="connsiteX2" fmla="*/ 0 w 1065906"/>
              <a:gd name="connsiteY2" fmla="*/ 5169529 h 5169529"/>
              <a:gd name="connsiteX3" fmla="*/ 280657 w 1065906"/>
              <a:gd name="connsiteY3" fmla="*/ 0 h 5169529"/>
              <a:gd name="connsiteX0" fmla="*/ 301759 w 1087008"/>
              <a:gd name="connsiteY0" fmla="*/ 0 h 5169529"/>
              <a:gd name="connsiteX1" fmla="*/ 292706 w 1087008"/>
              <a:gd name="connsiteY1" fmla="*/ 5169529 h 5169529"/>
              <a:gd name="connsiteX2" fmla="*/ 0 w 1087008"/>
              <a:gd name="connsiteY2" fmla="*/ 5169529 h 5169529"/>
              <a:gd name="connsiteX3" fmla="*/ 301759 w 1087008"/>
              <a:gd name="connsiteY3" fmla="*/ 0 h 5169529"/>
              <a:gd name="connsiteX0" fmla="*/ 301759 w 1087008"/>
              <a:gd name="connsiteY0" fmla="*/ 0 h 5169529"/>
              <a:gd name="connsiteX1" fmla="*/ 292706 w 1087008"/>
              <a:gd name="connsiteY1" fmla="*/ 5169529 h 5169529"/>
              <a:gd name="connsiteX2" fmla="*/ 0 w 1087008"/>
              <a:gd name="connsiteY2" fmla="*/ 5169529 h 5169529"/>
              <a:gd name="connsiteX3" fmla="*/ 301759 w 1087008"/>
              <a:gd name="connsiteY3" fmla="*/ 0 h 5169529"/>
              <a:gd name="connsiteX0" fmla="*/ 301759 w 1087008"/>
              <a:gd name="connsiteY0" fmla="*/ 0 h 5169529"/>
              <a:gd name="connsiteX1" fmla="*/ 292706 w 1087008"/>
              <a:gd name="connsiteY1" fmla="*/ 5169529 h 5169529"/>
              <a:gd name="connsiteX2" fmla="*/ 0 w 1087008"/>
              <a:gd name="connsiteY2" fmla="*/ 5169529 h 5169529"/>
              <a:gd name="connsiteX3" fmla="*/ 301759 w 1087008"/>
              <a:gd name="connsiteY3" fmla="*/ 0 h 5169529"/>
              <a:gd name="connsiteX0" fmla="*/ 301759 w 1087008"/>
              <a:gd name="connsiteY0" fmla="*/ 0 h 5169529"/>
              <a:gd name="connsiteX1" fmla="*/ 292706 w 1087008"/>
              <a:gd name="connsiteY1" fmla="*/ 5169529 h 5169529"/>
              <a:gd name="connsiteX2" fmla="*/ 0 w 1087008"/>
              <a:gd name="connsiteY2" fmla="*/ 5169529 h 5169529"/>
              <a:gd name="connsiteX3" fmla="*/ 301759 w 1087008"/>
              <a:gd name="connsiteY3" fmla="*/ 0 h 5169529"/>
              <a:gd name="connsiteX0" fmla="*/ 301759 w 1087008"/>
              <a:gd name="connsiteY0" fmla="*/ 0 h 5169529"/>
              <a:gd name="connsiteX1" fmla="*/ 292706 w 1087008"/>
              <a:gd name="connsiteY1" fmla="*/ 5169529 h 5169529"/>
              <a:gd name="connsiteX2" fmla="*/ 0 w 1087008"/>
              <a:gd name="connsiteY2" fmla="*/ 5169529 h 5169529"/>
              <a:gd name="connsiteX3" fmla="*/ 301759 w 1087008"/>
              <a:gd name="connsiteY3" fmla="*/ 0 h 5169529"/>
              <a:gd name="connsiteX0" fmla="*/ 301759 w 1087008"/>
              <a:gd name="connsiteY0" fmla="*/ 0 h 5169529"/>
              <a:gd name="connsiteX1" fmla="*/ 292706 w 1087008"/>
              <a:gd name="connsiteY1" fmla="*/ 5169529 h 5169529"/>
              <a:gd name="connsiteX2" fmla="*/ 0 w 1087008"/>
              <a:gd name="connsiteY2" fmla="*/ 5169529 h 5169529"/>
              <a:gd name="connsiteX3" fmla="*/ 301759 w 1087008"/>
              <a:gd name="connsiteY3" fmla="*/ 0 h 5169529"/>
              <a:gd name="connsiteX0" fmla="*/ 301759 w 1087008"/>
              <a:gd name="connsiteY0" fmla="*/ 0 h 5169529"/>
              <a:gd name="connsiteX1" fmla="*/ 292706 w 1087008"/>
              <a:gd name="connsiteY1" fmla="*/ 5169529 h 5169529"/>
              <a:gd name="connsiteX2" fmla="*/ 0 w 1087008"/>
              <a:gd name="connsiteY2" fmla="*/ 5169529 h 5169529"/>
              <a:gd name="connsiteX3" fmla="*/ 301759 w 1087008"/>
              <a:gd name="connsiteY3" fmla="*/ 0 h 5169529"/>
              <a:gd name="connsiteX0" fmla="*/ 301759 w 1087008"/>
              <a:gd name="connsiteY0" fmla="*/ 0 h 5169529"/>
              <a:gd name="connsiteX1" fmla="*/ 292706 w 1087008"/>
              <a:gd name="connsiteY1" fmla="*/ 5169529 h 5169529"/>
              <a:gd name="connsiteX2" fmla="*/ 0 w 1087008"/>
              <a:gd name="connsiteY2" fmla="*/ 5169529 h 5169529"/>
              <a:gd name="connsiteX3" fmla="*/ 301759 w 1087008"/>
              <a:gd name="connsiteY3" fmla="*/ 0 h 5169529"/>
              <a:gd name="connsiteX0" fmla="*/ 301759 w 1087008"/>
              <a:gd name="connsiteY0" fmla="*/ 0 h 5169529"/>
              <a:gd name="connsiteX1" fmla="*/ 292706 w 1087008"/>
              <a:gd name="connsiteY1" fmla="*/ 5169529 h 5169529"/>
              <a:gd name="connsiteX2" fmla="*/ 0 w 1087008"/>
              <a:gd name="connsiteY2" fmla="*/ 5169529 h 5169529"/>
              <a:gd name="connsiteX3" fmla="*/ 301759 w 1087008"/>
              <a:gd name="connsiteY3" fmla="*/ 0 h 5169529"/>
              <a:gd name="connsiteX0" fmla="*/ 301759 w 1087008"/>
              <a:gd name="connsiteY0" fmla="*/ 0 h 5169529"/>
              <a:gd name="connsiteX1" fmla="*/ 292706 w 1087008"/>
              <a:gd name="connsiteY1" fmla="*/ 5169529 h 5169529"/>
              <a:gd name="connsiteX2" fmla="*/ 0 w 1087008"/>
              <a:gd name="connsiteY2" fmla="*/ 5169529 h 5169529"/>
              <a:gd name="connsiteX3" fmla="*/ 301759 w 1087008"/>
              <a:gd name="connsiteY3" fmla="*/ 0 h 5169529"/>
              <a:gd name="connsiteX0" fmla="*/ 301759 w 1087008"/>
              <a:gd name="connsiteY0" fmla="*/ 0 h 5169529"/>
              <a:gd name="connsiteX1" fmla="*/ 292706 w 1087008"/>
              <a:gd name="connsiteY1" fmla="*/ 5169529 h 5169529"/>
              <a:gd name="connsiteX2" fmla="*/ 0 w 1087008"/>
              <a:gd name="connsiteY2" fmla="*/ 5169529 h 5169529"/>
              <a:gd name="connsiteX3" fmla="*/ 301759 w 1087008"/>
              <a:gd name="connsiteY3" fmla="*/ 0 h 5169529"/>
              <a:gd name="connsiteX0" fmla="*/ 301759 w 981021"/>
              <a:gd name="connsiteY0" fmla="*/ 0 h 5169529"/>
              <a:gd name="connsiteX1" fmla="*/ 292706 w 981021"/>
              <a:gd name="connsiteY1" fmla="*/ 5169529 h 5169529"/>
              <a:gd name="connsiteX2" fmla="*/ 0 w 981021"/>
              <a:gd name="connsiteY2" fmla="*/ 5169529 h 5169529"/>
              <a:gd name="connsiteX3" fmla="*/ 301759 w 981021"/>
              <a:gd name="connsiteY3" fmla="*/ 0 h 5169529"/>
              <a:gd name="connsiteX0" fmla="*/ 301759 w 918930"/>
              <a:gd name="connsiteY0" fmla="*/ 0 h 5169529"/>
              <a:gd name="connsiteX1" fmla="*/ 292706 w 918930"/>
              <a:gd name="connsiteY1" fmla="*/ 5169529 h 5169529"/>
              <a:gd name="connsiteX2" fmla="*/ 0 w 918930"/>
              <a:gd name="connsiteY2" fmla="*/ 5169529 h 5169529"/>
              <a:gd name="connsiteX3" fmla="*/ 301759 w 918930"/>
              <a:gd name="connsiteY3" fmla="*/ 0 h 5169529"/>
              <a:gd name="connsiteX0" fmla="*/ 301759 w 1078980"/>
              <a:gd name="connsiteY0" fmla="*/ 0 h 5169529"/>
              <a:gd name="connsiteX1" fmla="*/ 292706 w 1078980"/>
              <a:gd name="connsiteY1" fmla="*/ 5169529 h 5169529"/>
              <a:gd name="connsiteX2" fmla="*/ 0 w 1078980"/>
              <a:gd name="connsiteY2" fmla="*/ 5169529 h 5169529"/>
              <a:gd name="connsiteX3" fmla="*/ 301759 w 1078980"/>
              <a:gd name="connsiteY3" fmla="*/ 0 h 5169529"/>
              <a:gd name="connsiteX0" fmla="*/ 301759 w 1084328"/>
              <a:gd name="connsiteY0" fmla="*/ 0 h 5169529"/>
              <a:gd name="connsiteX1" fmla="*/ 292706 w 1084328"/>
              <a:gd name="connsiteY1" fmla="*/ 5169529 h 5169529"/>
              <a:gd name="connsiteX2" fmla="*/ 0 w 1084328"/>
              <a:gd name="connsiteY2" fmla="*/ 5169529 h 5169529"/>
              <a:gd name="connsiteX3" fmla="*/ 301759 w 1084328"/>
              <a:gd name="connsiteY3" fmla="*/ 0 h 5169529"/>
              <a:gd name="connsiteX0" fmla="*/ 301759 w 1086927"/>
              <a:gd name="connsiteY0" fmla="*/ 0 h 5169529"/>
              <a:gd name="connsiteX1" fmla="*/ 292706 w 1086927"/>
              <a:gd name="connsiteY1" fmla="*/ 5169529 h 5169529"/>
              <a:gd name="connsiteX2" fmla="*/ 0 w 1086927"/>
              <a:gd name="connsiteY2" fmla="*/ 5169529 h 5169529"/>
              <a:gd name="connsiteX3" fmla="*/ 301759 w 1086927"/>
              <a:gd name="connsiteY3" fmla="*/ 0 h 5169529"/>
              <a:gd name="connsiteX0" fmla="*/ 301759 w 1076561"/>
              <a:gd name="connsiteY0" fmla="*/ 0 h 5169529"/>
              <a:gd name="connsiteX1" fmla="*/ 292706 w 1076561"/>
              <a:gd name="connsiteY1" fmla="*/ 5169529 h 5169529"/>
              <a:gd name="connsiteX2" fmla="*/ 0 w 1076561"/>
              <a:gd name="connsiteY2" fmla="*/ 5169529 h 5169529"/>
              <a:gd name="connsiteX3" fmla="*/ 301759 w 1076561"/>
              <a:gd name="connsiteY3" fmla="*/ 0 h 5169529"/>
              <a:gd name="connsiteX0" fmla="*/ 301759 w 1094749"/>
              <a:gd name="connsiteY0" fmla="*/ 0 h 5169529"/>
              <a:gd name="connsiteX1" fmla="*/ 292706 w 1094749"/>
              <a:gd name="connsiteY1" fmla="*/ 5169529 h 5169529"/>
              <a:gd name="connsiteX2" fmla="*/ 0 w 1094749"/>
              <a:gd name="connsiteY2" fmla="*/ 5169529 h 5169529"/>
              <a:gd name="connsiteX3" fmla="*/ 301759 w 1094749"/>
              <a:gd name="connsiteY3" fmla="*/ 0 h 5169529"/>
              <a:gd name="connsiteX0" fmla="*/ 301759 w 1084328"/>
              <a:gd name="connsiteY0" fmla="*/ 0 h 5169529"/>
              <a:gd name="connsiteX1" fmla="*/ 292706 w 1084328"/>
              <a:gd name="connsiteY1" fmla="*/ 5169529 h 5169529"/>
              <a:gd name="connsiteX2" fmla="*/ 0 w 1084328"/>
              <a:gd name="connsiteY2" fmla="*/ 5169529 h 5169529"/>
              <a:gd name="connsiteX3" fmla="*/ 301759 w 1084328"/>
              <a:gd name="connsiteY3" fmla="*/ 0 h 5169529"/>
              <a:gd name="connsiteX0" fmla="*/ 301759 w 1097769"/>
              <a:gd name="connsiteY0" fmla="*/ 0 h 5169529"/>
              <a:gd name="connsiteX1" fmla="*/ 292706 w 1097769"/>
              <a:gd name="connsiteY1" fmla="*/ 5169529 h 5169529"/>
              <a:gd name="connsiteX2" fmla="*/ 0 w 1097769"/>
              <a:gd name="connsiteY2" fmla="*/ 5169529 h 5169529"/>
              <a:gd name="connsiteX3" fmla="*/ 301759 w 1097769"/>
              <a:gd name="connsiteY3" fmla="*/ 0 h 5169529"/>
              <a:gd name="connsiteX0" fmla="*/ 301759 w 1081652"/>
              <a:gd name="connsiteY0" fmla="*/ 0 h 5169529"/>
              <a:gd name="connsiteX1" fmla="*/ 292706 w 1081652"/>
              <a:gd name="connsiteY1" fmla="*/ 5169529 h 5169529"/>
              <a:gd name="connsiteX2" fmla="*/ 0 w 1081652"/>
              <a:gd name="connsiteY2" fmla="*/ 5169529 h 5169529"/>
              <a:gd name="connsiteX3" fmla="*/ 301759 w 1081652"/>
              <a:gd name="connsiteY3" fmla="*/ 0 h 5169529"/>
              <a:gd name="connsiteX0" fmla="*/ 301759 w 1049879"/>
              <a:gd name="connsiteY0" fmla="*/ 0 h 5169529"/>
              <a:gd name="connsiteX1" fmla="*/ 292706 w 1049879"/>
              <a:gd name="connsiteY1" fmla="*/ 5169529 h 5169529"/>
              <a:gd name="connsiteX2" fmla="*/ 0 w 1049879"/>
              <a:gd name="connsiteY2" fmla="*/ 5169529 h 5169529"/>
              <a:gd name="connsiteX3" fmla="*/ 301759 w 1049879"/>
              <a:gd name="connsiteY3" fmla="*/ 0 h 5169529"/>
              <a:gd name="connsiteX0" fmla="*/ 301759 w 1034244"/>
              <a:gd name="connsiteY0" fmla="*/ 0 h 5169529"/>
              <a:gd name="connsiteX1" fmla="*/ 292706 w 1034244"/>
              <a:gd name="connsiteY1" fmla="*/ 5169529 h 5169529"/>
              <a:gd name="connsiteX2" fmla="*/ 0 w 1034244"/>
              <a:gd name="connsiteY2" fmla="*/ 5169529 h 5169529"/>
              <a:gd name="connsiteX3" fmla="*/ 301759 w 1034244"/>
              <a:gd name="connsiteY3" fmla="*/ 0 h 5169529"/>
              <a:gd name="connsiteX0" fmla="*/ 301759 w 1034244"/>
              <a:gd name="connsiteY0" fmla="*/ 0 h 5169529"/>
              <a:gd name="connsiteX1" fmla="*/ 292706 w 1034244"/>
              <a:gd name="connsiteY1" fmla="*/ 5169529 h 5169529"/>
              <a:gd name="connsiteX2" fmla="*/ 0 w 1034244"/>
              <a:gd name="connsiteY2" fmla="*/ 5169529 h 5169529"/>
              <a:gd name="connsiteX3" fmla="*/ 301759 w 1034244"/>
              <a:gd name="connsiteY3" fmla="*/ 0 h 5169529"/>
              <a:gd name="connsiteX0" fmla="*/ 301759 w 1030828"/>
              <a:gd name="connsiteY0" fmla="*/ 0 h 5169529"/>
              <a:gd name="connsiteX1" fmla="*/ 285672 w 1030828"/>
              <a:gd name="connsiteY1" fmla="*/ 5169529 h 5169529"/>
              <a:gd name="connsiteX2" fmla="*/ 0 w 1030828"/>
              <a:gd name="connsiteY2" fmla="*/ 5169529 h 5169529"/>
              <a:gd name="connsiteX3" fmla="*/ 301759 w 1030828"/>
              <a:gd name="connsiteY3" fmla="*/ 0 h 5169529"/>
              <a:gd name="connsiteX0" fmla="*/ 301759 w 1046406"/>
              <a:gd name="connsiteY0" fmla="*/ 0 h 5169529"/>
              <a:gd name="connsiteX1" fmla="*/ 285672 w 1046406"/>
              <a:gd name="connsiteY1" fmla="*/ 5169529 h 5169529"/>
              <a:gd name="connsiteX2" fmla="*/ 0 w 1046406"/>
              <a:gd name="connsiteY2" fmla="*/ 5169529 h 5169529"/>
              <a:gd name="connsiteX3" fmla="*/ 301759 w 1046406"/>
              <a:gd name="connsiteY3" fmla="*/ 0 h 5169529"/>
              <a:gd name="connsiteX0" fmla="*/ 319549 w 1055493"/>
              <a:gd name="connsiteY0" fmla="*/ 0 h 5137507"/>
              <a:gd name="connsiteX1" fmla="*/ 285672 w 1055493"/>
              <a:gd name="connsiteY1" fmla="*/ 5137507 h 5137507"/>
              <a:gd name="connsiteX2" fmla="*/ 0 w 1055493"/>
              <a:gd name="connsiteY2" fmla="*/ 5137507 h 5137507"/>
              <a:gd name="connsiteX3" fmla="*/ 319549 w 1055493"/>
              <a:gd name="connsiteY3" fmla="*/ 0 h 5137507"/>
              <a:gd name="connsiteX0" fmla="*/ 319549 w 1055493"/>
              <a:gd name="connsiteY0" fmla="*/ 0 h 5155297"/>
              <a:gd name="connsiteX1" fmla="*/ 285672 w 1055493"/>
              <a:gd name="connsiteY1" fmla="*/ 5155297 h 5155297"/>
              <a:gd name="connsiteX2" fmla="*/ 0 w 1055493"/>
              <a:gd name="connsiteY2" fmla="*/ 5155297 h 5155297"/>
              <a:gd name="connsiteX3" fmla="*/ 319549 w 1055493"/>
              <a:gd name="connsiteY3" fmla="*/ 0 h 5155297"/>
              <a:gd name="connsiteX0" fmla="*/ 319549 w 1054135"/>
              <a:gd name="connsiteY0" fmla="*/ 0 h 5155297"/>
              <a:gd name="connsiteX1" fmla="*/ 285672 w 1054135"/>
              <a:gd name="connsiteY1" fmla="*/ 5155297 h 5155297"/>
              <a:gd name="connsiteX2" fmla="*/ 0 w 1054135"/>
              <a:gd name="connsiteY2" fmla="*/ 5155297 h 5155297"/>
              <a:gd name="connsiteX3" fmla="*/ 319549 w 1054135"/>
              <a:gd name="connsiteY3" fmla="*/ 0 h 5155297"/>
              <a:gd name="connsiteX0" fmla="*/ 319549 w 1052777"/>
              <a:gd name="connsiteY0" fmla="*/ 0 h 5155297"/>
              <a:gd name="connsiteX1" fmla="*/ 285672 w 1052777"/>
              <a:gd name="connsiteY1" fmla="*/ 5155297 h 5155297"/>
              <a:gd name="connsiteX2" fmla="*/ 0 w 1052777"/>
              <a:gd name="connsiteY2" fmla="*/ 5155297 h 5155297"/>
              <a:gd name="connsiteX3" fmla="*/ 319549 w 1052777"/>
              <a:gd name="connsiteY3" fmla="*/ 0 h 5155297"/>
              <a:gd name="connsiteX0" fmla="*/ 319549 w 1052777"/>
              <a:gd name="connsiteY0" fmla="*/ 0 h 5155297"/>
              <a:gd name="connsiteX1" fmla="*/ 285672 w 1052777"/>
              <a:gd name="connsiteY1" fmla="*/ 5155297 h 5155297"/>
              <a:gd name="connsiteX2" fmla="*/ 0 w 1052777"/>
              <a:gd name="connsiteY2" fmla="*/ 5155297 h 5155297"/>
              <a:gd name="connsiteX3" fmla="*/ 319549 w 1052777"/>
              <a:gd name="connsiteY3" fmla="*/ 0 h 5155297"/>
              <a:gd name="connsiteX0" fmla="*/ 319549 w 1052777"/>
              <a:gd name="connsiteY0" fmla="*/ 0 h 5155297"/>
              <a:gd name="connsiteX1" fmla="*/ 285672 w 1052777"/>
              <a:gd name="connsiteY1" fmla="*/ 5155297 h 5155297"/>
              <a:gd name="connsiteX2" fmla="*/ 0 w 1052777"/>
              <a:gd name="connsiteY2" fmla="*/ 5155297 h 5155297"/>
              <a:gd name="connsiteX3" fmla="*/ 319549 w 1052777"/>
              <a:gd name="connsiteY3" fmla="*/ 0 h 5155297"/>
              <a:gd name="connsiteX0" fmla="*/ 319549 w 1052777"/>
              <a:gd name="connsiteY0" fmla="*/ 0 h 5155297"/>
              <a:gd name="connsiteX1" fmla="*/ 285672 w 1052777"/>
              <a:gd name="connsiteY1" fmla="*/ 5155297 h 5155297"/>
              <a:gd name="connsiteX2" fmla="*/ 0 w 1052777"/>
              <a:gd name="connsiteY2" fmla="*/ 5155297 h 5155297"/>
              <a:gd name="connsiteX3" fmla="*/ 319549 w 1052777"/>
              <a:gd name="connsiteY3" fmla="*/ 0 h 5155297"/>
              <a:gd name="connsiteX0" fmla="*/ 319549 w 1037922"/>
              <a:gd name="connsiteY0" fmla="*/ 0 h 5155297"/>
              <a:gd name="connsiteX1" fmla="*/ 285672 w 1037922"/>
              <a:gd name="connsiteY1" fmla="*/ 5155297 h 5155297"/>
              <a:gd name="connsiteX2" fmla="*/ 0 w 1037922"/>
              <a:gd name="connsiteY2" fmla="*/ 5155297 h 5155297"/>
              <a:gd name="connsiteX3" fmla="*/ 319549 w 1037922"/>
              <a:gd name="connsiteY3" fmla="*/ 0 h 5155297"/>
              <a:gd name="connsiteX0" fmla="*/ 319549 w 1037922"/>
              <a:gd name="connsiteY0" fmla="*/ 0 h 5155297"/>
              <a:gd name="connsiteX1" fmla="*/ 285672 w 1037922"/>
              <a:gd name="connsiteY1" fmla="*/ 5155297 h 5155297"/>
              <a:gd name="connsiteX2" fmla="*/ 0 w 1037922"/>
              <a:gd name="connsiteY2" fmla="*/ 5155297 h 5155297"/>
              <a:gd name="connsiteX3" fmla="*/ 319549 w 1037922"/>
              <a:gd name="connsiteY3" fmla="*/ 0 h 5155297"/>
              <a:gd name="connsiteX0" fmla="*/ 319549 w 1037922"/>
              <a:gd name="connsiteY0" fmla="*/ 0 h 5155297"/>
              <a:gd name="connsiteX1" fmla="*/ 285672 w 1037922"/>
              <a:gd name="connsiteY1" fmla="*/ 5155297 h 5155297"/>
              <a:gd name="connsiteX2" fmla="*/ 0 w 1037922"/>
              <a:gd name="connsiteY2" fmla="*/ 5155297 h 5155297"/>
              <a:gd name="connsiteX3" fmla="*/ 319549 w 1037922"/>
              <a:gd name="connsiteY3" fmla="*/ 0 h 5155297"/>
              <a:gd name="connsiteX0" fmla="*/ 314686 w 1035467"/>
              <a:gd name="connsiteY0" fmla="*/ 0 h 5160160"/>
              <a:gd name="connsiteX1" fmla="*/ 285672 w 1035467"/>
              <a:gd name="connsiteY1" fmla="*/ 5160160 h 5160160"/>
              <a:gd name="connsiteX2" fmla="*/ 0 w 1035467"/>
              <a:gd name="connsiteY2" fmla="*/ 5160160 h 5160160"/>
              <a:gd name="connsiteX3" fmla="*/ 314686 w 1035467"/>
              <a:gd name="connsiteY3" fmla="*/ 0 h 5160160"/>
              <a:gd name="connsiteX0" fmla="*/ 314686 w 1042817"/>
              <a:gd name="connsiteY0" fmla="*/ 0 h 5160160"/>
              <a:gd name="connsiteX1" fmla="*/ 285672 w 1042817"/>
              <a:gd name="connsiteY1" fmla="*/ 5160160 h 5160160"/>
              <a:gd name="connsiteX2" fmla="*/ 0 w 1042817"/>
              <a:gd name="connsiteY2" fmla="*/ 5160160 h 5160160"/>
              <a:gd name="connsiteX3" fmla="*/ 314686 w 1042817"/>
              <a:gd name="connsiteY3" fmla="*/ 0 h 5160160"/>
              <a:gd name="connsiteX0" fmla="*/ 291826 w 1031317"/>
              <a:gd name="connsiteY0" fmla="*/ 0 h 5153629"/>
              <a:gd name="connsiteX1" fmla="*/ 285672 w 1031317"/>
              <a:gd name="connsiteY1" fmla="*/ 5153629 h 5153629"/>
              <a:gd name="connsiteX2" fmla="*/ 0 w 1031317"/>
              <a:gd name="connsiteY2" fmla="*/ 5153629 h 5153629"/>
              <a:gd name="connsiteX3" fmla="*/ 291826 w 1031317"/>
              <a:gd name="connsiteY3" fmla="*/ 0 h 5153629"/>
              <a:gd name="connsiteX0" fmla="*/ 291826 w 1067180"/>
              <a:gd name="connsiteY0" fmla="*/ 0 h 5153629"/>
              <a:gd name="connsiteX1" fmla="*/ 285672 w 1067180"/>
              <a:gd name="connsiteY1" fmla="*/ 5153629 h 5153629"/>
              <a:gd name="connsiteX2" fmla="*/ 0 w 1067180"/>
              <a:gd name="connsiteY2" fmla="*/ 5153629 h 5153629"/>
              <a:gd name="connsiteX3" fmla="*/ 291826 w 1067180"/>
              <a:gd name="connsiteY3" fmla="*/ 0 h 5153629"/>
              <a:gd name="connsiteX0" fmla="*/ 291826 w 1067180"/>
              <a:gd name="connsiteY0" fmla="*/ 0 h 5153629"/>
              <a:gd name="connsiteX1" fmla="*/ 285672 w 1067180"/>
              <a:gd name="connsiteY1" fmla="*/ 5153629 h 5153629"/>
              <a:gd name="connsiteX2" fmla="*/ 0 w 1067180"/>
              <a:gd name="connsiteY2" fmla="*/ 5153629 h 5153629"/>
              <a:gd name="connsiteX3" fmla="*/ 291826 w 1067180"/>
              <a:gd name="connsiteY3" fmla="*/ 0 h 5153629"/>
              <a:gd name="connsiteX0" fmla="*/ 288560 w 1065497"/>
              <a:gd name="connsiteY0" fmla="*/ 0 h 5147098"/>
              <a:gd name="connsiteX1" fmla="*/ 285672 w 1065497"/>
              <a:gd name="connsiteY1" fmla="*/ 5147098 h 5147098"/>
              <a:gd name="connsiteX2" fmla="*/ 0 w 1065497"/>
              <a:gd name="connsiteY2" fmla="*/ 5147098 h 5147098"/>
              <a:gd name="connsiteX3" fmla="*/ 288560 w 1065497"/>
              <a:gd name="connsiteY3" fmla="*/ 0 h 5147098"/>
              <a:gd name="connsiteX0" fmla="*/ 288560 w 1096906"/>
              <a:gd name="connsiteY0" fmla="*/ 0 h 5147098"/>
              <a:gd name="connsiteX1" fmla="*/ 285672 w 1096906"/>
              <a:gd name="connsiteY1" fmla="*/ 5147098 h 5147098"/>
              <a:gd name="connsiteX2" fmla="*/ 0 w 1096906"/>
              <a:gd name="connsiteY2" fmla="*/ 5147098 h 5147098"/>
              <a:gd name="connsiteX3" fmla="*/ 288560 w 1096906"/>
              <a:gd name="connsiteY3" fmla="*/ 0 h 5147098"/>
              <a:gd name="connsiteX0" fmla="*/ 288560 w 1096906"/>
              <a:gd name="connsiteY0" fmla="*/ 0 h 5147098"/>
              <a:gd name="connsiteX1" fmla="*/ 285672 w 1096906"/>
              <a:gd name="connsiteY1" fmla="*/ 5147098 h 5147098"/>
              <a:gd name="connsiteX2" fmla="*/ 0 w 1096906"/>
              <a:gd name="connsiteY2" fmla="*/ 5147098 h 5147098"/>
              <a:gd name="connsiteX3" fmla="*/ 288560 w 1096906"/>
              <a:gd name="connsiteY3" fmla="*/ 0 h 5147098"/>
              <a:gd name="connsiteX0" fmla="*/ 204061 w 1053504"/>
              <a:gd name="connsiteY0" fmla="*/ 0 h 5147098"/>
              <a:gd name="connsiteX1" fmla="*/ 285672 w 1053504"/>
              <a:gd name="connsiteY1" fmla="*/ 5147098 h 5147098"/>
              <a:gd name="connsiteX2" fmla="*/ 0 w 1053504"/>
              <a:gd name="connsiteY2" fmla="*/ 5147098 h 5147098"/>
              <a:gd name="connsiteX3" fmla="*/ 204061 w 1053504"/>
              <a:gd name="connsiteY3" fmla="*/ 0 h 5147098"/>
              <a:gd name="connsiteX0" fmla="*/ 242161 w 1091604"/>
              <a:gd name="connsiteY0" fmla="*/ 0 h 5147098"/>
              <a:gd name="connsiteX1" fmla="*/ 323772 w 1091604"/>
              <a:gd name="connsiteY1" fmla="*/ 5147098 h 5147098"/>
              <a:gd name="connsiteX2" fmla="*/ 0 w 1091604"/>
              <a:gd name="connsiteY2" fmla="*/ 5147098 h 5147098"/>
              <a:gd name="connsiteX3" fmla="*/ 242161 w 1091604"/>
              <a:gd name="connsiteY3" fmla="*/ 0 h 5147098"/>
              <a:gd name="connsiteX0" fmla="*/ 242161 w 1091604"/>
              <a:gd name="connsiteY0" fmla="*/ 0 h 5147098"/>
              <a:gd name="connsiteX1" fmla="*/ 323772 w 1091604"/>
              <a:gd name="connsiteY1" fmla="*/ 5147098 h 5147098"/>
              <a:gd name="connsiteX2" fmla="*/ 0 w 1091604"/>
              <a:gd name="connsiteY2" fmla="*/ 5147098 h 5147098"/>
              <a:gd name="connsiteX3" fmla="*/ 242161 w 1091604"/>
              <a:gd name="connsiteY3" fmla="*/ 0 h 5147098"/>
              <a:gd name="connsiteX0" fmla="*/ 242161 w 1091604"/>
              <a:gd name="connsiteY0" fmla="*/ 0 h 5147098"/>
              <a:gd name="connsiteX1" fmla="*/ 323772 w 1091604"/>
              <a:gd name="connsiteY1" fmla="*/ 5147098 h 5147098"/>
              <a:gd name="connsiteX2" fmla="*/ 0 w 1091604"/>
              <a:gd name="connsiteY2" fmla="*/ 5147098 h 5147098"/>
              <a:gd name="connsiteX3" fmla="*/ 242161 w 1091604"/>
              <a:gd name="connsiteY3" fmla="*/ 0 h 5147098"/>
              <a:gd name="connsiteX0" fmla="*/ 346963 w 1145801"/>
              <a:gd name="connsiteY0" fmla="*/ 0 h 5154958"/>
              <a:gd name="connsiteX1" fmla="*/ 323772 w 1145801"/>
              <a:gd name="connsiteY1" fmla="*/ 5154958 h 5154958"/>
              <a:gd name="connsiteX2" fmla="*/ 0 w 1145801"/>
              <a:gd name="connsiteY2" fmla="*/ 5154958 h 5154958"/>
              <a:gd name="connsiteX3" fmla="*/ 346963 w 1145801"/>
              <a:gd name="connsiteY3" fmla="*/ 0 h 5154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5801" h="5154958">
                <a:moveTo>
                  <a:pt x="346963" y="0"/>
                </a:moveTo>
                <a:cubicBezTo>
                  <a:pt x="1503833" y="1879282"/>
                  <a:pt x="1323265" y="3584062"/>
                  <a:pt x="323772" y="5154958"/>
                </a:cubicBezTo>
                <a:lnTo>
                  <a:pt x="0" y="5154958"/>
                </a:lnTo>
                <a:cubicBezTo>
                  <a:pt x="1140463" y="3599315"/>
                  <a:pt x="1290903" y="1893588"/>
                  <a:pt x="346963" y="0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7755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42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9" name="그림 8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1" y="3"/>
            <a:ext cx="10387751" cy="7257339"/>
          </a:xfrm>
          <a:prstGeom prst="rect">
            <a:avLst/>
          </a:prstGeom>
        </p:spPr>
      </p:pic>
      <p:grpSp>
        <p:nvGrpSpPr>
          <p:cNvPr id="12" name="Group 7"/>
          <p:cNvGrpSpPr/>
          <p:nvPr userDrawn="1"/>
        </p:nvGrpSpPr>
        <p:grpSpPr>
          <a:xfrm>
            <a:off x="9213259" y="6864793"/>
            <a:ext cx="871490" cy="203111"/>
            <a:chOff x="7934433" y="3003797"/>
            <a:chExt cx="767433" cy="144000"/>
          </a:xfrm>
        </p:grpSpPr>
        <p:sp>
          <p:nvSpPr>
            <p:cNvPr id="13" name="Rectangle 8"/>
            <p:cNvSpPr/>
            <p:nvPr/>
          </p:nvSpPr>
          <p:spPr>
            <a:xfrm>
              <a:off x="7934433" y="3003797"/>
              <a:ext cx="144000" cy="14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755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422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4" name="Rectangle 9"/>
            <p:cNvSpPr/>
            <p:nvPr/>
          </p:nvSpPr>
          <p:spPr>
            <a:xfrm>
              <a:off x="8142244" y="3003797"/>
              <a:ext cx="144000" cy="14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755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422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5" name="Rectangle 10"/>
            <p:cNvSpPr/>
            <p:nvPr/>
          </p:nvSpPr>
          <p:spPr>
            <a:xfrm>
              <a:off x="8350055" y="3003797"/>
              <a:ext cx="144000" cy="144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755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422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6" name="Rectangle 11"/>
            <p:cNvSpPr/>
            <p:nvPr/>
          </p:nvSpPr>
          <p:spPr>
            <a:xfrm>
              <a:off x="8557866" y="3003797"/>
              <a:ext cx="144000" cy="144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755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422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endParaRPr>
            </a:p>
          </p:txBody>
        </p:sp>
      </p:grpSp>
      <p:sp>
        <p:nvSpPr>
          <p:cNvPr id="18" name="Rectangle 5"/>
          <p:cNvSpPr>
            <a:spLocks noChangeArrowheads="1"/>
          </p:cNvSpPr>
          <p:nvPr userDrawn="1"/>
        </p:nvSpPr>
        <p:spPr bwMode="auto">
          <a:xfrm>
            <a:off x="8770385" y="421797"/>
            <a:ext cx="1417329" cy="251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5412" tIns="47708" rIns="95412" bIns="47708"/>
          <a:lstStyle/>
          <a:p>
            <a:pPr marL="0" marR="0" lvl="0" indent="0" algn="r" defTabSz="95471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44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fld id="{16B1565D-7790-4B20-9C8C-6E71895AF331}" type="slidenum">
              <a:rPr kumimoji="0" lang="ko-KR" altLang="en-US" sz="1344" b="1" i="0" u="none" strike="noStrike" kern="1200" cap="none" spc="0" normalizeH="0" baseline="0" noProof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pPr marL="0" marR="0" lvl="0" indent="0" algn="r" defTabSz="95471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344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88153" y="6985351"/>
            <a:ext cx="6777856" cy="2400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5471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※ </a:t>
            </a:r>
            <a:r>
              <a:rPr kumimoji="0" lang="ko-KR" altLang="en-US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본 자료는 컨설턴트 교육용으로 </a:t>
            </a:r>
            <a:r>
              <a:rPr kumimoji="0" lang="ko-KR" altLang="en-US" sz="960" b="1" i="0" u="none" strike="noStrike" kern="1200" cap="none" spc="0" normalizeH="0" baseline="0" noProof="0" dirty="0" err="1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환급금</a:t>
            </a:r>
            <a:r>
              <a:rPr kumimoji="0" lang="ko-KR" altLang="en-US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 및 보험금 지급의 근거가 될 수 없으며 고객안내자료로 활용할 수 없습니다</a:t>
            </a:r>
            <a:r>
              <a:rPr kumimoji="0" lang="en-US" altLang="ko-KR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.</a:t>
            </a:r>
            <a:endParaRPr kumimoji="0" lang="ko-KR" altLang="en-US" sz="960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교보서체 Bold" panose="020B0600000101010101" pitchFamily="50" charset="-127"/>
              <a:ea typeface="교보서체 Bold" panose="020B0600000101010101" pitchFamily="50" charset="-127"/>
              <a:cs typeface="+mn-cs"/>
            </a:endParaRPr>
          </a:p>
        </p:txBody>
      </p:sp>
      <p:pic>
        <p:nvPicPr>
          <p:cNvPr id="22" name="그림 2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8943" y="178754"/>
            <a:ext cx="698459" cy="288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432403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4338408"/>
            <a:ext cx="10383838" cy="2336037"/>
          </a:xfrm>
          <a:prstGeom prst="rect">
            <a:avLst/>
          </a:prstGeom>
          <a:solidFill>
            <a:schemeClr val="bg1">
              <a:alpha val="8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7755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2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+mn-ea"/>
              <a:cs typeface="+mn-cs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6774996"/>
            <a:ext cx="10383838" cy="10156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7755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2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+mn-ea"/>
              <a:cs typeface="+mn-cs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6671367"/>
            <a:ext cx="10383838" cy="10156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7755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2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+mn-ea"/>
              <a:cs typeface="+mn-cs"/>
            </a:endParaRPr>
          </a:p>
        </p:txBody>
      </p:sp>
      <p:grpSp>
        <p:nvGrpSpPr>
          <p:cNvPr id="7" name="Group 7"/>
          <p:cNvGrpSpPr/>
          <p:nvPr userDrawn="1"/>
        </p:nvGrpSpPr>
        <p:grpSpPr>
          <a:xfrm>
            <a:off x="9213259" y="6965343"/>
            <a:ext cx="871490" cy="203111"/>
            <a:chOff x="7934433" y="3003797"/>
            <a:chExt cx="767433" cy="144000"/>
          </a:xfrm>
        </p:grpSpPr>
        <p:sp>
          <p:nvSpPr>
            <p:cNvPr id="8" name="Rectangle 8"/>
            <p:cNvSpPr/>
            <p:nvPr/>
          </p:nvSpPr>
          <p:spPr>
            <a:xfrm>
              <a:off x="7934433" y="3003797"/>
              <a:ext cx="144000" cy="144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755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422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9" name="Rectangle 9"/>
            <p:cNvSpPr/>
            <p:nvPr/>
          </p:nvSpPr>
          <p:spPr>
            <a:xfrm>
              <a:off x="8142244" y="3003797"/>
              <a:ext cx="144000" cy="14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755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422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2" name="Rectangle 10"/>
            <p:cNvSpPr/>
            <p:nvPr/>
          </p:nvSpPr>
          <p:spPr>
            <a:xfrm>
              <a:off x="8350055" y="3003797"/>
              <a:ext cx="144000" cy="144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755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422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13" name="Rectangle 11"/>
            <p:cNvSpPr/>
            <p:nvPr/>
          </p:nvSpPr>
          <p:spPr>
            <a:xfrm>
              <a:off x="8557866" y="3003797"/>
              <a:ext cx="144000" cy="144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755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422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endParaRPr>
            </a:p>
          </p:txBody>
        </p:sp>
      </p:grpSp>
      <p:pic>
        <p:nvPicPr>
          <p:cNvPr id="14" name="그림 13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1" y="3"/>
            <a:ext cx="10387751" cy="7257339"/>
          </a:xfrm>
          <a:prstGeom prst="rect">
            <a:avLst/>
          </a:prstGeom>
        </p:spPr>
      </p:pic>
      <p:sp>
        <p:nvSpPr>
          <p:cNvPr id="16" name="Rectangle 5"/>
          <p:cNvSpPr>
            <a:spLocks noChangeArrowheads="1"/>
          </p:cNvSpPr>
          <p:nvPr userDrawn="1"/>
        </p:nvSpPr>
        <p:spPr bwMode="auto">
          <a:xfrm>
            <a:off x="8770385" y="421797"/>
            <a:ext cx="1417329" cy="251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5412" tIns="47708" rIns="95412" bIns="47708"/>
          <a:lstStyle/>
          <a:p>
            <a:pPr marL="0" marR="0" lvl="0" indent="0" algn="r" defTabSz="95471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44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fld id="{16B1565D-7790-4B20-9C8C-6E71895AF331}" type="slidenum">
              <a:rPr kumimoji="0" lang="ko-KR" altLang="en-US" sz="1344" b="1" i="0" u="none" strike="noStrike" kern="1200" cap="none" spc="0" normalizeH="0" baseline="0" noProof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pPr marL="0" marR="0" lvl="0" indent="0" algn="r" defTabSz="95471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344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17" name="그림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8943" y="178754"/>
            <a:ext cx="698459" cy="288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22992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1" y="3"/>
            <a:ext cx="10387751" cy="7257339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8943" y="178754"/>
            <a:ext cx="698459" cy="288239"/>
          </a:xfrm>
          <a:prstGeom prst="rect">
            <a:avLst/>
          </a:prstGeom>
        </p:spPr>
      </p:pic>
      <p:pic>
        <p:nvPicPr>
          <p:cNvPr id="7" name="그림 6"/>
          <p:cNvPicPr>
            <a:picLocks noChangeAspect="1"/>
          </p:cNvPicPr>
          <p:nvPr userDrawn="1"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941083" y="6518231"/>
            <a:ext cx="1147176" cy="567871"/>
          </a:xfrm>
          <a:prstGeom prst="rect">
            <a:avLst/>
          </a:prstGeom>
        </p:spPr>
      </p:pic>
      <p:sp>
        <p:nvSpPr>
          <p:cNvPr id="8" name="Rectangle 5"/>
          <p:cNvSpPr>
            <a:spLocks noChangeArrowheads="1"/>
          </p:cNvSpPr>
          <p:nvPr userDrawn="1"/>
        </p:nvSpPr>
        <p:spPr bwMode="auto">
          <a:xfrm>
            <a:off x="8770385" y="421797"/>
            <a:ext cx="1417329" cy="251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5412" tIns="47708" rIns="95412" bIns="47708"/>
          <a:lstStyle/>
          <a:p>
            <a:pPr marL="0" marR="0" lvl="0" indent="0" algn="r" defTabSz="95471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44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fld id="{16B1565D-7790-4B20-9C8C-6E71895AF331}" type="slidenum">
              <a:rPr kumimoji="0" lang="ko-KR" altLang="en-US" sz="1344" b="1" i="0" u="none" strike="noStrike" kern="1200" cap="none" spc="0" normalizeH="0" baseline="0" noProof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pPr marL="0" marR="0" lvl="0" indent="0" algn="r" defTabSz="95471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344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714671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157431" y="6983884"/>
            <a:ext cx="4369730" cy="2400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5443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6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※ </a:t>
            </a:r>
            <a:r>
              <a:rPr kumimoji="0" lang="ko-KR" altLang="en-US" sz="96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본 교육자료는 컨설턴트 교육용으로 고객안내자료로 활용할 수 없습니다</a:t>
            </a:r>
            <a:r>
              <a:rPr kumimoji="0" lang="en-US" altLang="ko-KR" sz="96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.</a:t>
            </a:r>
            <a:endParaRPr kumimoji="0" lang="ko-KR" altLang="en-US" sz="96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교보서체 Bold" panose="020B0600000101010101" pitchFamily="50" charset="-127"/>
              <a:ea typeface="교보서체 Bold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731048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766" y="674"/>
            <a:ext cx="10387754" cy="7257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00734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 rotWithShape="1">
          <a:blip r:embed="rId2" cstate="print"/>
          <a:srcRect b="90962"/>
          <a:stretch/>
        </p:blipFill>
        <p:spPr>
          <a:xfrm>
            <a:off x="768" y="671"/>
            <a:ext cx="10387752" cy="655939"/>
          </a:xfrm>
          <a:prstGeom prst="rect">
            <a:avLst/>
          </a:prstGeom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01514DE5-7576-9AFB-71B5-219D68B864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/>
          <a:srcRect b="6575"/>
          <a:stretch/>
        </p:blipFill>
        <p:spPr>
          <a:xfrm>
            <a:off x="768" y="672"/>
            <a:ext cx="10387752" cy="6780179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0" y="6997007"/>
            <a:ext cx="9728423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ko-KR" altLang="en-US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본 자료는 </a:t>
            </a:r>
            <a:r>
              <a:rPr lang="en-US" altLang="ko-KR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GA</a:t>
            </a:r>
            <a:r>
              <a:rPr lang="ko-KR" altLang="en-US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교육용 </a:t>
            </a:r>
            <a:r>
              <a:rPr lang="ko-KR" altLang="en-US" sz="1000" dirty="0" smtClean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요약 자료이며</a:t>
            </a:r>
            <a:r>
              <a:rPr lang="en-US" altLang="ko-KR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고객에게 제시 및 교부를 금지합니다</a:t>
            </a:r>
            <a:r>
              <a:rPr lang="en-US" altLang="ko-KR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정확한 내용은 약관과 상품설명서를 확인하시기 바랍니다</a:t>
            </a:r>
            <a:r>
              <a:rPr lang="en-US" altLang="ko-KR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endParaRPr lang="ko-KR" altLang="en-US" sz="1000" dirty="0">
              <a:solidFill>
                <a:srgbClr val="FF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8" name="모서리가 둥근 직사각형 7"/>
          <p:cNvSpPr/>
          <p:nvPr userDrawn="1"/>
        </p:nvSpPr>
        <p:spPr>
          <a:xfrm>
            <a:off x="7963288" y="556924"/>
            <a:ext cx="1117064" cy="166755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100" dirty="0" smtClean="0"/>
              <a:t>고객 제시 불가</a:t>
            </a:r>
            <a:endParaRPr lang="ko-KR" altLang="en-US" sz="1100" dirty="0"/>
          </a:p>
        </p:txBody>
      </p:sp>
      <p:sp>
        <p:nvSpPr>
          <p:cNvPr id="9" name="모서리가 둥근 직사각형 8"/>
          <p:cNvSpPr/>
          <p:nvPr userDrawn="1"/>
        </p:nvSpPr>
        <p:spPr>
          <a:xfrm>
            <a:off x="9116162" y="556922"/>
            <a:ext cx="854113" cy="166756"/>
          </a:xfrm>
          <a:prstGeom prst="roundRect">
            <a:avLst/>
          </a:prstGeom>
          <a:solidFill>
            <a:schemeClr val="tx2">
              <a:lumMod val="50000"/>
            </a:schemeClr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1100" dirty="0" smtClean="0"/>
              <a:t>GA </a:t>
            </a:r>
            <a:r>
              <a:rPr lang="ko-KR" altLang="en-US" sz="1100" dirty="0" smtClean="0"/>
              <a:t>교육용</a:t>
            </a:r>
            <a:endParaRPr lang="ko-KR" altLang="en-US" sz="1100" dirty="0"/>
          </a:p>
        </p:txBody>
      </p:sp>
      <p:sp>
        <p:nvSpPr>
          <p:cNvPr id="10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8000231" y="6861904"/>
            <a:ext cx="2422896" cy="38625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2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78733"/>
            <a:fld id="{2747D207-944B-4363-884F-A02296F6E65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 defTabSz="778733"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5901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>
          <a:xfrm>
            <a:off x="768" y="483555"/>
            <a:ext cx="10387751" cy="6769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811397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768" y="674"/>
            <a:ext cx="10387751" cy="7257341"/>
          </a:xfrm>
          <a:prstGeom prst="rect">
            <a:avLst/>
          </a:prstGeom>
        </p:spPr>
      </p:pic>
      <p:sp>
        <p:nvSpPr>
          <p:cNvPr id="3" name="슬라이드 번호 개체 틀 13"/>
          <p:cNvSpPr txBox="1">
            <a:spLocks/>
          </p:cNvSpPr>
          <p:nvPr userDrawn="1"/>
        </p:nvSpPr>
        <p:spPr>
          <a:xfrm>
            <a:off x="8963208" y="6893845"/>
            <a:ext cx="1341150" cy="27541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67344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A4815AA-4294-46C5-8162-E60AAA9246E2}" type="slidenum">
              <a:rPr kumimoji="1" lang="en-US" altLang="ko-KR" sz="1058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Arial" pitchFamily="34" charset="0"/>
              </a:rPr>
              <a:pPr marL="0" marR="0" lvl="0" indent="0" algn="r" defTabSz="967344" rtl="0" eaLnBrk="1" fontAlgn="base" latin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en-US" altLang="ko-KR" sz="1058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42189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Main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8" y="7942"/>
            <a:ext cx="10382306" cy="7253536"/>
          </a:xfrm>
          <a:prstGeom prst="rect">
            <a:avLst/>
          </a:prstGeom>
        </p:spPr>
      </p:pic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>
          <a:xfrm>
            <a:off x="9988692" y="6976932"/>
            <a:ext cx="397232" cy="277944"/>
          </a:xfrm>
          <a:prstGeom prst="rect">
            <a:avLst/>
          </a:prstGeom>
        </p:spPr>
        <p:txBody>
          <a:bodyPr lIns="0" rIns="0"/>
          <a:lstStyle>
            <a:lvl1pPr algn="ctr">
              <a:defRPr kumimoji="1" lang="ko-KR" altLang="en-US" sz="926" b="1" i="0" u="none" strike="noStrike" kern="1200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명조" pitchFamily="18" charset="-127"/>
                <a:ea typeface="나눔명조" pitchFamily="18" charset="-127"/>
                <a:cs typeface="+mn-cs"/>
              </a:defRPr>
            </a:lvl1pPr>
          </a:lstStyle>
          <a:p>
            <a:pPr defTabSz="845493">
              <a:defRPr/>
            </a:pPr>
            <a:fld id="{2747D207-944B-4363-884F-A02296F6E654}" type="slidenum">
              <a:rPr lang="en-US" altLang="ko-KR" smtClean="0"/>
              <a:pPr defTabSz="845493"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571046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42347"/>
            <a:ext cx="10388744" cy="72582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직사각형 2"/>
          <p:cNvSpPr/>
          <p:nvPr userDrawn="1"/>
        </p:nvSpPr>
        <p:spPr>
          <a:xfrm>
            <a:off x="8623215" y="243061"/>
            <a:ext cx="1537257" cy="317046"/>
          </a:xfrm>
          <a:prstGeom prst="rect">
            <a:avLst/>
          </a:prstGeom>
          <a:noFill/>
          <a:ln w="31750">
            <a:solidFill>
              <a:schemeClr val="bg1">
                <a:lumMod val="65000"/>
              </a:schemeClr>
            </a:solidFill>
          </a:ln>
        </p:spPr>
        <p:txBody>
          <a:bodyPr wrap="square" lIns="34458" tIns="34458" rIns="34458" bIns="34458" anchor="ctr" anchorCtr="0">
            <a:noAutofit/>
          </a:bodyPr>
          <a:lstStyle/>
          <a:p>
            <a:pPr marL="0" marR="0" lvl="0" indent="0" algn="ctr" defTabSz="87755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5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115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115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115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115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  <p:grpSp>
        <p:nvGrpSpPr>
          <p:cNvPr id="4" name="그룹 3"/>
          <p:cNvGrpSpPr/>
          <p:nvPr userDrawn="1"/>
        </p:nvGrpSpPr>
        <p:grpSpPr>
          <a:xfrm>
            <a:off x="432036" y="6436115"/>
            <a:ext cx="6632092" cy="633000"/>
            <a:chOff x="-175214" y="6214576"/>
            <a:chExt cx="6826769" cy="659594"/>
          </a:xfrm>
        </p:grpSpPr>
        <p:sp>
          <p:nvSpPr>
            <p:cNvPr id="5" name="직사각형 4"/>
            <p:cNvSpPr/>
            <p:nvPr userDrawn="1"/>
          </p:nvSpPr>
          <p:spPr>
            <a:xfrm>
              <a:off x="-97288" y="6214576"/>
              <a:ext cx="6748843" cy="659594"/>
            </a:xfrm>
            <a:prstGeom prst="rect">
              <a:avLst/>
            </a:prstGeom>
            <a:ln w="12700">
              <a:noFill/>
            </a:ln>
          </p:spPr>
          <p:txBody>
            <a:bodyPr wrap="square" anchor="ctr" anchorCtr="0">
              <a:noAutofit/>
            </a:bodyPr>
            <a:lstStyle/>
            <a:p>
              <a:pPr marL="0" marR="0" lvl="0" indent="0" algn="l" defTabSz="877550" rtl="0" eaLnBrk="1" fontAlgn="auto" latinLnBrk="1" hangingPunct="1">
                <a:lnSpc>
                  <a:spcPts val="1823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나눔고딕" pitchFamily="50" charset="-127"/>
                  <a:ea typeface="나눔고딕" pitchFamily="50" charset="-127"/>
                  <a:cs typeface="+mn-cs"/>
                </a:rPr>
                <a:t>             본 자료는 교육을 목적으로 한 자료로 고객에게 제시</a:t>
              </a:r>
              <a:r>
                <a:rPr kumimoji="0" lang="en-US" altLang="ko-KR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나눔고딕" pitchFamily="50" charset="-127"/>
                  <a:ea typeface="나눔고딕" pitchFamily="50" charset="-127"/>
                  <a:cs typeface="+mn-cs"/>
                </a:rPr>
                <a:t> · </a:t>
              </a:r>
              <a:r>
                <a:rPr kumimoji="0" lang="ko-KR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나눔고딕" pitchFamily="50" charset="-127"/>
                  <a:ea typeface="나눔고딕" pitchFamily="50" charset="-127"/>
                  <a:cs typeface="+mn-cs"/>
                </a:rPr>
                <a:t>교부해서 사용할 수 없습니다</a:t>
              </a:r>
              <a:r>
                <a:rPr kumimoji="0" lang="en-US" altLang="ko-KR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나눔고딕" pitchFamily="50" charset="-127"/>
                  <a:ea typeface="나눔고딕" pitchFamily="50" charset="-127"/>
                  <a:cs typeface="+mn-cs"/>
                </a:rPr>
                <a:t>.</a:t>
              </a:r>
            </a:p>
            <a:p>
              <a:pPr marL="0" marR="0" lvl="0" indent="0" algn="l" defTabSz="877550" rtl="0" eaLnBrk="1" fontAlgn="auto" latinLnBrk="1" hangingPunct="1">
                <a:lnSpc>
                  <a:spcPts val="1823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나눔고딕" pitchFamily="50" charset="-127"/>
                  <a:ea typeface="나눔고딕" pitchFamily="50" charset="-127"/>
                  <a:cs typeface="+mn-cs"/>
                </a:rPr>
                <a:t>             또한 어떠한 경우에도 고객용 자료로 재편집하여 사용하거나 제공해서는 안됩니다</a:t>
              </a:r>
              <a:r>
                <a:rPr kumimoji="0" lang="en-US" altLang="ko-KR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나눔고딕" pitchFamily="50" charset="-127"/>
                  <a:ea typeface="나눔고딕" pitchFamily="50" charset="-127"/>
                  <a:cs typeface="+mn-cs"/>
                </a:rPr>
                <a:t>.</a:t>
              </a:r>
            </a:p>
          </p:txBody>
        </p:sp>
        <p:sp>
          <p:nvSpPr>
            <p:cNvPr id="6" name="직사각형 5"/>
            <p:cNvSpPr/>
            <p:nvPr/>
          </p:nvSpPr>
          <p:spPr>
            <a:xfrm>
              <a:off x="-175214" y="6274373"/>
              <a:ext cx="540000" cy="5400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wrap="none" lIns="54000" tIns="36000" rIns="54000" bIns="36000" anchor="ctr">
              <a:noAutofit/>
            </a:bodyPr>
            <a:lstStyle/>
            <a:p>
              <a:pPr marL="0" marR="0" lvl="0" indent="0" algn="ctr" defTabSz="87755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48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나눔고딕 ExtraBold" pitchFamily="50" charset="-127"/>
                  <a:ea typeface="나눔고딕 ExtraBold" pitchFamily="50" charset="-127"/>
                  <a:cs typeface="+mn-cs"/>
                </a:rPr>
                <a:t>교육용</a:t>
              </a:r>
              <a:endParaRPr kumimoji="0" lang="ko-KR" altLang="en-US" sz="124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 ExtraBold" pitchFamily="50" charset="-127"/>
                <a:ea typeface="나눔고딕 ExtraBold" pitchFamily="50" charset="-127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2214299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03" y="2"/>
            <a:ext cx="10387751" cy="7257341"/>
          </a:xfrm>
          <a:prstGeom prst="rect">
            <a:avLst/>
          </a:prstGeom>
        </p:spPr>
      </p:pic>
      <p:sp>
        <p:nvSpPr>
          <p:cNvPr id="4" name="직사각형 3"/>
          <p:cNvSpPr/>
          <p:nvPr userDrawn="1"/>
        </p:nvSpPr>
        <p:spPr>
          <a:xfrm>
            <a:off x="8864327" y="243061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470" tIns="35470" rIns="35470" bIns="35470" anchor="ctr" anchorCtr="0">
            <a:noAutofit/>
          </a:bodyPr>
          <a:lstStyle/>
          <a:p>
            <a:pPr marL="0" marR="0" lvl="0" indent="0" algn="ctr" defTabSz="87755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8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98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98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98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98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88153" y="6985351"/>
            <a:ext cx="6777856" cy="2400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5471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6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※ </a:t>
            </a:r>
            <a:r>
              <a:rPr kumimoji="0" lang="ko-KR" altLang="en-US" sz="96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본 자료는 컨설턴트 교육용으로 </a:t>
            </a:r>
            <a:r>
              <a:rPr kumimoji="0" lang="ko-KR" altLang="en-US" sz="96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환급금</a:t>
            </a:r>
            <a:r>
              <a:rPr kumimoji="0" lang="ko-KR" altLang="en-US" sz="96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 및 보험금 지급의 근거가 될 수 없으며 고객안내자료로 활용할 수 없습니다</a:t>
            </a:r>
            <a:r>
              <a:rPr kumimoji="0" lang="en-US" altLang="ko-KR" sz="96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.</a:t>
            </a:r>
            <a:endParaRPr kumimoji="0" lang="ko-KR" altLang="en-US" sz="96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교보서체 Bold" panose="020B0600000101010101" pitchFamily="50" charset="-127"/>
              <a:ea typeface="교보서체 Bold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982735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1"/>
            <a:ext cx="10383838" cy="7246750"/>
          </a:xfrm>
          <a:prstGeom prst="rect">
            <a:avLst/>
          </a:prstGeom>
        </p:spPr>
      </p:pic>
      <p:sp>
        <p:nvSpPr>
          <p:cNvPr id="87" name="TextBox 86"/>
          <p:cNvSpPr txBox="1"/>
          <p:nvPr userDrawn="1"/>
        </p:nvSpPr>
        <p:spPr>
          <a:xfrm>
            <a:off x="88153" y="6985351"/>
            <a:ext cx="6777856" cy="2400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5471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※ </a:t>
            </a:r>
            <a:r>
              <a:rPr kumimoji="0" lang="ko-KR" altLang="en-US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본 자료는 컨설턴트 교육용으로 </a:t>
            </a:r>
            <a:r>
              <a:rPr kumimoji="0" lang="ko-KR" altLang="en-US" sz="960" b="1" i="0" u="none" strike="noStrike" kern="1200" cap="none" spc="0" normalizeH="0" baseline="0" noProof="0" dirty="0" err="1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환급금</a:t>
            </a:r>
            <a:r>
              <a:rPr kumimoji="0" lang="ko-KR" altLang="en-US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 및 보험금 지급의 근거가 될 수 없으며 고객안내자료로 활용할 수 없습니다</a:t>
            </a:r>
            <a:r>
              <a:rPr kumimoji="0" lang="en-US" altLang="ko-KR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.</a:t>
            </a:r>
            <a:endParaRPr kumimoji="0" lang="ko-KR" altLang="en-US" sz="960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교보서체 Bold" panose="020B0600000101010101" pitchFamily="50" charset="-127"/>
              <a:ea typeface="교보서체 Bold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359307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Images and Contents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" y="4295930"/>
            <a:ext cx="10394654" cy="2958944"/>
          </a:xfrm>
          <a:custGeom>
            <a:avLst/>
            <a:gdLst>
              <a:gd name="connsiteX0" fmla="*/ 0 w 9144000"/>
              <a:gd name="connsiteY0" fmla="*/ 0 h 1059582"/>
              <a:gd name="connsiteX1" fmla="*/ 9144000 w 9144000"/>
              <a:gd name="connsiteY1" fmla="*/ 0 h 1059582"/>
              <a:gd name="connsiteX2" fmla="*/ 9144000 w 9144000"/>
              <a:gd name="connsiteY2" fmla="*/ 1059582 h 1059582"/>
              <a:gd name="connsiteX3" fmla="*/ 0 w 9144000"/>
              <a:gd name="connsiteY3" fmla="*/ 1059582 h 1059582"/>
              <a:gd name="connsiteX4" fmla="*/ 0 w 9144000"/>
              <a:gd name="connsiteY4" fmla="*/ 0 h 1059582"/>
              <a:gd name="connsiteX0" fmla="*/ 0 w 9153525"/>
              <a:gd name="connsiteY0" fmla="*/ 1038225 h 2097807"/>
              <a:gd name="connsiteX1" fmla="*/ 9153525 w 9153525"/>
              <a:gd name="connsiteY1" fmla="*/ 0 h 2097807"/>
              <a:gd name="connsiteX2" fmla="*/ 9144000 w 9153525"/>
              <a:gd name="connsiteY2" fmla="*/ 2097807 h 2097807"/>
              <a:gd name="connsiteX3" fmla="*/ 0 w 9153525"/>
              <a:gd name="connsiteY3" fmla="*/ 2097807 h 2097807"/>
              <a:gd name="connsiteX4" fmla="*/ 0 w 9153525"/>
              <a:gd name="connsiteY4" fmla="*/ 1038225 h 2097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3525" h="2097807">
                <a:moveTo>
                  <a:pt x="0" y="1038225"/>
                </a:moveTo>
                <a:lnTo>
                  <a:pt x="9153525" y="0"/>
                </a:lnTo>
                <a:lnTo>
                  <a:pt x="9144000" y="2097807"/>
                </a:lnTo>
                <a:lnTo>
                  <a:pt x="0" y="2097807"/>
                </a:lnTo>
                <a:lnTo>
                  <a:pt x="0" y="103822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7755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01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5" name="Picture 2" descr="D:\KBM-정애\014-Fullppt\PNG이미지\모니터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482" y="1712825"/>
            <a:ext cx="4333894" cy="5164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875723" y="1939113"/>
            <a:ext cx="3924072" cy="32776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anchor="ctr"/>
          <a:lstStyle>
            <a:lvl1pPr marL="0" indent="0" algn="ctr">
              <a:buNone/>
              <a:defRPr sz="1346" strike="noStrike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512884" indent="0">
              <a:buNone/>
              <a:defRPr sz="3141"/>
            </a:lvl2pPr>
            <a:lvl3pPr marL="1025768" indent="0">
              <a:buNone/>
              <a:defRPr sz="2692"/>
            </a:lvl3pPr>
            <a:lvl4pPr marL="1538652" indent="0">
              <a:buNone/>
              <a:defRPr sz="2244"/>
            </a:lvl4pPr>
            <a:lvl5pPr marL="2051535" indent="0">
              <a:buNone/>
              <a:defRPr sz="2244"/>
            </a:lvl5pPr>
            <a:lvl6pPr marL="2564419" indent="0">
              <a:buNone/>
              <a:defRPr sz="2244"/>
            </a:lvl6pPr>
            <a:lvl7pPr marL="3077303" indent="0">
              <a:buNone/>
              <a:defRPr sz="2244"/>
            </a:lvl7pPr>
            <a:lvl8pPr marL="3590188" indent="0">
              <a:buNone/>
              <a:defRPr sz="2244"/>
            </a:lvl8pPr>
            <a:lvl9pPr marL="4103072" indent="0">
              <a:buNone/>
              <a:defRPr sz="2244"/>
            </a:lvl9pPr>
          </a:lstStyle>
          <a:p>
            <a:r>
              <a:rPr lang="en-US" altLang="ko-KR" dirty="0"/>
              <a:t>   </a:t>
            </a:r>
            <a:endParaRPr lang="ko-KR" alt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8153" y="6985351"/>
            <a:ext cx="6777856" cy="2400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5471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※ </a:t>
            </a:r>
            <a:r>
              <a:rPr kumimoji="0" lang="ko-KR" altLang="en-US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본 자료는 컨설턴트 교육용으로 </a:t>
            </a:r>
            <a:r>
              <a:rPr kumimoji="0" lang="ko-KR" altLang="en-US" sz="960" b="1" i="0" u="none" strike="noStrike" kern="1200" cap="none" spc="0" normalizeH="0" baseline="0" noProof="0" dirty="0" err="1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환급금</a:t>
            </a:r>
            <a:r>
              <a:rPr kumimoji="0" lang="ko-KR" altLang="en-US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 및 보험금 지급의 근거가 될 수 없으며 고객안내자료로 활용할 수 없습니다</a:t>
            </a:r>
            <a:r>
              <a:rPr kumimoji="0" lang="en-US" altLang="ko-KR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.</a:t>
            </a:r>
            <a:endParaRPr kumimoji="0" lang="ko-KR" altLang="en-US" sz="960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교보서체 Bold" panose="020B0600000101010101" pitchFamily="50" charset="-127"/>
              <a:ea typeface="교보서체 Bold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128380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nd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4338408"/>
            <a:ext cx="10383838" cy="2336037"/>
          </a:xfrm>
          <a:prstGeom prst="rect">
            <a:avLst/>
          </a:prstGeom>
          <a:solidFill>
            <a:schemeClr val="bg1">
              <a:alpha val="8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7755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2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88153" y="6985351"/>
            <a:ext cx="6777856" cy="2400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5471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6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※ </a:t>
            </a:r>
            <a:r>
              <a:rPr kumimoji="0" lang="ko-KR" altLang="en-US" sz="96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본 자료는 컨설턴트 교육용으로 </a:t>
            </a:r>
            <a:r>
              <a:rPr kumimoji="0" lang="ko-KR" altLang="en-US" sz="96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환급금</a:t>
            </a:r>
            <a:r>
              <a:rPr kumimoji="0" lang="ko-KR" altLang="en-US" sz="96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 및 보험금 지급의 근거가 될 수 없으며 고객안내자료로 활용할 수 없습니다</a:t>
            </a:r>
            <a:r>
              <a:rPr kumimoji="0" lang="en-US" altLang="ko-KR" sz="96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.</a:t>
            </a:r>
            <a:endParaRPr kumimoji="0" lang="ko-KR" altLang="en-US" sz="96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교보서체 Bold" panose="020B0600000101010101" pitchFamily="50" charset="-127"/>
              <a:ea typeface="교보서체 Bold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066783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42347"/>
            <a:ext cx="10388744" cy="72582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직사각형 2"/>
          <p:cNvSpPr/>
          <p:nvPr userDrawn="1"/>
        </p:nvSpPr>
        <p:spPr>
          <a:xfrm>
            <a:off x="8623215" y="243061"/>
            <a:ext cx="1537257" cy="317046"/>
          </a:xfrm>
          <a:prstGeom prst="rect">
            <a:avLst/>
          </a:prstGeom>
          <a:noFill/>
          <a:ln w="31750">
            <a:solidFill>
              <a:schemeClr val="bg1">
                <a:lumMod val="65000"/>
              </a:schemeClr>
            </a:solidFill>
          </a:ln>
        </p:spPr>
        <p:txBody>
          <a:bodyPr wrap="square" lIns="34458" tIns="34458" rIns="34458" bIns="34458" anchor="ctr" anchorCtr="0">
            <a:noAutofit/>
          </a:bodyPr>
          <a:lstStyle/>
          <a:p>
            <a:pPr marL="0" marR="0" lvl="0" indent="0" algn="ctr" defTabSz="87755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5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115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115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115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115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  <p:grpSp>
        <p:nvGrpSpPr>
          <p:cNvPr id="4" name="그룹 3"/>
          <p:cNvGrpSpPr/>
          <p:nvPr userDrawn="1"/>
        </p:nvGrpSpPr>
        <p:grpSpPr>
          <a:xfrm>
            <a:off x="432036" y="6436115"/>
            <a:ext cx="6632092" cy="633000"/>
            <a:chOff x="-175214" y="6214576"/>
            <a:chExt cx="6826769" cy="659594"/>
          </a:xfrm>
        </p:grpSpPr>
        <p:sp>
          <p:nvSpPr>
            <p:cNvPr id="5" name="직사각형 4"/>
            <p:cNvSpPr/>
            <p:nvPr userDrawn="1"/>
          </p:nvSpPr>
          <p:spPr>
            <a:xfrm>
              <a:off x="-97288" y="6214576"/>
              <a:ext cx="6748843" cy="659594"/>
            </a:xfrm>
            <a:prstGeom prst="rect">
              <a:avLst/>
            </a:prstGeom>
            <a:ln w="12700">
              <a:noFill/>
            </a:ln>
          </p:spPr>
          <p:txBody>
            <a:bodyPr wrap="square" anchor="ctr" anchorCtr="0">
              <a:noAutofit/>
            </a:bodyPr>
            <a:lstStyle/>
            <a:p>
              <a:pPr marL="0" marR="0" lvl="0" indent="0" algn="l" defTabSz="877550" rtl="0" eaLnBrk="1" fontAlgn="auto" latinLnBrk="1" hangingPunct="1">
                <a:lnSpc>
                  <a:spcPts val="1823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나눔고딕" pitchFamily="50" charset="-127"/>
                  <a:ea typeface="나눔고딕" pitchFamily="50" charset="-127"/>
                  <a:cs typeface="+mn-cs"/>
                </a:rPr>
                <a:t>             본 자료는 교육을 목적으로 한 자료로 고객에게 제시</a:t>
              </a:r>
              <a:r>
                <a:rPr kumimoji="0" lang="en-US" altLang="ko-KR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나눔고딕" pitchFamily="50" charset="-127"/>
                  <a:ea typeface="나눔고딕" pitchFamily="50" charset="-127"/>
                  <a:cs typeface="+mn-cs"/>
                </a:rPr>
                <a:t> · </a:t>
              </a:r>
              <a:r>
                <a:rPr kumimoji="0" lang="ko-KR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나눔고딕" pitchFamily="50" charset="-127"/>
                  <a:ea typeface="나눔고딕" pitchFamily="50" charset="-127"/>
                  <a:cs typeface="+mn-cs"/>
                </a:rPr>
                <a:t>교부해서 사용할 수 없습니다</a:t>
              </a:r>
              <a:r>
                <a:rPr kumimoji="0" lang="en-US" altLang="ko-KR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나눔고딕" pitchFamily="50" charset="-127"/>
                  <a:ea typeface="나눔고딕" pitchFamily="50" charset="-127"/>
                  <a:cs typeface="+mn-cs"/>
                </a:rPr>
                <a:t>.</a:t>
              </a:r>
            </a:p>
            <a:p>
              <a:pPr marL="0" marR="0" lvl="0" indent="0" algn="l" defTabSz="877550" rtl="0" eaLnBrk="1" fontAlgn="auto" latinLnBrk="1" hangingPunct="1">
                <a:lnSpc>
                  <a:spcPts val="1823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나눔고딕" pitchFamily="50" charset="-127"/>
                  <a:ea typeface="나눔고딕" pitchFamily="50" charset="-127"/>
                  <a:cs typeface="+mn-cs"/>
                </a:rPr>
                <a:t>             또한 어떠한 경우에도 고객용 자료로 재편집하여 사용하거나 제공해서는 안됩니다</a:t>
              </a:r>
              <a:r>
                <a:rPr kumimoji="0" lang="en-US" altLang="ko-KR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나눔고딕" pitchFamily="50" charset="-127"/>
                  <a:ea typeface="나눔고딕" pitchFamily="50" charset="-127"/>
                  <a:cs typeface="+mn-cs"/>
                </a:rPr>
                <a:t>.</a:t>
              </a:r>
            </a:p>
          </p:txBody>
        </p:sp>
        <p:sp>
          <p:nvSpPr>
            <p:cNvPr id="6" name="직사각형 5"/>
            <p:cNvSpPr/>
            <p:nvPr/>
          </p:nvSpPr>
          <p:spPr>
            <a:xfrm>
              <a:off x="-175214" y="6274373"/>
              <a:ext cx="540000" cy="5400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wrap="none" lIns="54000" tIns="36000" rIns="54000" bIns="36000" anchor="ctr">
              <a:noAutofit/>
            </a:bodyPr>
            <a:lstStyle/>
            <a:p>
              <a:pPr marL="0" marR="0" lvl="0" indent="0" algn="ctr" defTabSz="87755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48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나눔고딕 ExtraBold" pitchFamily="50" charset="-127"/>
                  <a:ea typeface="나눔고딕 ExtraBold" pitchFamily="50" charset="-127"/>
                  <a:cs typeface="+mn-cs"/>
                </a:rPr>
                <a:t>교육용</a:t>
              </a:r>
              <a:endParaRPr kumimoji="0" lang="ko-KR" altLang="en-US" sz="124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 ExtraBold" pitchFamily="50" charset="-127"/>
                <a:ea typeface="나눔고딕 ExtraBold" pitchFamily="50" charset="-127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1242870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03" y="2"/>
            <a:ext cx="10387751" cy="7257341"/>
          </a:xfrm>
          <a:prstGeom prst="rect">
            <a:avLst/>
          </a:prstGeom>
        </p:spPr>
      </p:pic>
      <p:sp>
        <p:nvSpPr>
          <p:cNvPr id="4" name="직사각형 3"/>
          <p:cNvSpPr/>
          <p:nvPr userDrawn="1"/>
        </p:nvSpPr>
        <p:spPr>
          <a:xfrm>
            <a:off x="8864327" y="243061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470" tIns="35470" rIns="35470" bIns="35470" anchor="ctr" anchorCtr="0">
            <a:noAutofit/>
          </a:bodyPr>
          <a:lstStyle/>
          <a:p>
            <a:pPr marL="0" marR="0" lvl="0" indent="0" algn="ctr" defTabSz="87755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8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98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98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98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98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88153" y="6985351"/>
            <a:ext cx="6777856" cy="2400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5471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6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※ </a:t>
            </a:r>
            <a:r>
              <a:rPr kumimoji="0" lang="ko-KR" altLang="en-US" sz="96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본 자료는 컨설턴트 교육용으로 </a:t>
            </a:r>
            <a:r>
              <a:rPr kumimoji="0" lang="ko-KR" altLang="en-US" sz="96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환급금</a:t>
            </a:r>
            <a:r>
              <a:rPr kumimoji="0" lang="ko-KR" altLang="en-US" sz="96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 및 보험금 지급의 근거가 될 수 없으며 고객안내자료로 활용할 수 없습니다</a:t>
            </a:r>
            <a:r>
              <a:rPr kumimoji="0" lang="en-US" altLang="ko-KR" sz="96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.</a:t>
            </a:r>
            <a:endParaRPr kumimoji="0" lang="ko-KR" altLang="en-US" sz="96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교보서체 Bold" panose="020B0600000101010101" pitchFamily="50" charset="-127"/>
              <a:ea typeface="교보서체 Bold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04216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67" y="671"/>
            <a:ext cx="10387754" cy="7257341"/>
          </a:xfrm>
          <a:prstGeom prst="rect">
            <a:avLst/>
          </a:prstGeom>
        </p:spPr>
      </p:pic>
      <p:pic>
        <p:nvPicPr>
          <p:cNvPr id="4" name="그림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1959" y="3949535"/>
            <a:ext cx="4354425" cy="2449364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sp>
        <p:nvSpPr>
          <p:cNvPr id="5" name="타원 4"/>
          <p:cNvSpPr/>
          <p:nvPr userDrawn="1"/>
        </p:nvSpPr>
        <p:spPr>
          <a:xfrm>
            <a:off x="6200031" y="276745"/>
            <a:ext cx="3429839" cy="3396716"/>
          </a:xfrm>
          <a:prstGeom prst="ellipse">
            <a:avLst/>
          </a:prstGeom>
          <a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131" tIns="43562" rIns="87131" bIns="43562" rtlCol="0" anchor="ctr"/>
          <a:lstStyle/>
          <a:p>
            <a:pPr algn="ctr" defTabSz="871242"/>
            <a:endParaRPr lang="ko-KR" altLang="en-US" sz="1984" dirty="0">
              <a:solidFill>
                <a:prstClr val="white"/>
              </a:solidFill>
            </a:endParaRPr>
          </a:p>
        </p:txBody>
      </p:sp>
      <p:sp>
        <p:nvSpPr>
          <p:cNvPr id="6" name="타원 5"/>
          <p:cNvSpPr/>
          <p:nvPr userDrawn="1"/>
        </p:nvSpPr>
        <p:spPr>
          <a:xfrm>
            <a:off x="5705661" y="2969898"/>
            <a:ext cx="970871" cy="979637"/>
          </a:xfrm>
          <a:prstGeom prst="ellipse">
            <a:avLst/>
          </a:prstGeom>
          <a:solidFill>
            <a:srgbClr val="99FF99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5400000" algn="t" rotWithShape="0">
              <a:prstClr val="black">
                <a:alpha val="6000"/>
              </a:prstClr>
            </a:outerShdw>
          </a:effectLst>
        </p:spPr>
        <p:txBody>
          <a:bodyPr vert="horz" lIns="86918" tIns="43457" rIns="86918" bIns="43457" rtlCol="0" anchor="ctr">
            <a:normAutofit/>
          </a:bodyPr>
          <a:lstStyle/>
          <a:p>
            <a:pPr algn="ctr" defTabSz="869148">
              <a:lnSpc>
                <a:spcPct val="90000"/>
              </a:lnSpc>
              <a:spcBef>
                <a:spcPts val="955"/>
              </a:spcBef>
              <a:defRPr/>
            </a:pPr>
            <a:endParaRPr lang="ko-KR" altLang="en-US" sz="1200" kern="0" dirty="0">
              <a:solidFill>
                <a:srgbClr val="FFFFFF"/>
              </a:solidFill>
              <a:ea typeface="나눔고딕" panose="020D0604000000000000" pitchFamily="50" charset="-127"/>
            </a:endParaRPr>
          </a:p>
        </p:txBody>
      </p:sp>
      <p:sp>
        <p:nvSpPr>
          <p:cNvPr id="8" name="타원 7"/>
          <p:cNvSpPr/>
          <p:nvPr userDrawn="1"/>
        </p:nvSpPr>
        <p:spPr>
          <a:xfrm>
            <a:off x="8532619" y="671"/>
            <a:ext cx="1097251" cy="1107157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>
            <a:outerShdw blurRad="342900" dist="482600" dir="5400000" sx="90000" sy="90000" algn="t" rotWithShape="0">
              <a:prstClr val="black">
                <a:alpha val="20000"/>
              </a:prstClr>
            </a:outerShdw>
          </a:effectLst>
        </p:spPr>
        <p:txBody>
          <a:bodyPr lIns="86918" tIns="43457" rIns="86918" bIns="43457" rtlCol="0" anchor="ctr"/>
          <a:lstStyle/>
          <a:p>
            <a:pPr algn="ctr" defTabSz="869148">
              <a:defRPr/>
            </a:pPr>
            <a:endParaRPr lang="ko-KR" altLang="en-US" sz="1200" kern="0" dirty="0">
              <a:solidFill>
                <a:srgbClr val="FFFFFF"/>
              </a:solidFill>
              <a:ea typeface="나눔고딕" panose="020D0604000000000000" pitchFamily="50" charset="-127"/>
            </a:endParaRPr>
          </a:p>
        </p:txBody>
      </p:sp>
      <p:sp>
        <p:nvSpPr>
          <p:cNvPr id="9" name="그림 개체 틀 56"/>
          <p:cNvSpPr txBox="1">
            <a:spLocks/>
          </p:cNvSpPr>
          <p:nvPr userDrawn="1"/>
        </p:nvSpPr>
        <p:spPr>
          <a:xfrm>
            <a:off x="9242400" y="623220"/>
            <a:ext cx="774939" cy="781935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 w="25400" cap="flat" cmpd="sng" algn="ctr">
            <a:noFill/>
            <a:prstDash val="solid"/>
            <a:miter lim="800000"/>
          </a:ln>
          <a:effectLst>
            <a:outerShdw blurRad="393700" dist="177800" dir="5400000" algn="t" rotWithShape="0">
              <a:prstClr val="black">
                <a:alpha val="23000"/>
              </a:prstClr>
            </a:outerShdw>
          </a:effectLst>
        </p:spPr>
        <p:txBody>
          <a:bodyPr vert="horz" lIns="87032" tIns="43518" rIns="87032" bIns="43518" rtlCol="0" anchor="ctr">
            <a:normAutofit/>
          </a:bodyPr>
          <a:lstStyle>
            <a:lvl1pPr marL="0" indent="0" algn="l" defTabSz="913424" rtl="0" eaLnBrk="1" latinLnBrk="1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ko-KR" altLang="en-US" sz="800" kern="1200" dirty="0">
                <a:solidFill>
                  <a:srgbClr val="B05989"/>
                </a:solidFill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defRPr>
            </a:lvl1pPr>
            <a:lvl2pPr marL="685067" indent="-228355" algn="l" defTabSz="913424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1778" indent="-228355" algn="l" defTabSz="913424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98488" indent="-228355" algn="l" defTabSz="913424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5200" indent="-228355" algn="l" defTabSz="913424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1912" indent="-228355" algn="l" defTabSz="913424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68622" indent="-228355" algn="l" defTabSz="913424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5333" indent="-228355" algn="l" defTabSz="913424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2043" indent="-228355" algn="l" defTabSz="913424" rtl="0" eaLnBrk="1" latinLnBrk="1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sz="800"/>
          </a:p>
        </p:txBody>
      </p:sp>
    </p:spTree>
    <p:extLst>
      <p:ext uri="{BB962C8B-B14F-4D97-AF65-F5344CB8AC3E}">
        <p14:creationId xmlns:p14="http://schemas.microsoft.com/office/powerpoint/2010/main" val="2591288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3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  <p:bldP spid="9" grpId="0" animBg="1"/>
    </p:bld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1"/>
            <a:ext cx="10383838" cy="7246750"/>
          </a:xfrm>
          <a:prstGeom prst="rect">
            <a:avLst/>
          </a:prstGeom>
        </p:spPr>
      </p:pic>
      <p:sp>
        <p:nvSpPr>
          <p:cNvPr id="87" name="TextBox 86"/>
          <p:cNvSpPr txBox="1"/>
          <p:nvPr userDrawn="1"/>
        </p:nvSpPr>
        <p:spPr>
          <a:xfrm>
            <a:off x="88153" y="6985351"/>
            <a:ext cx="6777856" cy="2400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5471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※ </a:t>
            </a:r>
            <a:r>
              <a:rPr kumimoji="0" lang="ko-KR" altLang="en-US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본 자료는 컨설턴트 교육용으로 </a:t>
            </a:r>
            <a:r>
              <a:rPr kumimoji="0" lang="ko-KR" altLang="en-US" sz="960" b="1" i="0" u="none" strike="noStrike" kern="1200" cap="none" spc="0" normalizeH="0" baseline="0" noProof="0" dirty="0" err="1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환급금</a:t>
            </a:r>
            <a:r>
              <a:rPr kumimoji="0" lang="ko-KR" altLang="en-US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 및 보험금 지급의 근거가 될 수 없으며 고객안내자료로 활용할 수 없습니다</a:t>
            </a:r>
            <a:r>
              <a:rPr kumimoji="0" lang="en-US" altLang="ko-KR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.</a:t>
            </a:r>
            <a:endParaRPr kumimoji="0" lang="ko-KR" altLang="en-US" sz="960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교보서체 Bold" panose="020B0600000101010101" pitchFamily="50" charset="-127"/>
              <a:ea typeface="교보서체 Bold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492697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nd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4338408"/>
            <a:ext cx="10383838" cy="2336037"/>
          </a:xfrm>
          <a:prstGeom prst="rect">
            <a:avLst/>
          </a:prstGeom>
          <a:solidFill>
            <a:schemeClr val="bg1">
              <a:alpha val="8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7755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22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88153" y="6985351"/>
            <a:ext cx="6777856" cy="2400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5471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6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※ </a:t>
            </a:r>
            <a:r>
              <a:rPr kumimoji="0" lang="ko-KR" altLang="en-US" sz="96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본 자료는 컨설턴트 교육용으로 </a:t>
            </a:r>
            <a:r>
              <a:rPr kumimoji="0" lang="ko-KR" altLang="en-US" sz="96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환급금</a:t>
            </a:r>
            <a:r>
              <a:rPr kumimoji="0" lang="ko-KR" altLang="en-US" sz="96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 및 보험금 지급의 근거가 될 수 없으며 고객안내자료로 활용할 수 없습니다</a:t>
            </a:r>
            <a:r>
              <a:rPr kumimoji="0" lang="en-US" altLang="ko-KR" sz="96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.</a:t>
            </a:r>
            <a:endParaRPr kumimoji="0" lang="ko-KR" altLang="en-US" sz="96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교보서체 Bold" panose="020B0600000101010101" pitchFamily="50" charset="-127"/>
              <a:ea typeface="교보서체 Bold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952006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42347"/>
            <a:ext cx="10388744" cy="72582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직사각형 2"/>
          <p:cNvSpPr/>
          <p:nvPr userDrawn="1"/>
        </p:nvSpPr>
        <p:spPr>
          <a:xfrm>
            <a:off x="8623215" y="243061"/>
            <a:ext cx="1537257" cy="317046"/>
          </a:xfrm>
          <a:prstGeom prst="rect">
            <a:avLst/>
          </a:prstGeom>
          <a:noFill/>
          <a:ln w="31750">
            <a:solidFill>
              <a:schemeClr val="bg1">
                <a:lumMod val="65000"/>
              </a:schemeClr>
            </a:solidFill>
          </a:ln>
        </p:spPr>
        <p:txBody>
          <a:bodyPr wrap="square" lIns="34458" tIns="34458" rIns="34458" bIns="34458" anchor="ctr" anchorCtr="0">
            <a:noAutofit/>
          </a:bodyPr>
          <a:lstStyle/>
          <a:p>
            <a:pPr marL="0" marR="0" lvl="0" indent="0" algn="ctr" defTabSz="87755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5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115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115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115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115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  <p:grpSp>
        <p:nvGrpSpPr>
          <p:cNvPr id="4" name="그룹 3"/>
          <p:cNvGrpSpPr/>
          <p:nvPr userDrawn="1"/>
        </p:nvGrpSpPr>
        <p:grpSpPr>
          <a:xfrm>
            <a:off x="432036" y="6436115"/>
            <a:ext cx="6632092" cy="633000"/>
            <a:chOff x="-175214" y="6214576"/>
            <a:chExt cx="6826769" cy="659594"/>
          </a:xfrm>
        </p:grpSpPr>
        <p:sp>
          <p:nvSpPr>
            <p:cNvPr id="5" name="직사각형 4"/>
            <p:cNvSpPr/>
            <p:nvPr userDrawn="1"/>
          </p:nvSpPr>
          <p:spPr>
            <a:xfrm>
              <a:off x="-97288" y="6214576"/>
              <a:ext cx="6748843" cy="659594"/>
            </a:xfrm>
            <a:prstGeom prst="rect">
              <a:avLst/>
            </a:prstGeom>
            <a:ln w="12700">
              <a:noFill/>
            </a:ln>
          </p:spPr>
          <p:txBody>
            <a:bodyPr wrap="square" anchor="ctr" anchorCtr="0">
              <a:noAutofit/>
            </a:bodyPr>
            <a:lstStyle/>
            <a:p>
              <a:pPr marL="0" marR="0" lvl="0" indent="0" algn="l" defTabSz="877550" rtl="0" eaLnBrk="1" fontAlgn="auto" latinLnBrk="1" hangingPunct="1">
                <a:lnSpc>
                  <a:spcPts val="1823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나눔고딕" pitchFamily="50" charset="-127"/>
                  <a:ea typeface="나눔고딕" pitchFamily="50" charset="-127"/>
                  <a:cs typeface="+mn-cs"/>
                </a:rPr>
                <a:t>             본 자료는 교육을 목적으로 한 자료로 고객에게 제시</a:t>
              </a:r>
              <a:r>
                <a:rPr kumimoji="0" lang="en-US" altLang="ko-KR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나눔고딕" pitchFamily="50" charset="-127"/>
                  <a:ea typeface="나눔고딕" pitchFamily="50" charset="-127"/>
                  <a:cs typeface="+mn-cs"/>
                </a:rPr>
                <a:t> · </a:t>
              </a:r>
              <a:r>
                <a:rPr kumimoji="0" lang="ko-KR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나눔고딕" pitchFamily="50" charset="-127"/>
                  <a:ea typeface="나눔고딕" pitchFamily="50" charset="-127"/>
                  <a:cs typeface="+mn-cs"/>
                </a:rPr>
                <a:t>교부해서 사용할 수 없습니다</a:t>
              </a:r>
              <a:r>
                <a:rPr kumimoji="0" lang="en-US" altLang="ko-KR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나눔고딕" pitchFamily="50" charset="-127"/>
                  <a:ea typeface="나눔고딕" pitchFamily="50" charset="-127"/>
                  <a:cs typeface="+mn-cs"/>
                </a:rPr>
                <a:t>.</a:t>
              </a:r>
            </a:p>
            <a:p>
              <a:pPr marL="0" marR="0" lvl="0" indent="0" algn="l" defTabSz="877550" rtl="0" eaLnBrk="1" fontAlgn="auto" latinLnBrk="1" hangingPunct="1">
                <a:lnSpc>
                  <a:spcPts val="1823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나눔고딕" pitchFamily="50" charset="-127"/>
                  <a:ea typeface="나눔고딕" pitchFamily="50" charset="-127"/>
                  <a:cs typeface="+mn-cs"/>
                </a:rPr>
                <a:t>             또한 어떠한 경우에도 고객용 자료로 재편집하여 사용하거나 제공해서는 안됩니다</a:t>
              </a:r>
              <a:r>
                <a:rPr kumimoji="0" lang="en-US" altLang="ko-KR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나눔고딕" pitchFamily="50" charset="-127"/>
                  <a:ea typeface="나눔고딕" pitchFamily="50" charset="-127"/>
                  <a:cs typeface="+mn-cs"/>
                </a:rPr>
                <a:t>.</a:t>
              </a:r>
            </a:p>
          </p:txBody>
        </p:sp>
        <p:sp>
          <p:nvSpPr>
            <p:cNvPr id="6" name="직사각형 5"/>
            <p:cNvSpPr/>
            <p:nvPr/>
          </p:nvSpPr>
          <p:spPr>
            <a:xfrm>
              <a:off x="-175214" y="6274373"/>
              <a:ext cx="540000" cy="5400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wrap="none" lIns="54000" tIns="36000" rIns="54000" bIns="36000" anchor="ctr">
              <a:noAutofit/>
            </a:bodyPr>
            <a:lstStyle/>
            <a:p>
              <a:pPr marL="0" marR="0" lvl="0" indent="0" algn="ctr" defTabSz="87755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48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나눔고딕 ExtraBold" pitchFamily="50" charset="-127"/>
                  <a:ea typeface="나눔고딕 ExtraBold" pitchFamily="50" charset="-127"/>
                  <a:cs typeface="+mn-cs"/>
                </a:rPr>
                <a:t>교육용</a:t>
              </a:r>
              <a:endParaRPr kumimoji="0" lang="ko-KR" altLang="en-US" sz="124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 ExtraBold" pitchFamily="50" charset="-127"/>
                <a:ea typeface="나눔고딕 ExtraBold" pitchFamily="50" charset="-127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6465978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03" y="2"/>
            <a:ext cx="10387751" cy="7257341"/>
          </a:xfrm>
          <a:prstGeom prst="rect">
            <a:avLst/>
          </a:prstGeom>
        </p:spPr>
      </p:pic>
      <p:sp>
        <p:nvSpPr>
          <p:cNvPr id="4" name="직사각형 3"/>
          <p:cNvSpPr/>
          <p:nvPr userDrawn="1"/>
        </p:nvSpPr>
        <p:spPr>
          <a:xfrm>
            <a:off x="8864327" y="243061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470" tIns="35470" rIns="35470" bIns="35470" anchor="ctr" anchorCtr="0">
            <a:noAutofit/>
          </a:bodyPr>
          <a:lstStyle/>
          <a:p>
            <a:pPr marL="0" marR="0" lvl="0" indent="0" algn="ctr" defTabSz="87755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98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98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98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98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988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88153" y="6985351"/>
            <a:ext cx="6777856" cy="2400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5471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6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※ </a:t>
            </a:r>
            <a:r>
              <a:rPr kumimoji="0" lang="ko-KR" altLang="en-US" sz="96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본 자료는 컨설턴트 교육용으로 </a:t>
            </a:r>
            <a:r>
              <a:rPr kumimoji="0" lang="ko-KR" altLang="en-US" sz="96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환급금</a:t>
            </a:r>
            <a:r>
              <a:rPr kumimoji="0" lang="ko-KR" altLang="en-US" sz="96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 및 보험금 지급의 근거가 될 수 없으며 고객안내자료로 활용할 수 없습니다</a:t>
            </a:r>
            <a:r>
              <a:rPr kumimoji="0" lang="en-US" altLang="ko-KR" sz="96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.</a:t>
            </a:r>
            <a:endParaRPr kumimoji="0" lang="ko-KR" altLang="en-US" sz="96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교보서체 Bold" panose="020B0600000101010101" pitchFamily="50" charset="-127"/>
              <a:ea typeface="교보서체 Bold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295234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1"/>
            <a:ext cx="10383838" cy="7246750"/>
          </a:xfrm>
          <a:prstGeom prst="rect">
            <a:avLst/>
          </a:prstGeom>
        </p:spPr>
      </p:pic>
      <p:sp>
        <p:nvSpPr>
          <p:cNvPr id="87" name="TextBox 86"/>
          <p:cNvSpPr txBox="1"/>
          <p:nvPr userDrawn="1"/>
        </p:nvSpPr>
        <p:spPr>
          <a:xfrm>
            <a:off x="88153" y="6985351"/>
            <a:ext cx="6777856" cy="2400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5471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※ </a:t>
            </a:r>
            <a:r>
              <a:rPr kumimoji="0" lang="ko-KR" altLang="en-US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본 자료는 컨설턴트 교육용으로 </a:t>
            </a:r>
            <a:r>
              <a:rPr kumimoji="0" lang="ko-KR" altLang="en-US" sz="960" b="1" i="0" u="none" strike="noStrike" kern="1200" cap="none" spc="0" normalizeH="0" baseline="0" noProof="0" dirty="0" err="1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환급금</a:t>
            </a:r>
            <a:r>
              <a:rPr kumimoji="0" lang="ko-KR" altLang="en-US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 및 보험금 지급의 근거가 될 수 없으며 고객안내자료로 활용할 수 없습니다</a:t>
            </a:r>
            <a:r>
              <a:rPr kumimoji="0" lang="en-US" altLang="ko-KR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.</a:t>
            </a:r>
            <a:endParaRPr kumimoji="0" lang="ko-KR" altLang="en-US" sz="960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교보서체 Bold" panose="020B0600000101010101" pitchFamily="50" charset="-127"/>
              <a:ea typeface="교보서체 Bold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308317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Images and Contents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" y="4295930"/>
            <a:ext cx="10394654" cy="2958944"/>
          </a:xfrm>
          <a:custGeom>
            <a:avLst/>
            <a:gdLst>
              <a:gd name="connsiteX0" fmla="*/ 0 w 9144000"/>
              <a:gd name="connsiteY0" fmla="*/ 0 h 1059582"/>
              <a:gd name="connsiteX1" fmla="*/ 9144000 w 9144000"/>
              <a:gd name="connsiteY1" fmla="*/ 0 h 1059582"/>
              <a:gd name="connsiteX2" fmla="*/ 9144000 w 9144000"/>
              <a:gd name="connsiteY2" fmla="*/ 1059582 h 1059582"/>
              <a:gd name="connsiteX3" fmla="*/ 0 w 9144000"/>
              <a:gd name="connsiteY3" fmla="*/ 1059582 h 1059582"/>
              <a:gd name="connsiteX4" fmla="*/ 0 w 9144000"/>
              <a:gd name="connsiteY4" fmla="*/ 0 h 1059582"/>
              <a:gd name="connsiteX0" fmla="*/ 0 w 9153525"/>
              <a:gd name="connsiteY0" fmla="*/ 1038225 h 2097807"/>
              <a:gd name="connsiteX1" fmla="*/ 9153525 w 9153525"/>
              <a:gd name="connsiteY1" fmla="*/ 0 h 2097807"/>
              <a:gd name="connsiteX2" fmla="*/ 9144000 w 9153525"/>
              <a:gd name="connsiteY2" fmla="*/ 2097807 h 2097807"/>
              <a:gd name="connsiteX3" fmla="*/ 0 w 9153525"/>
              <a:gd name="connsiteY3" fmla="*/ 2097807 h 2097807"/>
              <a:gd name="connsiteX4" fmla="*/ 0 w 9153525"/>
              <a:gd name="connsiteY4" fmla="*/ 1038225 h 2097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3525" h="2097807">
                <a:moveTo>
                  <a:pt x="0" y="1038225"/>
                </a:moveTo>
                <a:lnTo>
                  <a:pt x="9153525" y="0"/>
                </a:lnTo>
                <a:lnTo>
                  <a:pt x="9144000" y="2097807"/>
                </a:lnTo>
                <a:lnTo>
                  <a:pt x="0" y="2097807"/>
                </a:lnTo>
                <a:lnTo>
                  <a:pt x="0" y="103822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7755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01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5" name="Picture 2" descr="D:\KBM-정애\014-Fullppt\PNG이미지\모니터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482" y="1712825"/>
            <a:ext cx="4333894" cy="5164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875723" y="1939113"/>
            <a:ext cx="3924072" cy="32776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 anchor="ctr"/>
          <a:lstStyle>
            <a:lvl1pPr marL="0" indent="0" algn="ctr">
              <a:buNone/>
              <a:defRPr sz="1346" strike="noStrike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512884" indent="0">
              <a:buNone/>
              <a:defRPr sz="3141"/>
            </a:lvl2pPr>
            <a:lvl3pPr marL="1025768" indent="0">
              <a:buNone/>
              <a:defRPr sz="2692"/>
            </a:lvl3pPr>
            <a:lvl4pPr marL="1538652" indent="0">
              <a:buNone/>
              <a:defRPr sz="2244"/>
            </a:lvl4pPr>
            <a:lvl5pPr marL="2051535" indent="0">
              <a:buNone/>
              <a:defRPr sz="2244"/>
            </a:lvl5pPr>
            <a:lvl6pPr marL="2564419" indent="0">
              <a:buNone/>
              <a:defRPr sz="2244"/>
            </a:lvl6pPr>
            <a:lvl7pPr marL="3077303" indent="0">
              <a:buNone/>
              <a:defRPr sz="2244"/>
            </a:lvl7pPr>
            <a:lvl8pPr marL="3590188" indent="0">
              <a:buNone/>
              <a:defRPr sz="2244"/>
            </a:lvl8pPr>
            <a:lvl9pPr marL="4103072" indent="0">
              <a:buNone/>
              <a:defRPr sz="2244"/>
            </a:lvl9pPr>
          </a:lstStyle>
          <a:p>
            <a:r>
              <a:rPr lang="en-US" altLang="ko-KR" dirty="0"/>
              <a:t>   </a:t>
            </a:r>
            <a:endParaRPr lang="ko-KR" alt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8153" y="6985351"/>
            <a:ext cx="6777856" cy="2400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5471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※ </a:t>
            </a:r>
            <a:r>
              <a:rPr kumimoji="0" lang="ko-KR" altLang="en-US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본 자료는 컨설턴트 교육용으로 </a:t>
            </a:r>
            <a:r>
              <a:rPr kumimoji="0" lang="ko-KR" altLang="en-US" sz="960" b="1" i="0" u="none" strike="noStrike" kern="1200" cap="none" spc="0" normalizeH="0" baseline="0" noProof="0" dirty="0" err="1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환급금</a:t>
            </a:r>
            <a:r>
              <a:rPr kumimoji="0" lang="ko-KR" altLang="en-US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 및 보험금 지급의 근거가 될 수 없으며 고객안내자료로 활용할 수 없습니다</a:t>
            </a:r>
            <a:r>
              <a:rPr kumimoji="0" lang="en-US" altLang="ko-KR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.</a:t>
            </a:r>
            <a:endParaRPr kumimoji="0" lang="ko-KR" altLang="en-US" sz="960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교보서체 Bold" panose="020B0600000101010101" pitchFamily="50" charset="-127"/>
              <a:ea typeface="교보서체 Bold" panose="020B0600000101010101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425026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1" y="3"/>
            <a:ext cx="10387751" cy="7257339"/>
          </a:xfrm>
          <a:prstGeom prst="rect">
            <a:avLst/>
          </a:prstGeom>
        </p:spPr>
      </p:pic>
      <p:sp>
        <p:nvSpPr>
          <p:cNvPr id="17" name="슬라이드 번호 개체 틀 2"/>
          <p:cNvSpPr txBox="1">
            <a:spLocks/>
          </p:cNvSpPr>
          <p:nvPr userDrawn="1"/>
        </p:nvSpPr>
        <p:spPr>
          <a:xfrm>
            <a:off x="9691481" y="6967999"/>
            <a:ext cx="631527" cy="322319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91202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0" lang="en-US" altLang="ko-KR" sz="1200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912025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  <p:sp>
        <p:nvSpPr>
          <p:cNvPr id="18" name="직사각형 17"/>
          <p:cNvSpPr/>
          <p:nvPr userDrawn="1"/>
        </p:nvSpPr>
        <p:spPr>
          <a:xfrm>
            <a:off x="8936335" y="243061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6961199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직사각형 14">
            <a:extLst>
              <a:ext uri="{FF2B5EF4-FFF2-40B4-BE49-F238E27FC236}">
                <a16:creationId xmlns:a16="http://schemas.microsoft.com/office/drawing/2014/main" id="{E67D0374-5C8F-4494-AC2E-787C5D1907CF}"/>
              </a:ext>
            </a:extLst>
          </p:cNvPr>
          <p:cNvSpPr/>
          <p:nvPr/>
        </p:nvSpPr>
        <p:spPr>
          <a:xfrm flipH="1">
            <a:off x="-1748" y="3427702"/>
            <a:ext cx="10383838" cy="3824894"/>
          </a:xfrm>
          <a:custGeom>
            <a:avLst/>
            <a:gdLst>
              <a:gd name="connsiteX0" fmla="*/ 0 w 12192000"/>
              <a:gd name="connsiteY0" fmla="*/ 0 h 1136469"/>
              <a:gd name="connsiteX1" fmla="*/ 12192000 w 12192000"/>
              <a:gd name="connsiteY1" fmla="*/ 0 h 1136469"/>
              <a:gd name="connsiteX2" fmla="*/ 12192000 w 12192000"/>
              <a:gd name="connsiteY2" fmla="*/ 1136469 h 1136469"/>
              <a:gd name="connsiteX3" fmla="*/ 0 w 12192000"/>
              <a:gd name="connsiteY3" fmla="*/ 1136469 h 1136469"/>
              <a:gd name="connsiteX4" fmla="*/ 0 w 12192000"/>
              <a:gd name="connsiteY4" fmla="*/ 0 h 1136469"/>
              <a:gd name="connsiteX0" fmla="*/ 0 w 12192000"/>
              <a:gd name="connsiteY0" fmla="*/ 200395 h 1336864"/>
              <a:gd name="connsiteX1" fmla="*/ 1488332 w 12192000"/>
              <a:gd name="connsiteY1" fmla="*/ 6 h 1336864"/>
              <a:gd name="connsiteX2" fmla="*/ 12192000 w 12192000"/>
              <a:gd name="connsiteY2" fmla="*/ 200395 h 1336864"/>
              <a:gd name="connsiteX3" fmla="*/ 12192000 w 12192000"/>
              <a:gd name="connsiteY3" fmla="*/ 1336864 h 1336864"/>
              <a:gd name="connsiteX4" fmla="*/ 0 w 12192000"/>
              <a:gd name="connsiteY4" fmla="*/ 1336864 h 1336864"/>
              <a:gd name="connsiteX5" fmla="*/ 0 w 12192000"/>
              <a:gd name="connsiteY5" fmla="*/ 200395 h 1336864"/>
              <a:gd name="connsiteX0" fmla="*/ 0 w 12192000"/>
              <a:gd name="connsiteY0" fmla="*/ 794367 h 1930836"/>
              <a:gd name="connsiteX1" fmla="*/ 1488332 w 12192000"/>
              <a:gd name="connsiteY1" fmla="*/ 593978 h 1930836"/>
              <a:gd name="connsiteX2" fmla="*/ 5184843 w 12192000"/>
              <a:gd name="connsiteY2" fmla="*/ 591 h 1930836"/>
              <a:gd name="connsiteX3" fmla="*/ 12192000 w 12192000"/>
              <a:gd name="connsiteY3" fmla="*/ 794367 h 1930836"/>
              <a:gd name="connsiteX4" fmla="*/ 12192000 w 12192000"/>
              <a:gd name="connsiteY4" fmla="*/ 1930836 h 1930836"/>
              <a:gd name="connsiteX5" fmla="*/ 0 w 12192000"/>
              <a:gd name="connsiteY5" fmla="*/ 1930836 h 1930836"/>
              <a:gd name="connsiteX6" fmla="*/ 0 w 12192000"/>
              <a:gd name="connsiteY6" fmla="*/ 794367 h 1930836"/>
              <a:gd name="connsiteX0" fmla="*/ 0 w 12192000"/>
              <a:gd name="connsiteY0" fmla="*/ 794367 h 1930836"/>
              <a:gd name="connsiteX1" fmla="*/ 1488332 w 12192000"/>
              <a:gd name="connsiteY1" fmla="*/ 593978 h 1930836"/>
              <a:gd name="connsiteX2" fmla="*/ 5184843 w 12192000"/>
              <a:gd name="connsiteY2" fmla="*/ 591 h 1930836"/>
              <a:gd name="connsiteX3" fmla="*/ 8365787 w 12192000"/>
              <a:gd name="connsiteY3" fmla="*/ 623161 h 1930836"/>
              <a:gd name="connsiteX4" fmla="*/ 12192000 w 12192000"/>
              <a:gd name="connsiteY4" fmla="*/ 794367 h 1930836"/>
              <a:gd name="connsiteX5" fmla="*/ 12192000 w 12192000"/>
              <a:gd name="connsiteY5" fmla="*/ 1930836 h 1930836"/>
              <a:gd name="connsiteX6" fmla="*/ 0 w 12192000"/>
              <a:gd name="connsiteY6" fmla="*/ 1930836 h 1930836"/>
              <a:gd name="connsiteX7" fmla="*/ 0 w 12192000"/>
              <a:gd name="connsiteY7" fmla="*/ 794367 h 1930836"/>
              <a:gd name="connsiteX0" fmla="*/ 0 w 12192000"/>
              <a:gd name="connsiteY0" fmla="*/ 794367 h 1930836"/>
              <a:gd name="connsiteX1" fmla="*/ 1488332 w 12192000"/>
              <a:gd name="connsiteY1" fmla="*/ 593978 h 1930836"/>
              <a:gd name="connsiteX2" fmla="*/ 5184843 w 12192000"/>
              <a:gd name="connsiteY2" fmla="*/ 591 h 1930836"/>
              <a:gd name="connsiteX3" fmla="*/ 8365787 w 12192000"/>
              <a:gd name="connsiteY3" fmla="*/ 623161 h 1930836"/>
              <a:gd name="connsiteX4" fmla="*/ 10758791 w 12192000"/>
              <a:gd name="connsiteY4" fmla="*/ 272965 h 1930836"/>
              <a:gd name="connsiteX5" fmla="*/ 12192000 w 12192000"/>
              <a:gd name="connsiteY5" fmla="*/ 794367 h 1930836"/>
              <a:gd name="connsiteX6" fmla="*/ 12192000 w 12192000"/>
              <a:gd name="connsiteY6" fmla="*/ 1930836 h 1930836"/>
              <a:gd name="connsiteX7" fmla="*/ 0 w 12192000"/>
              <a:gd name="connsiteY7" fmla="*/ 1930836 h 1930836"/>
              <a:gd name="connsiteX8" fmla="*/ 0 w 12192000"/>
              <a:gd name="connsiteY8" fmla="*/ 794367 h 1930836"/>
              <a:gd name="connsiteX0" fmla="*/ 0 w 12192000"/>
              <a:gd name="connsiteY0" fmla="*/ 794284 h 1930753"/>
              <a:gd name="connsiteX1" fmla="*/ 1527243 w 12192000"/>
              <a:gd name="connsiteY1" fmla="*/ 700899 h 1930753"/>
              <a:gd name="connsiteX2" fmla="*/ 5184843 w 12192000"/>
              <a:gd name="connsiteY2" fmla="*/ 508 h 1930753"/>
              <a:gd name="connsiteX3" fmla="*/ 8365787 w 12192000"/>
              <a:gd name="connsiteY3" fmla="*/ 623078 h 1930753"/>
              <a:gd name="connsiteX4" fmla="*/ 10758791 w 12192000"/>
              <a:gd name="connsiteY4" fmla="*/ 272882 h 1930753"/>
              <a:gd name="connsiteX5" fmla="*/ 12192000 w 12192000"/>
              <a:gd name="connsiteY5" fmla="*/ 794284 h 1930753"/>
              <a:gd name="connsiteX6" fmla="*/ 12192000 w 12192000"/>
              <a:gd name="connsiteY6" fmla="*/ 1930753 h 1930753"/>
              <a:gd name="connsiteX7" fmla="*/ 0 w 12192000"/>
              <a:gd name="connsiteY7" fmla="*/ 1930753 h 1930753"/>
              <a:gd name="connsiteX8" fmla="*/ 0 w 12192000"/>
              <a:gd name="connsiteY8" fmla="*/ 794284 h 1930753"/>
              <a:gd name="connsiteX0" fmla="*/ 0 w 12192000"/>
              <a:gd name="connsiteY0" fmla="*/ 794475 h 1930944"/>
              <a:gd name="connsiteX1" fmla="*/ 1478605 w 12192000"/>
              <a:gd name="connsiteY1" fmla="*/ 492831 h 1930944"/>
              <a:gd name="connsiteX2" fmla="*/ 5184843 w 12192000"/>
              <a:gd name="connsiteY2" fmla="*/ 699 h 1930944"/>
              <a:gd name="connsiteX3" fmla="*/ 8365787 w 12192000"/>
              <a:gd name="connsiteY3" fmla="*/ 623269 h 1930944"/>
              <a:gd name="connsiteX4" fmla="*/ 10758791 w 12192000"/>
              <a:gd name="connsiteY4" fmla="*/ 273073 h 1930944"/>
              <a:gd name="connsiteX5" fmla="*/ 12192000 w 12192000"/>
              <a:gd name="connsiteY5" fmla="*/ 794475 h 1930944"/>
              <a:gd name="connsiteX6" fmla="*/ 12192000 w 12192000"/>
              <a:gd name="connsiteY6" fmla="*/ 1930944 h 1930944"/>
              <a:gd name="connsiteX7" fmla="*/ 0 w 12192000"/>
              <a:gd name="connsiteY7" fmla="*/ 1930944 h 1930944"/>
              <a:gd name="connsiteX8" fmla="*/ 0 w 12192000"/>
              <a:gd name="connsiteY8" fmla="*/ 794475 h 1930944"/>
              <a:gd name="connsiteX0" fmla="*/ 0 w 12192000"/>
              <a:gd name="connsiteY0" fmla="*/ 816962 h 1953431"/>
              <a:gd name="connsiteX1" fmla="*/ 1478605 w 12192000"/>
              <a:gd name="connsiteY1" fmla="*/ 515318 h 1953431"/>
              <a:gd name="connsiteX2" fmla="*/ 3871609 w 12192000"/>
              <a:gd name="connsiteY2" fmla="*/ 671 h 1953431"/>
              <a:gd name="connsiteX3" fmla="*/ 8365787 w 12192000"/>
              <a:gd name="connsiteY3" fmla="*/ 645756 h 1953431"/>
              <a:gd name="connsiteX4" fmla="*/ 10758791 w 12192000"/>
              <a:gd name="connsiteY4" fmla="*/ 295560 h 1953431"/>
              <a:gd name="connsiteX5" fmla="*/ 12192000 w 12192000"/>
              <a:gd name="connsiteY5" fmla="*/ 816962 h 1953431"/>
              <a:gd name="connsiteX6" fmla="*/ 12192000 w 12192000"/>
              <a:gd name="connsiteY6" fmla="*/ 1953431 h 1953431"/>
              <a:gd name="connsiteX7" fmla="*/ 0 w 12192000"/>
              <a:gd name="connsiteY7" fmla="*/ 1953431 h 1953431"/>
              <a:gd name="connsiteX8" fmla="*/ 0 w 12192000"/>
              <a:gd name="connsiteY8" fmla="*/ 816962 h 1953431"/>
              <a:gd name="connsiteX0" fmla="*/ 0 w 12192000"/>
              <a:gd name="connsiteY0" fmla="*/ 816962 h 1953431"/>
              <a:gd name="connsiteX1" fmla="*/ 1478605 w 12192000"/>
              <a:gd name="connsiteY1" fmla="*/ 515318 h 1953431"/>
              <a:gd name="connsiteX2" fmla="*/ 3871609 w 12192000"/>
              <a:gd name="connsiteY2" fmla="*/ 671 h 1953431"/>
              <a:gd name="connsiteX3" fmla="*/ 8365787 w 12192000"/>
              <a:gd name="connsiteY3" fmla="*/ 645756 h 1953431"/>
              <a:gd name="connsiteX4" fmla="*/ 10758791 w 12192000"/>
              <a:gd name="connsiteY4" fmla="*/ 295560 h 1953431"/>
              <a:gd name="connsiteX5" fmla="*/ 12192000 w 12192000"/>
              <a:gd name="connsiteY5" fmla="*/ 816962 h 1953431"/>
              <a:gd name="connsiteX6" fmla="*/ 12192000 w 12192000"/>
              <a:gd name="connsiteY6" fmla="*/ 1953431 h 1953431"/>
              <a:gd name="connsiteX7" fmla="*/ 0 w 12192000"/>
              <a:gd name="connsiteY7" fmla="*/ 1953431 h 1953431"/>
              <a:gd name="connsiteX8" fmla="*/ 0 w 12192000"/>
              <a:gd name="connsiteY8" fmla="*/ 816962 h 1953431"/>
              <a:gd name="connsiteX0" fmla="*/ 0 w 12192000"/>
              <a:gd name="connsiteY0" fmla="*/ 816962 h 1953431"/>
              <a:gd name="connsiteX1" fmla="*/ 1478605 w 12192000"/>
              <a:gd name="connsiteY1" fmla="*/ 515318 h 1953431"/>
              <a:gd name="connsiteX2" fmla="*/ 3871609 w 12192000"/>
              <a:gd name="connsiteY2" fmla="*/ 671 h 1953431"/>
              <a:gd name="connsiteX3" fmla="*/ 6770451 w 12192000"/>
              <a:gd name="connsiteY3" fmla="*/ 702042 h 1953431"/>
              <a:gd name="connsiteX4" fmla="*/ 10758791 w 12192000"/>
              <a:gd name="connsiteY4" fmla="*/ 295560 h 1953431"/>
              <a:gd name="connsiteX5" fmla="*/ 12192000 w 12192000"/>
              <a:gd name="connsiteY5" fmla="*/ 816962 h 1953431"/>
              <a:gd name="connsiteX6" fmla="*/ 12192000 w 12192000"/>
              <a:gd name="connsiteY6" fmla="*/ 1953431 h 1953431"/>
              <a:gd name="connsiteX7" fmla="*/ 0 w 12192000"/>
              <a:gd name="connsiteY7" fmla="*/ 1953431 h 1953431"/>
              <a:gd name="connsiteX8" fmla="*/ 0 w 12192000"/>
              <a:gd name="connsiteY8" fmla="*/ 816962 h 1953431"/>
              <a:gd name="connsiteX0" fmla="*/ 0 w 12192000"/>
              <a:gd name="connsiteY0" fmla="*/ 816962 h 1953431"/>
              <a:gd name="connsiteX1" fmla="*/ 1478605 w 12192000"/>
              <a:gd name="connsiteY1" fmla="*/ 515318 h 1953431"/>
              <a:gd name="connsiteX2" fmla="*/ 3871609 w 12192000"/>
              <a:gd name="connsiteY2" fmla="*/ 671 h 1953431"/>
              <a:gd name="connsiteX3" fmla="*/ 6770451 w 12192000"/>
              <a:gd name="connsiteY3" fmla="*/ 702042 h 1953431"/>
              <a:gd name="connsiteX4" fmla="*/ 10204315 w 12192000"/>
              <a:gd name="connsiteY4" fmla="*/ 1083565 h 1953431"/>
              <a:gd name="connsiteX5" fmla="*/ 12192000 w 12192000"/>
              <a:gd name="connsiteY5" fmla="*/ 816962 h 1953431"/>
              <a:gd name="connsiteX6" fmla="*/ 12192000 w 12192000"/>
              <a:gd name="connsiteY6" fmla="*/ 1953431 h 1953431"/>
              <a:gd name="connsiteX7" fmla="*/ 0 w 12192000"/>
              <a:gd name="connsiteY7" fmla="*/ 1953431 h 1953431"/>
              <a:gd name="connsiteX8" fmla="*/ 0 w 12192000"/>
              <a:gd name="connsiteY8" fmla="*/ 816962 h 1953431"/>
              <a:gd name="connsiteX0" fmla="*/ 0 w 12192000"/>
              <a:gd name="connsiteY0" fmla="*/ 816962 h 1953431"/>
              <a:gd name="connsiteX1" fmla="*/ 1478605 w 12192000"/>
              <a:gd name="connsiteY1" fmla="*/ 515318 h 1953431"/>
              <a:gd name="connsiteX2" fmla="*/ 3871609 w 12192000"/>
              <a:gd name="connsiteY2" fmla="*/ 671 h 1953431"/>
              <a:gd name="connsiteX3" fmla="*/ 6770451 w 12192000"/>
              <a:gd name="connsiteY3" fmla="*/ 702042 h 1953431"/>
              <a:gd name="connsiteX4" fmla="*/ 10204315 w 12192000"/>
              <a:gd name="connsiteY4" fmla="*/ 1083565 h 1953431"/>
              <a:gd name="connsiteX5" fmla="*/ 12182273 w 12192000"/>
              <a:gd name="connsiteY5" fmla="*/ 1503652 h 1953431"/>
              <a:gd name="connsiteX6" fmla="*/ 12192000 w 12192000"/>
              <a:gd name="connsiteY6" fmla="*/ 1953431 h 1953431"/>
              <a:gd name="connsiteX7" fmla="*/ 0 w 12192000"/>
              <a:gd name="connsiteY7" fmla="*/ 1953431 h 1953431"/>
              <a:gd name="connsiteX8" fmla="*/ 0 w 12192000"/>
              <a:gd name="connsiteY8" fmla="*/ 816962 h 1953431"/>
              <a:gd name="connsiteX0" fmla="*/ 0 w 12192000"/>
              <a:gd name="connsiteY0" fmla="*/ 1098010 h 2234479"/>
              <a:gd name="connsiteX1" fmla="*/ 1478605 w 12192000"/>
              <a:gd name="connsiteY1" fmla="*/ 796366 h 2234479"/>
              <a:gd name="connsiteX2" fmla="*/ 3547759 w 12192000"/>
              <a:gd name="connsiteY2" fmla="*/ 592 h 2234479"/>
              <a:gd name="connsiteX3" fmla="*/ 6770451 w 12192000"/>
              <a:gd name="connsiteY3" fmla="*/ 983090 h 2234479"/>
              <a:gd name="connsiteX4" fmla="*/ 10204315 w 12192000"/>
              <a:gd name="connsiteY4" fmla="*/ 1364613 h 2234479"/>
              <a:gd name="connsiteX5" fmla="*/ 12182273 w 12192000"/>
              <a:gd name="connsiteY5" fmla="*/ 1784700 h 2234479"/>
              <a:gd name="connsiteX6" fmla="*/ 12192000 w 12192000"/>
              <a:gd name="connsiteY6" fmla="*/ 2234479 h 2234479"/>
              <a:gd name="connsiteX7" fmla="*/ 0 w 12192000"/>
              <a:gd name="connsiteY7" fmla="*/ 2234479 h 2234479"/>
              <a:gd name="connsiteX8" fmla="*/ 0 w 12192000"/>
              <a:gd name="connsiteY8" fmla="*/ 1098010 h 2234479"/>
              <a:gd name="connsiteX0" fmla="*/ 0 w 12192000"/>
              <a:gd name="connsiteY0" fmla="*/ 1098019 h 2234488"/>
              <a:gd name="connsiteX1" fmla="*/ 1373830 w 12192000"/>
              <a:gd name="connsiteY1" fmla="*/ 787158 h 2234488"/>
              <a:gd name="connsiteX2" fmla="*/ 3547759 w 12192000"/>
              <a:gd name="connsiteY2" fmla="*/ 601 h 2234488"/>
              <a:gd name="connsiteX3" fmla="*/ 6770451 w 12192000"/>
              <a:gd name="connsiteY3" fmla="*/ 983099 h 2234488"/>
              <a:gd name="connsiteX4" fmla="*/ 10204315 w 12192000"/>
              <a:gd name="connsiteY4" fmla="*/ 1364622 h 2234488"/>
              <a:gd name="connsiteX5" fmla="*/ 12182273 w 12192000"/>
              <a:gd name="connsiteY5" fmla="*/ 1784709 h 2234488"/>
              <a:gd name="connsiteX6" fmla="*/ 12192000 w 12192000"/>
              <a:gd name="connsiteY6" fmla="*/ 2234488 h 2234488"/>
              <a:gd name="connsiteX7" fmla="*/ 0 w 12192000"/>
              <a:gd name="connsiteY7" fmla="*/ 2234488 h 2234488"/>
              <a:gd name="connsiteX8" fmla="*/ 0 w 12192000"/>
              <a:gd name="connsiteY8" fmla="*/ 1098019 h 2234488"/>
              <a:gd name="connsiteX0" fmla="*/ 0 w 12192000"/>
              <a:gd name="connsiteY0" fmla="*/ 1098036 h 2234505"/>
              <a:gd name="connsiteX1" fmla="*/ 1373830 w 12192000"/>
              <a:gd name="connsiteY1" fmla="*/ 787175 h 2234505"/>
              <a:gd name="connsiteX2" fmla="*/ 3547759 w 12192000"/>
              <a:gd name="connsiteY2" fmla="*/ 618 h 2234505"/>
              <a:gd name="connsiteX3" fmla="*/ 6770451 w 12192000"/>
              <a:gd name="connsiteY3" fmla="*/ 983116 h 2234505"/>
              <a:gd name="connsiteX4" fmla="*/ 10204315 w 12192000"/>
              <a:gd name="connsiteY4" fmla="*/ 1364639 h 2234505"/>
              <a:gd name="connsiteX5" fmla="*/ 12182273 w 12192000"/>
              <a:gd name="connsiteY5" fmla="*/ 1784726 h 2234505"/>
              <a:gd name="connsiteX6" fmla="*/ 12192000 w 12192000"/>
              <a:gd name="connsiteY6" fmla="*/ 2234505 h 2234505"/>
              <a:gd name="connsiteX7" fmla="*/ 0 w 12192000"/>
              <a:gd name="connsiteY7" fmla="*/ 2234505 h 2234505"/>
              <a:gd name="connsiteX8" fmla="*/ 0 w 12192000"/>
              <a:gd name="connsiteY8" fmla="*/ 1098036 h 2234505"/>
              <a:gd name="connsiteX0" fmla="*/ 0 w 12192000"/>
              <a:gd name="connsiteY0" fmla="*/ 1098036 h 2234505"/>
              <a:gd name="connsiteX1" fmla="*/ 1373830 w 12192000"/>
              <a:gd name="connsiteY1" fmla="*/ 787175 h 2234505"/>
              <a:gd name="connsiteX2" fmla="*/ 3547759 w 12192000"/>
              <a:gd name="connsiteY2" fmla="*/ 618 h 2234505"/>
              <a:gd name="connsiteX3" fmla="*/ 6770451 w 12192000"/>
              <a:gd name="connsiteY3" fmla="*/ 983116 h 2234505"/>
              <a:gd name="connsiteX4" fmla="*/ 10204315 w 12192000"/>
              <a:gd name="connsiteY4" fmla="*/ 1364639 h 2234505"/>
              <a:gd name="connsiteX5" fmla="*/ 12182273 w 12192000"/>
              <a:gd name="connsiteY5" fmla="*/ 1784726 h 2234505"/>
              <a:gd name="connsiteX6" fmla="*/ 12192000 w 12192000"/>
              <a:gd name="connsiteY6" fmla="*/ 2234505 h 2234505"/>
              <a:gd name="connsiteX7" fmla="*/ 0 w 12192000"/>
              <a:gd name="connsiteY7" fmla="*/ 2234505 h 2234505"/>
              <a:gd name="connsiteX8" fmla="*/ 0 w 12192000"/>
              <a:gd name="connsiteY8" fmla="*/ 1098036 h 2234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234505">
                <a:moveTo>
                  <a:pt x="0" y="1098036"/>
                </a:moveTo>
                <a:cubicBezTo>
                  <a:pt x="418289" y="1099333"/>
                  <a:pt x="786969" y="983835"/>
                  <a:pt x="1373830" y="787175"/>
                </a:cubicBezTo>
                <a:cubicBezTo>
                  <a:pt x="1974648" y="585838"/>
                  <a:pt x="2296133" y="-22080"/>
                  <a:pt x="3547759" y="618"/>
                </a:cubicBezTo>
                <a:cubicBezTo>
                  <a:pt x="4604831" y="55435"/>
                  <a:pt x="5542334" y="926296"/>
                  <a:pt x="6770451" y="983116"/>
                </a:cubicBezTo>
                <a:cubicBezTo>
                  <a:pt x="7652426" y="1028512"/>
                  <a:pt x="9322340" y="1319243"/>
                  <a:pt x="10204315" y="1364639"/>
                </a:cubicBezTo>
                <a:lnTo>
                  <a:pt x="12182273" y="1784726"/>
                </a:lnTo>
                <a:lnTo>
                  <a:pt x="12192000" y="2234505"/>
                </a:lnTo>
                <a:lnTo>
                  <a:pt x="0" y="2234505"/>
                </a:lnTo>
                <a:lnTo>
                  <a:pt x="0" y="1098036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8775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727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0" name="직사각형 14">
            <a:extLst>
              <a:ext uri="{FF2B5EF4-FFF2-40B4-BE49-F238E27FC236}">
                <a16:creationId xmlns:a16="http://schemas.microsoft.com/office/drawing/2014/main" id="{60E22826-EFB7-4B04-AF0C-757A816E759C}"/>
              </a:ext>
            </a:extLst>
          </p:cNvPr>
          <p:cNvSpPr/>
          <p:nvPr/>
        </p:nvSpPr>
        <p:spPr>
          <a:xfrm flipH="1">
            <a:off x="-1748" y="5144514"/>
            <a:ext cx="10383838" cy="2108084"/>
          </a:xfrm>
          <a:custGeom>
            <a:avLst/>
            <a:gdLst>
              <a:gd name="connsiteX0" fmla="*/ 0 w 12192000"/>
              <a:gd name="connsiteY0" fmla="*/ 0 h 1136469"/>
              <a:gd name="connsiteX1" fmla="*/ 12192000 w 12192000"/>
              <a:gd name="connsiteY1" fmla="*/ 0 h 1136469"/>
              <a:gd name="connsiteX2" fmla="*/ 12192000 w 12192000"/>
              <a:gd name="connsiteY2" fmla="*/ 1136469 h 1136469"/>
              <a:gd name="connsiteX3" fmla="*/ 0 w 12192000"/>
              <a:gd name="connsiteY3" fmla="*/ 1136469 h 1136469"/>
              <a:gd name="connsiteX4" fmla="*/ 0 w 12192000"/>
              <a:gd name="connsiteY4" fmla="*/ 0 h 1136469"/>
              <a:gd name="connsiteX0" fmla="*/ 0 w 12192000"/>
              <a:gd name="connsiteY0" fmla="*/ 200395 h 1336864"/>
              <a:gd name="connsiteX1" fmla="*/ 1488332 w 12192000"/>
              <a:gd name="connsiteY1" fmla="*/ 6 h 1336864"/>
              <a:gd name="connsiteX2" fmla="*/ 12192000 w 12192000"/>
              <a:gd name="connsiteY2" fmla="*/ 200395 h 1336864"/>
              <a:gd name="connsiteX3" fmla="*/ 12192000 w 12192000"/>
              <a:gd name="connsiteY3" fmla="*/ 1336864 h 1336864"/>
              <a:gd name="connsiteX4" fmla="*/ 0 w 12192000"/>
              <a:gd name="connsiteY4" fmla="*/ 1336864 h 1336864"/>
              <a:gd name="connsiteX5" fmla="*/ 0 w 12192000"/>
              <a:gd name="connsiteY5" fmla="*/ 200395 h 1336864"/>
              <a:gd name="connsiteX0" fmla="*/ 0 w 12192000"/>
              <a:gd name="connsiteY0" fmla="*/ 794367 h 1930836"/>
              <a:gd name="connsiteX1" fmla="*/ 1488332 w 12192000"/>
              <a:gd name="connsiteY1" fmla="*/ 593978 h 1930836"/>
              <a:gd name="connsiteX2" fmla="*/ 5184843 w 12192000"/>
              <a:gd name="connsiteY2" fmla="*/ 591 h 1930836"/>
              <a:gd name="connsiteX3" fmla="*/ 12192000 w 12192000"/>
              <a:gd name="connsiteY3" fmla="*/ 794367 h 1930836"/>
              <a:gd name="connsiteX4" fmla="*/ 12192000 w 12192000"/>
              <a:gd name="connsiteY4" fmla="*/ 1930836 h 1930836"/>
              <a:gd name="connsiteX5" fmla="*/ 0 w 12192000"/>
              <a:gd name="connsiteY5" fmla="*/ 1930836 h 1930836"/>
              <a:gd name="connsiteX6" fmla="*/ 0 w 12192000"/>
              <a:gd name="connsiteY6" fmla="*/ 794367 h 1930836"/>
              <a:gd name="connsiteX0" fmla="*/ 0 w 12192000"/>
              <a:gd name="connsiteY0" fmla="*/ 794367 h 1930836"/>
              <a:gd name="connsiteX1" fmla="*/ 1488332 w 12192000"/>
              <a:gd name="connsiteY1" fmla="*/ 593978 h 1930836"/>
              <a:gd name="connsiteX2" fmla="*/ 5184843 w 12192000"/>
              <a:gd name="connsiteY2" fmla="*/ 591 h 1930836"/>
              <a:gd name="connsiteX3" fmla="*/ 8365787 w 12192000"/>
              <a:gd name="connsiteY3" fmla="*/ 623161 h 1930836"/>
              <a:gd name="connsiteX4" fmla="*/ 12192000 w 12192000"/>
              <a:gd name="connsiteY4" fmla="*/ 794367 h 1930836"/>
              <a:gd name="connsiteX5" fmla="*/ 12192000 w 12192000"/>
              <a:gd name="connsiteY5" fmla="*/ 1930836 h 1930836"/>
              <a:gd name="connsiteX6" fmla="*/ 0 w 12192000"/>
              <a:gd name="connsiteY6" fmla="*/ 1930836 h 1930836"/>
              <a:gd name="connsiteX7" fmla="*/ 0 w 12192000"/>
              <a:gd name="connsiteY7" fmla="*/ 794367 h 1930836"/>
              <a:gd name="connsiteX0" fmla="*/ 0 w 12192000"/>
              <a:gd name="connsiteY0" fmla="*/ 794367 h 1930836"/>
              <a:gd name="connsiteX1" fmla="*/ 1488332 w 12192000"/>
              <a:gd name="connsiteY1" fmla="*/ 593978 h 1930836"/>
              <a:gd name="connsiteX2" fmla="*/ 5184843 w 12192000"/>
              <a:gd name="connsiteY2" fmla="*/ 591 h 1930836"/>
              <a:gd name="connsiteX3" fmla="*/ 8365787 w 12192000"/>
              <a:gd name="connsiteY3" fmla="*/ 623161 h 1930836"/>
              <a:gd name="connsiteX4" fmla="*/ 10758791 w 12192000"/>
              <a:gd name="connsiteY4" fmla="*/ 272965 h 1930836"/>
              <a:gd name="connsiteX5" fmla="*/ 12192000 w 12192000"/>
              <a:gd name="connsiteY5" fmla="*/ 794367 h 1930836"/>
              <a:gd name="connsiteX6" fmla="*/ 12192000 w 12192000"/>
              <a:gd name="connsiteY6" fmla="*/ 1930836 h 1930836"/>
              <a:gd name="connsiteX7" fmla="*/ 0 w 12192000"/>
              <a:gd name="connsiteY7" fmla="*/ 1930836 h 1930836"/>
              <a:gd name="connsiteX8" fmla="*/ 0 w 12192000"/>
              <a:gd name="connsiteY8" fmla="*/ 794367 h 1930836"/>
              <a:gd name="connsiteX0" fmla="*/ 0 w 12192000"/>
              <a:gd name="connsiteY0" fmla="*/ 794284 h 1930753"/>
              <a:gd name="connsiteX1" fmla="*/ 1527243 w 12192000"/>
              <a:gd name="connsiteY1" fmla="*/ 700899 h 1930753"/>
              <a:gd name="connsiteX2" fmla="*/ 5184843 w 12192000"/>
              <a:gd name="connsiteY2" fmla="*/ 508 h 1930753"/>
              <a:gd name="connsiteX3" fmla="*/ 8365787 w 12192000"/>
              <a:gd name="connsiteY3" fmla="*/ 623078 h 1930753"/>
              <a:gd name="connsiteX4" fmla="*/ 10758791 w 12192000"/>
              <a:gd name="connsiteY4" fmla="*/ 272882 h 1930753"/>
              <a:gd name="connsiteX5" fmla="*/ 12192000 w 12192000"/>
              <a:gd name="connsiteY5" fmla="*/ 794284 h 1930753"/>
              <a:gd name="connsiteX6" fmla="*/ 12192000 w 12192000"/>
              <a:gd name="connsiteY6" fmla="*/ 1930753 h 1930753"/>
              <a:gd name="connsiteX7" fmla="*/ 0 w 12192000"/>
              <a:gd name="connsiteY7" fmla="*/ 1930753 h 1930753"/>
              <a:gd name="connsiteX8" fmla="*/ 0 w 12192000"/>
              <a:gd name="connsiteY8" fmla="*/ 794284 h 1930753"/>
              <a:gd name="connsiteX0" fmla="*/ 0 w 12192000"/>
              <a:gd name="connsiteY0" fmla="*/ 794312 h 1930781"/>
              <a:gd name="connsiteX1" fmla="*/ 2587557 w 12192000"/>
              <a:gd name="connsiteY1" fmla="*/ 660911 h 1930781"/>
              <a:gd name="connsiteX2" fmla="*/ 5184843 w 12192000"/>
              <a:gd name="connsiteY2" fmla="*/ 536 h 1930781"/>
              <a:gd name="connsiteX3" fmla="*/ 8365787 w 12192000"/>
              <a:gd name="connsiteY3" fmla="*/ 623106 h 1930781"/>
              <a:gd name="connsiteX4" fmla="*/ 10758791 w 12192000"/>
              <a:gd name="connsiteY4" fmla="*/ 272910 h 1930781"/>
              <a:gd name="connsiteX5" fmla="*/ 12192000 w 12192000"/>
              <a:gd name="connsiteY5" fmla="*/ 794312 h 1930781"/>
              <a:gd name="connsiteX6" fmla="*/ 12192000 w 12192000"/>
              <a:gd name="connsiteY6" fmla="*/ 1930781 h 1930781"/>
              <a:gd name="connsiteX7" fmla="*/ 0 w 12192000"/>
              <a:gd name="connsiteY7" fmla="*/ 1930781 h 1930781"/>
              <a:gd name="connsiteX8" fmla="*/ 0 w 12192000"/>
              <a:gd name="connsiteY8" fmla="*/ 794312 h 1930781"/>
              <a:gd name="connsiteX0" fmla="*/ 0 w 12192000"/>
              <a:gd name="connsiteY0" fmla="*/ 866290 h 2002759"/>
              <a:gd name="connsiteX1" fmla="*/ 2587557 w 12192000"/>
              <a:gd name="connsiteY1" fmla="*/ 732889 h 2002759"/>
              <a:gd name="connsiteX2" fmla="*/ 5710136 w 12192000"/>
              <a:gd name="connsiteY2" fmla="*/ 487 h 2002759"/>
              <a:gd name="connsiteX3" fmla="*/ 8365787 w 12192000"/>
              <a:gd name="connsiteY3" fmla="*/ 695084 h 2002759"/>
              <a:gd name="connsiteX4" fmla="*/ 10758791 w 12192000"/>
              <a:gd name="connsiteY4" fmla="*/ 344888 h 2002759"/>
              <a:gd name="connsiteX5" fmla="*/ 12192000 w 12192000"/>
              <a:gd name="connsiteY5" fmla="*/ 866290 h 2002759"/>
              <a:gd name="connsiteX6" fmla="*/ 12192000 w 12192000"/>
              <a:gd name="connsiteY6" fmla="*/ 2002759 h 2002759"/>
              <a:gd name="connsiteX7" fmla="*/ 0 w 12192000"/>
              <a:gd name="connsiteY7" fmla="*/ 2002759 h 2002759"/>
              <a:gd name="connsiteX8" fmla="*/ 0 w 12192000"/>
              <a:gd name="connsiteY8" fmla="*/ 866290 h 2002759"/>
              <a:gd name="connsiteX0" fmla="*/ 0 w 12192000"/>
              <a:gd name="connsiteY0" fmla="*/ 866290 h 2002759"/>
              <a:gd name="connsiteX1" fmla="*/ 2587557 w 12192000"/>
              <a:gd name="connsiteY1" fmla="*/ 732889 h 2002759"/>
              <a:gd name="connsiteX2" fmla="*/ 5710136 w 12192000"/>
              <a:gd name="connsiteY2" fmla="*/ 487 h 2002759"/>
              <a:gd name="connsiteX3" fmla="*/ 7500025 w 12192000"/>
              <a:gd name="connsiteY3" fmla="*/ 286927 h 2002759"/>
              <a:gd name="connsiteX4" fmla="*/ 10758791 w 12192000"/>
              <a:gd name="connsiteY4" fmla="*/ 344888 h 2002759"/>
              <a:gd name="connsiteX5" fmla="*/ 12192000 w 12192000"/>
              <a:gd name="connsiteY5" fmla="*/ 866290 h 2002759"/>
              <a:gd name="connsiteX6" fmla="*/ 12192000 w 12192000"/>
              <a:gd name="connsiteY6" fmla="*/ 2002759 h 2002759"/>
              <a:gd name="connsiteX7" fmla="*/ 0 w 12192000"/>
              <a:gd name="connsiteY7" fmla="*/ 2002759 h 2002759"/>
              <a:gd name="connsiteX8" fmla="*/ 0 w 12192000"/>
              <a:gd name="connsiteY8" fmla="*/ 866290 h 2002759"/>
              <a:gd name="connsiteX0" fmla="*/ 0 w 12192000"/>
              <a:gd name="connsiteY0" fmla="*/ 1052221 h 2188690"/>
              <a:gd name="connsiteX1" fmla="*/ 2587557 w 12192000"/>
              <a:gd name="connsiteY1" fmla="*/ 918820 h 2188690"/>
              <a:gd name="connsiteX2" fmla="*/ 5710136 w 12192000"/>
              <a:gd name="connsiteY2" fmla="*/ 186418 h 2188690"/>
              <a:gd name="connsiteX3" fmla="*/ 7500025 w 12192000"/>
              <a:gd name="connsiteY3" fmla="*/ 472858 h 2188690"/>
              <a:gd name="connsiteX4" fmla="*/ 10593421 w 12192000"/>
              <a:gd name="connsiteY4" fmla="*/ 2616 h 2188690"/>
              <a:gd name="connsiteX5" fmla="*/ 12192000 w 12192000"/>
              <a:gd name="connsiteY5" fmla="*/ 1052221 h 2188690"/>
              <a:gd name="connsiteX6" fmla="*/ 12192000 w 12192000"/>
              <a:gd name="connsiteY6" fmla="*/ 2188690 h 2188690"/>
              <a:gd name="connsiteX7" fmla="*/ 0 w 12192000"/>
              <a:gd name="connsiteY7" fmla="*/ 2188690 h 2188690"/>
              <a:gd name="connsiteX8" fmla="*/ 0 w 12192000"/>
              <a:gd name="connsiteY8" fmla="*/ 1052221 h 2188690"/>
              <a:gd name="connsiteX0" fmla="*/ 0 w 12192000"/>
              <a:gd name="connsiteY0" fmla="*/ 1052221 h 2188690"/>
              <a:gd name="connsiteX1" fmla="*/ 2587557 w 12192000"/>
              <a:gd name="connsiteY1" fmla="*/ 918820 h 2188690"/>
              <a:gd name="connsiteX2" fmla="*/ 5710136 w 12192000"/>
              <a:gd name="connsiteY2" fmla="*/ 186418 h 2188690"/>
              <a:gd name="connsiteX3" fmla="*/ 7500025 w 12192000"/>
              <a:gd name="connsiteY3" fmla="*/ 472858 h 2188690"/>
              <a:gd name="connsiteX4" fmla="*/ 10593421 w 12192000"/>
              <a:gd name="connsiteY4" fmla="*/ 2616 h 2188690"/>
              <a:gd name="connsiteX5" fmla="*/ 12192000 w 12192000"/>
              <a:gd name="connsiteY5" fmla="*/ 1052221 h 2188690"/>
              <a:gd name="connsiteX6" fmla="*/ 12192000 w 12192000"/>
              <a:gd name="connsiteY6" fmla="*/ 2188690 h 2188690"/>
              <a:gd name="connsiteX7" fmla="*/ 0 w 12192000"/>
              <a:gd name="connsiteY7" fmla="*/ 2188690 h 2188690"/>
              <a:gd name="connsiteX8" fmla="*/ 0 w 12192000"/>
              <a:gd name="connsiteY8" fmla="*/ 1052221 h 2188690"/>
              <a:gd name="connsiteX0" fmla="*/ 0 w 12192000"/>
              <a:gd name="connsiteY0" fmla="*/ 1171825 h 2308294"/>
              <a:gd name="connsiteX1" fmla="*/ 2587557 w 12192000"/>
              <a:gd name="connsiteY1" fmla="*/ 1038424 h 2308294"/>
              <a:gd name="connsiteX2" fmla="*/ 5710136 w 12192000"/>
              <a:gd name="connsiteY2" fmla="*/ 306022 h 2308294"/>
              <a:gd name="connsiteX3" fmla="*/ 7500025 w 12192000"/>
              <a:gd name="connsiteY3" fmla="*/ 592462 h 2308294"/>
              <a:gd name="connsiteX4" fmla="*/ 10398867 w 12192000"/>
              <a:gd name="connsiteY4" fmla="*/ 2174 h 2308294"/>
              <a:gd name="connsiteX5" fmla="*/ 12192000 w 12192000"/>
              <a:gd name="connsiteY5" fmla="*/ 1171825 h 2308294"/>
              <a:gd name="connsiteX6" fmla="*/ 12192000 w 12192000"/>
              <a:gd name="connsiteY6" fmla="*/ 2308294 h 2308294"/>
              <a:gd name="connsiteX7" fmla="*/ 0 w 12192000"/>
              <a:gd name="connsiteY7" fmla="*/ 2308294 h 2308294"/>
              <a:gd name="connsiteX8" fmla="*/ 0 w 12192000"/>
              <a:gd name="connsiteY8" fmla="*/ 1171825 h 2308294"/>
              <a:gd name="connsiteX0" fmla="*/ 0 w 12192000"/>
              <a:gd name="connsiteY0" fmla="*/ 1171825 h 2308294"/>
              <a:gd name="connsiteX1" fmla="*/ 2587557 w 12192000"/>
              <a:gd name="connsiteY1" fmla="*/ 1038424 h 2308294"/>
              <a:gd name="connsiteX2" fmla="*/ 5710136 w 12192000"/>
              <a:gd name="connsiteY2" fmla="*/ 306022 h 2308294"/>
              <a:gd name="connsiteX3" fmla="*/ 7500025 w 12192000"/>
              <a:gd name="connsiteY3" fmla="*/ 592462 h 2308294"/>
              <a:gd name="connsiteX4" fmla="*/ 10398867 w 12192000"/>
              <a:gd name="connsiteY4" fmla="*/ 2174 h 2308294"/>
              <a:gd name="connsiteX5" fmla="*/ 12192000 w 12192000"/>
              <a:gd name="connsiteY5" fmla="*/ 1171825 h 2308294"/>
              <a:gd name="connsiteX6" fmla="*/ 12192000 w 12192000"/>
              <a:gd name="connsiteY6" fmla="*/ 2308294 h 2308294"/>
              <a:gd name="connsiteX7" fmla="*/ 0 w 12192000"/>
              <a:gd name="connsiteY7" fmla="*/ 2308294 h 2308294"/>
              <a:gd name="connsiteX8" fmla="*/ 0 w 12192000"/>
              <a:gd name="connsiteY8" fmla="*/ 1171825 h 2308294"/>
              <a:gd name="connsiteX0" fmla="*/ 0 w 12192000"/>
              <a:gd name="connsiteY0" fmla="*/ 1169651 h 2306120"/>
              <a:gd name="connsiteX1" fmla="*/ 2587557 w 12192000"/>
              <a:gd name="connsiteY1" fmla="*/ 1036250 h 2306120"/>
              <a:gd name="connsiteX2" fmla="*/ 5710136 w 12192000"/>
              <a:gd name="connsiteY2" fmla="*/ 303848 h 2306120"/>
              <a:gd name="connsiteX3" fmla="*/ 7500025 w 12192000"/>
              <a:gd name="connsiteY3" fmla="*/ 590288 h 2306120"/>
              <a:gd name="connsiteX4" fmla="*/ 10398867 w 12192000"/>
              <a:gd name="connsiteY4" fmla="*/ 0 h 2306120"/>
              <a:gd name="connsiteX5" fmla="*/ 12192000 w 12192000"/>
              <a:gd name="connsiteY5" fmla="*/ 1169651 h 2306120"/>
              <a:gd name="connsiteX6" fmla="*/ 12192000 w 12192000"/>
              <a:gd name="connsiteY6" fmla="*/ 2306120 h 2306120"/>
              <a:gd name="connsiteX7" fmla="*/ 0 w 12192000"/>
              <a:gd name="connsiteY7" fmla="*/ 2306120 h 2306120"/>
              <a:gd name="connsiteX8" fmla="*/ 0 w 12192000"/>
              <a:gd name="connsiteY8" fmla="*/ 1169651 h 2306120"/>
              <a:gd name="connsiteX0" fmla="*/ 0 w 12192000"/>
              <a:gd name="connsiteY0" fmla="*/ 1169651 h 2306120"/>
              <a:gd name="connsiteX1" fmla="*/ 2354093 w 12192000"/>
              <a:gd name="connsiteY1" fmla="*/ 1108278 h 2306120"/>
              <a:gd name="connsiteX2" fmla="*/ 5710136 w 12192000"/>
              <a:gd name="connsiteY2" fmla="*/ 303848 h 2306120"/>
              <a:gd name="connsiteX3" fmla="*/ 7500025 w 12192000"/>
              <a:gd name="connsiteY3" fmla="*/ 590288 h 2306120"/>
              <a:gd name="connsiteX4" fmla="*/ 10398867 w 12192000"/>
              <a:gd name="connsiteY4" fmla="*/ 0 h 2306120"/>
              <a:gd name="connsiteX5" fmla="*/ 12192000 w 12192000"/>
              <a:gd name="connsiteY5" fmla="*/ 1169651 h 2306120"/>
              <a:gd name="connsiteX6" fmla="*/ 12192000 w 12192000"/>
              <a:gd name="connsiteY6" fmla="*/ 2306120 h 2306120"/>
              <a:gd name="connsiteX7" fmla="*/ 0 w 12192000"/>
              <a:gd name="connsiteY7" fmla="*/ 2306120 h 2306120"/>
              <a:gd name="connsiteX8" fmla="*/ 0 w 12192000"/>
              <a:gd name="connsiteY8" fmla="*/ 1169651 h 2306120"/>
              <a:gd name="connsiteX0" fmla="*/ 0 w 12192000"/>
              <a:gd name="connsiteY0" fmla="*/ 1385734 h 2306120"/>
              <a:gd name="connsiteX1" fmla="*/ 2354093 w 12192000"/>
              <a:gd name="connsiteY1" fmla="*/ 1108278 h 2306120"/>
              <a:gd name="connsiteX2" fmla="*/ 5710136 w 12192000"/>
              <a:gd name="connsiteY2" fmla="*/ 303848 h 2306120"/>
              <a:gd name="connsiteX3" fmla="*/ 7500025 w 12192000"/>
              <a:gd name="connsiteY3" fmla="*/ 590288 h 2306120"/>
              <a:gd name="connsiteX4" fmla="*/ 10398867 w 12192000"/>
              <a:gd name="connsiteY4" fmla="*/ 0 h 2306120"/>
              <a:gd name="connsiteX5" fmla="*/ 12192000 w 12192000"/>
              <a:gd name="connsiteY5" fmla="*/ 1169651 h 2306120"/>
              <a:gd name="connsiteX6" fmla="*/ 12192000 w 12192000"/>
              <a:gd name="connsiteY6" fmla="*/ 2306120 h 2306120"/>
              <a:gd name="connsiteX7" fmla="*/ 0 w 12192000"/>
              <a:gd name="connsiteY7" fmla="*/ 2306120 h 2306120"/>
              <a:gd name="connsiteX8" fmla="*/ 0 w 12192000"/>
              <a:gd name="connsiteY8" fmla="*/ 1385734 h 2306120"/>
              <a:gd name="connsiteX0" fmla="*/ 0 w 12192000"/>
              <a:gd name="connsiteY0" fmla="*/ 1294558 h 2214944"/>
              <a:gd name="connsiteX1" fmla="*/ 2354093 w 12192000"/>
              <a:gd name="connsiteY1" fmla="*/ 1017102 h 2214944"/>
              <a:gd name="connsiteX2" fmla="*/ 5710136 w 12192000"/>
              <a:gd name="connsiteY2" fmla="*/ 212672 h 2214944"/>
              <a:gd name="connsiteX3" fmla="*/ 7500025 w 12192000"/>
              <a:gd name="connsiteY3" fmla="*/ 499112 h 2214944"/>
              <a:gd name="connsiteX4" fmla="*/ 9751167 w 12192000"/>
              <a:gd name="connsiteY4" fmla="*/ 0 h 2214944"/>
              <a:gd name="connsiteX5" fmla="*/ 12192000 w 12192000"/>
              <a:gd name="connsiteY5" fmla="*/ 1078475 h 2214944"/>
              <a:gd name="connsiteX6" fmla="*/ 12192000 w 12192000"/>
              <a:gd name="connsiteY6" fmla="*/ 2214944 h 2214944"/>
              <a:gd name="connsiteX7" fmla="*/ 0 w 12192000"/>
              <a:gd name="connsiteY7" fmla="*/ 2214944 h 2214944"/>
              <a:gd name="connsiteX8" fmla="*/ 0 w 12192000"/>
              <a:gd name="connsiteY8" fmla="*/ 1294558 h 2214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214944">
                <a:moveTo>
                  <a:pt x="0" y="1294558"/>
                </a:moveTo>
                <a:cubicBezTo>
                  <a:pt x="418289" y="1295855"/>
                  <a:pt x="1935804" y="1015805"/>
                  <a:pt x="2354093" y="1017102"/>
                </a:cubicBezTo>
                <a:cubicBezTo>
                  <a:pt x="3605719" y="1039800"/>
                  <a:pt x="4458510" y="189974"/>
                  <a:pt x="5710136" y="212672"/>
                </a:cubicBezTo>
                <a:cubicBezTo>
                  <a:pt x="6747753" y="329404"/>
                  <a:pt x="6462408" y="382380"/>
                  <a:pt x="7500025" y="499112"/>
                </a:cubicBezTo>
                <a:cubicBezTo>
                  <a:pt x="8382000" y="544508"/>
                  <a:pt x="8888647" y="26632"/>
                  <a:pt x="9751167" y="0"/>
                </a:cubicBezTo>
                <a:cubicBezTo>
                  <a:pt x="10498035" y="21741"/>
                  <a:pt x="11659140" y="728607"/>
                  <a:pt x="12192000" y="1078475"/>
                </a:cubicBezTo>
                <a:lnTo>
                  <a:pt x="12192000" y="2214944"/>
                </a:lnTo>
                <a:lnTo>
                  <a:pt x="0" y="2214944"/>
                </a:lnTo>
                <a:lnTo>
                  <a:pt x="0" y="1294558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8775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72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31" name="그룹 53">
            <a:extLst>
              <a:ext uri="{FF2B5EF4-FFF2-40B4-BE49-F238E27FC236}">
                <a16:creationId xmlns:a16="http://schemas.microsoft.com/office/drawing/2014/main" id="{C8B8C67E-D154-474C-B166-841BC5B05F79}"/>
              </a:ext>
            </a:extLst>
          </p:cNvPr>
          <p:cNvGrpSpPr/>
          <p:nvPr/>
        </p:nvGrpSpPr>
        <p:grpSpPr>
          <a:xfrm>
            <a:off x="5192151" y="5079779"/>
            <a:ext cx="572573" cy="1090061"/>
            <a:chOff x="4070350" y="60326"/>
            <a:chExt cx="450850" cy="882650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90" name="Rectangle 19">
              <a:extLst>
                <a:ext uri="{FF2B5EF4-FFF2-40B4-BE49-F238E27FC236}">
                  <a16:creationId xmlns:a16="http://schemas.microsoft.com/office/drawing/2014/main" id="{0C08423D-6570-4641-9567-44AF600245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9900" y="642938"/>
              <a:ext cx="31750" cy="300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91" name="Freeform 20">
              <a:extLst>
                <a:ext uri="{FF2B5EF4-FFF2-40B4-BE49-F238E27FC236}">
                  <a16:creationId xmlns:a16="http://schemas.microsoft.com/office/drawing/2014/main" id="{6D994477-CD55-47F9-8577-FB713276A9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0350" y="60326"/>
              <a:ext cx="450850" cy="655638"/>
            </a:xfrm>
            <a:custGeom>
              <a:avLst/>
              <a:gdLst>
                <a:gd name="T0" fmla="*/ 0 w 593"/>
                <a:gd name="T1" fmla="*/ 862 h 862"/>
                <a:gd name="T2" fmla="*/ 297 w 593"/>
                <a:gd name="T3" fmla="*/ 0 h 862"/>
                <a:gd name="T4" fmla="*/ 593 w 593"/>
                <a:gd name="T5" fmla="*/ 862 h 862"/>
                <a:gd name="T6" fmla="*/ 0 w 593"/>
                <a:gd name="T7" fmla="*/ 862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93" h="862">
                  <a:moveTo>
                    <a:pt x="0" y="862"/>
                  </a:moveTo>
                  <a:lnTo>
                    <a:pt x="297" y="0"/>
                  </a:lnTo>
                  <a:lnTo>
                    <a:pt x="593" y="862"/>
                  </a:lnTo>
                  <a:lnTo>
                    <a:pt x="0" y="8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92" name="Freeform 21">
              <a:extLst>
                <a:ext uri="{FF2B5EF4-FFF2-40B4-BE49-F238E27FC236}">
                  <a16:creationId xmlns:a16="http://schemas.microsoft.com/office/drawing/2014/main" id="{3A2338B4-B5CF-456E-9458-3769DDB36A0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5775" y="60326"/>
              <a:ext cx="225425" cy="655638"/>
            </a:xfrm>
            <a:custGeom>
              <a:avLst/>
              <a:gdLst>
                <a:gd name="T0" fmla="*/ 296 w 296"/>
                <a:gd name="T1" fmla="*/ 863 h 863"/>
                <a:gd name="T2" fmla="*/ 0 w 296"/>
                <a:gd name="T3" fmla="*/ 863 h 863"/>
                <a:gd name="T4" fmla="*/ 0 w 296"/>
                <a:gd name="T5" fmla="*/ 0 h 863"/>
                <a:gd name="T6" fmla="*/ 296 w 296"/>
                <a:gd name="T7" fmla="*/ 863 h 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6" h="863">
                  <a:moveTo>
                    <a:pt x="296" y="863"/>
                  </a:moveTo>
                  <a:lnTo>
                    <a:pt x="0" y="863"/>
                  </a:lnTo>
                  <a:lnTo>
                    <a:pt x="0" y="0"/>
                  </a:lnTo>
                  <a:lnTo>
                    <a:pt x="296" y="8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grpSp>
        <p:nvGrpSpPr>
          <p:cNvPr id="32" name="그룹 57">
            <a:extLst>
              <a:ext uri="{FF2B5EF4-FFF2-40B4-BE49-F238E27FC236}">
                <a16:creationId xmlns:a16="http://schemas.microsoft.com/office/drawing/2014/main" id="{AE068FB1-4E69-47A0-AEC3-B5B85B80E752}"/>
              </a:ext>
            </a:extLst>
          </p:cNvPr>
          <p:cNvGrpSpPr/>
          <p:nvPr/>
        </p:nvGrpSpPr>
        <p:grpSpPr>
          <a:xfrm>
            <a:off x="9181597" y="5436860"/>
            <a:ext cx="1046358" cy="1105747"/>
            <a:chOff x="7986713" y="1112838"/>
            <a:chExt cx="823913" cy="895351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85" name="Freeform 22">
              <a:extLst>
                <a:ext uri="{FF2B5EF4-FFF2-40B4-BE49-F238E27FC236}">
                  <a16:creationId xmlns:a16="http://schemas.microsoft.com/office/drawing/2014/main" id="{02B8D344-B1C1-45F5-A782-5F3E1E9B7AE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2775" y="1501776"/>
              <a:ext cx="333375" cy="506413"/>
            </a:xfrm>
            <a:custGeom>
              <a:avLst/>
              <a:gdLst>
                <a:gd name="T0" fmla="*/ 439 w 439"/>
                <a:gd name="T1" fmla="*/ 71 h 667"/>
                <a:gd name="T2" fmla="*/ 405 w 439"/>
                <a:gd name="T3" fmla="*/ 45 h 667"/>
                <a:gd name="T4" fmla="*/ 243 w 439"/>
                <a:gd name="T5" fmla="*/ 178 h 667"/>
                <a:gd name="T6" fmla="*/ 243 w 439"/>
                <a:gd name="T7" fmla="*/ 0 h 667"/>
                <a:gd name="T8" fmla="*/ 189 w 439"/>
                <a:gd name="T9" fmla="*/ 0 h 667"/>
                <a:gd name="T10" fmla="*/ 189 w 439"/>
                <a:gd name="T11" fmla="*/ 178 h 667"/>
                <a:gd name="T12" fmla="*/ 35 w 439"/>
                <a:gd name="T13" fmla="*/ 31 h 667"/>
                <a:gd name="T14" fmla="*/ 0 w 439"/>
                <a:gd name="T15" fmla="*/ 57 h 667"/>
                <a:gd name="T16" fmla="*/ 189 w 439"/>
                <a:gd name="T17" fmla="*/ 231 h 667"/>
                <a:gd name="T18" fmla="*/ 189 w 439"/>
                <a:gd name="T19" fmla="*/ 667 h 667"/>
                <a:gd name="T20" fmla="*/ 243 w 439"/>
                <a:gd name="T21" fmla="*/ 667 h 667"/>
                <a:gd name="T22" fmla="*/ 243 w 439"/>
                <a:gd name="T23" fmla="*/ 231 h 667"/>
                <a:gd name="T24" fmla="*/ 439 w 439"/>
                <a:gd name="T25" fmla="*/ 71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9" h="667">
                  <a:moveTo>
                    <a:pt x="439" y="71"/>
                  </a:moveTo>
                  <a:lnTo>
                    <a:pt x="405" y="45"/>
                  </a:lnTo>
                  <a:lnTo>
                    <a:pt x="243" y="178"/>
                  </a:lnTo>
                  <a:lnTo>
                    <a:pt x="243" y="0"/>
                  </a:lnTo>
                  <a:lnTo>
                    <a:pt x="189" y="0"/>
                  </a:lnTo>
                  <a:lnTo>
                    <a:pt x="189" y="178"/>
                  </a:lnTo>
                  <a:lnTo>
                    <a:pt x="35" y="31"/>
                  </a:lnTo>
                  <a:lnTo>
                    <a:pt x="0" y="57"/>
                  </a:lnTo>
                  <a:lnTo>
                    <a:pt x="189" y="231"/>
                  </a:lnTo>
                  <a:lnTo>
                    <a:pt x="189" y="667"/>
                  </a:lnTo>
                  <a:lnTo>
                    <a:pt x="243" y="667"/>
                  </a:lnTo>
                  <a:lnTo>
                    <a:pt x="243" y="231"/>
                  </a:lnTo>
                  <a:lnTo>
                    <a:pt x="439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86" name="Oval 23">
              <a:extLst>
                <a:ext uri="{FF2B5EF4-FFF2-40B4-BE49-F238E27FC236}">
                  <a16:creationId xmlns:a16="http://schemas.microsoft.com/office/drawing/2014/main" id="{CEB5DB48-9EBF-4F16-8F32-121EA2B6B2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04200" y="1112838"/>
              <a:ext cx="388938" cy="388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87" name="Freeform 24">
              <a:extLst>
                <a:ext uri="{FF2B5EF4-FFF2-40B4-BE49-F238E27FC236}">
                  <a16:creationId xmlns:a16="http://schemas.microsoft.com/office/drawing/2014/main" id="{BDF8B885-3D44-4D6C-B4F6-E1C3E1FA60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9463" y="1112838"/>
              <a:ext cx="193675" cy="388938"/>
            </a:xfrm>
            <a:custGeom>
              <a:avLst/>
              <a:gdLst>
                <a:gd name="T0" fmla="*/ 0 w 255"/>
                <a:gd name="T1" fmla="*/ 0 h 512"/>
                <a:gd name="T2" fmla="*/ 0 w 255"/>
                <a:gd name="T3" fmla="*/ 512 h 512"/>
                <a:gd name="T4" fmla="*/ 255 w 255"/>
                <a:gd name="T5" fmla="*/ 256 h 512"/>
                <a:gd name="T6" fmla="*/ 0 w 255"/>
                <a:gd name="T7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5" h="512">
                  <a:moveTo>
                    <a:pt x="0" y="0"/>
                  </a:moveTo>
                  <a:lnTo>
                    <a:pt x="0" y="512"/>
                  </a:lnTo>
                  <a:cubicBezTo>
                    <a:pt x="141" y="511"/>
                    <a:pt x="255" y="397"/>
                    <a:pt x="255" y="256"/>
                  </a:cubicBezTo>
                  <a:cubicBezTo>
                    <a:pt x="255" y="115"/>
                    <a:pt x="14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88" name="Oval 25">
              <a:extLst>
                <a:ext uri="{FF2B5EF4-FFF2-40B4-BE49-F238E27FC236}">
                  <a16:creationId xmlns:a16="http://schemas.microsoft.com/office/drawing/2014/main" id="{DC306C64-3FA0-4E07-B574-FC41CCDA76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86713" y="1176338"/>
              <a:ext cx="390525" cy="388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89" name="Oval 26">
              <a:extLst>
                <a:ext uri="{FF2B5EF4-FFF2-40B4-BE49-F238E27FC236}">
                  <a16:creationId xmlns:a16="http://schemas.microsoft.com/office/drawing/2014/main" id="{8BDC8C93-EB04-4BE8-A0BD-2B1C9AF91A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21688" y="1176338"/>
              <a:ext cx="388938" cy="388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grpSp>
        <p:nvGrpSpPr>
          <p:cNvPr id="33" name="그룹 63">
            <a:extLst>
              <a:ext uri="{FF2B5EF4-FFF2-40B4-BE49-F238E27FC236}">
                <a16:creationId xmlns:a16="http://schemas.microsoft.com/office/drawing/2014/main" id="{2A6C82EA-F420-4199-8202-A9E005E1D774}"/>
              </a:ext>
            </a:extLst>
          </p:cNvPr>
          <p:cNvGrpSpPr/>
          <p:nvPr/>
        </p:nvGrpSpPr>
        <p:grpSpPr>
          <a:xfrm rot="20923597">
            <a:off x="3784719" y="6187732"/>
            <a:ext cx="413797" cy="217529"/>
            <a:chOff x="9777413" y="344488"/>
            <a:chExt cx="919163" cy="496888"/>
          </a:xfrm>
          <a:solidFill>
            <a:srgbClr val="3A876B">
              <a:lumMod val="40000"/>
              <a:lumOff val="60000"/>
            </a:srgbClr>
          </a:solidFill>
        </p:grpSpPr>
        <p:sp>
          <p:nvSpPr>
            <p:cNvPr id="83" name="Freeform 27">
              <a:extLst>
                <a:ext uri="{FF2B5EF4-FFF2-40B4-BE49-F238E27FC236}">
                  <a16:creationId xmlns:a16="http://schemas.microsoft.com/office/drawing/2014/main" id="{40D74967-2CDD-4FB1-89F0-D42B04DDF8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777413" y="344488"/>
              <a:ext cx="919163" cy="496888"/>
            </a:xfrm>
            <a:custGeom>
              <a:avLst/>
              <a:gdLst>
                <a:gd name="T0" fmla="*/ 1175 w 1211"/>
                <a:gd name="T1" fmla="*/ 654 h 654"/>
                <a:gd name="T2" fmla="*/ 14 w 1211"/>
                <a:gd name="T3" fmla="*/ 654 h 654"/>
                <a:gd name="T4" fmla="*/ 145 w 1211"/>
                <a:gd name="T5" fmla="*/ 583 h 654"/>
                <a:gd name="T6" fmla="*/ 0 w 1211"/>
                <a:gd name="T7" fmla="*/ 593 h 654"/>
                <a:gd name="T8" fmla="*/ 145 w 1211"/>
                <a:gd name="T9" fmla="*/ 507 h 654"/>
                <a:gd name="T10" fmla="*/ 0 w 1211"/>
                <a:gd name="T11" fmla="*/ 460 h 654"/>
                <a:gd name="T12" fmla="*/ 125 w 1211"/>
                <a:gd name="T13" fmla="*/ 450 h 654"/>
                <a:gd name="T14" fmla="*/ 11 w 1211"/>
                <a:gd name="T15" fmla="*/ 399 h 654"/>
                <a:gd name="T16" fmla="*/ 173 w 1211"/>
                <a:gd name="T17" fmla="*/ 372 h 654"/>
                <a:gd name="T18" fmla="*/ 74 w 1211"/>
                <a:gd name="T19" fmla="*/ 305 h 654"/>
                <a:gd name="T20" fmla="*/ 205 w 1211"/>
                <a:gd name="T21" fmla="*/ 290 h 654"/>
                <a:gd name="T22" fmla="*/ 137 w 1211"/>
                <a:gd name="T23" fmla="*/ 231 h 654"/>
                <a:gd name="T24" fmla="*/ 261 w 1211"/>
                <a:gd name="T25" fmla="*/ 209 h 654"/>
                <a:gd name="T26" fmla="*/ 193 w 1211"/>
                <a:gd name="T27" fmla="*/ 140 h 654"/>
                <a:gd name="T28" fmla="*/ 326 w 1211"/>
                <a:gd name="T29" fmla="*/ 136 h 654"/>
                <a:gd name="T30" fmla="*/ 279 w 1211"/>
                <a:gd name="T31" fmla="*/ 62 h 654"/>
                <a:gd name="T32" fmla="*/ 463 w 1211"/>
                <a:gd name="T33" fmla="*/ 110 h 654"/>
                <a:gd name="T34" fmla="*/ 415 w 1211"/>
                <a:gd name="T35" fmla="*/ 17 h 654"/>
                <a:gd name="T36" fmla="*/ 552 w 1211"/>
                <a:gd name="T37" fmla="*/ 96 h 654"/>
                <a:gd name="T38" fmla="*/ 557 w 1211"/>
                <a:gd name="T39" fmla="*/ 17 h 654"/>
                <a:gd name="T40" fmla="*/ 634 w 1211"/>
                <a:gd name="T41" fmla="*/ 84 h 654"/>
                <a:gd name="T42" fmla="*/ 699 w 1211"/>
                <a:gd name="T43" fmla="*/ 0 h 654"/>
                <a:gd name="T44" fmla="*/ 696 w 1211"/>
                <a:gd name="T45" fmla="*/ 96 h 654"/>
                <a:gd name="T46" fmla="*/ 814 w 1211"/>
                <a:gd name="T47" fmla="*/ 40 h 654"/>
                <a:gd name="T48" fmla="*/ 770 w 1211"/>
                <a:gd name="T49" fmla="*/ 123 h 654"/>
                <a:gd name="T50" fmla="*/ 879 w 1211"/>
                <a:gd name="T51" fmla="*/ 62 h 654"/>
                <a:gd name="T52" fmla="*/ 856 w 1211"/>
                <a:gd name="T53" fmla="*/ 155 h 654"/>
                <a:gd name="T54" fmla="*/ 972 w 1211"/>
                <a:gd name="T55" fmla="*/ 122 h 654"/>
                <a:gd name="T56" fmla="*/ 948 w 1211"/>
                <a:gd name="T57" fmla="*/ 195 h 654"/>
                <a:gd name="T58" fmla="*/ 1066 w 1211"/>
                <a:gd name="T59" fmla="*/ 184 h 654"/>
                <a:gd name="T60" fmla="*/ 1004 w 1211"/>
                <a:gd name="T61" fmla="*/ 260 h 654"/>
                <a:gd name="T62" fmla="*/ 1140 w 1211"/>
                <a:gd name="T63" fmla="*/ 266 h 654"/>
                <a:gd name="T64" fmla="*/ 1068 w 1211"/>
                <a:gd name="T65" fmla="*/ 337 h 654"/>
                <a:gd name="T66" fmla="*/ 1175 w 1211"/>
                <a:gd name="T67" fmla="*/ 357 h 654"/>
                <a:gd name="T68" fmla="*/ 1093 w 1211"/>
                <a:gd name="T69" fmla="*/ 399 h 654"/>
                <a:gd name="T70" fmla="*/ 1181 w 1211"/>
                <a:gd name="T71" fmla="*/ 448 h 654"/>
                <a:gd name="T72" fmla="*/ 1095 w 1211"/>
                <a:gd name="T73" fmla="*/ 500 h 654"/>
                <a:gd name="T74" fmla="*/ 1211 w 1211"/>
                <a:gd name="T75" fmla="*/ 561 h 654"/>
                <a:gd name="T76" fmla="*/ 1104 w 1211"/>
                <a:gd name="T77" fmla="*/ 591 h 654"/>
                <a:gd name="T78" fmla="*/ 1175 w 1211"/>
                <a:gd name="T79" fmla="*/ 654 h 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11" h="654">
                  <a:moveTo>
                    <a:pt x="1175" y="654"/>
                  </a:moveTo>
                  <a:lnTo>
                    <a:pt x="14" y="654"/>
                  </a:lnTo>
                  <a:cubicBezTo>
                    <a:pt x="14" y="654"/>
                    <a:pt x="37" y="596"/>
                    <a:pt x="145" y="583"/>
                  </a:cubicBezTo>
                  <a:cubicBezTo>
                    <a:pt x="145" y="583"/>
                    <a:pt x="86" y="561"/>
                    <a:pt x="0" y="593"/>
                  </a:cubicBezTo>
                  <a:cubicBezTo>
                    <a:pt x="0" y="593"/>
                    <a:pt x="15" y="539"/>
                    <a:pt x="145" y="507"/>
                  </a:cubicBezTo>
                  <a:cubicBezTo>
                    <a:pt x="145" y="507"/>
                    <a:pt x="35" y="503"/>
                    <a:pt x="0" y="460"/>
                  </a:cubicBezTo>
                  <a:cubicBezTo>
                    <a:pt x="0" y="460"/>
                    <a:pt x="69" y="480"/>
                    <a:pt x="125" y="450"/>
                  </a:cubicBezTo>
                  <a:cubicBezTo>
                    <a:pt x="125" y="450"/>
                    <a:pt x="62" y="389"/>
                    <a:pt x="11" y="399"/>
                  </a:cubicBezTo>
                  <a:cubicBezTo>
                    <a:pt x="11" y="399"/>
                    <a:pt x="61" y="355"/>
                    <a:pt x="173" y="372"/>
                  </a:cubicBezTo>
                  <a:cubicBezTo>
                    <a:pt x="173" y="372"/>
                    <a:pt x="113" y="300"/>
                    <a:pt x="74" y="305"/>
                  </a:cubicBezTo>
                  <a:cubicBezTo>
                    <a:pt x="74" y="305"/>
                    <a:pt x="110" y="271"/>
                    <a:pt x="205" y="290"/>
                  </a:cubicBezTo>
                  <a:cubicBezTo>
                    <a:pt x="205" y="290"/>
                    <a:pt x="174" y="237"/>
                    <a:pt x="137" y="231"/>
                  </a:cubicBezTo>
                  <a:cubicBezTo>
                    <a:pt x="137" y="231"/>
                    <a:pt x="154" y="184"/>
                    <a:pt x="261" y="209"/>
                  </a:cubicBezTo>
                  <a:cubicBezTo>
                    <a:pt x="261" y="209"/>
                    <a:pt x="244" y="143"/>
                    <a:pt x="193" y="140"/>
                  </a:cubicBezTo>
                  <a:cubicBezTo>
                    <a:pt x="193" y="140"/>
                    <a:pt x="253" y="102"/>
                    <a:pt x="326" y="136"/>
                  </a:cubicBezTo>
                  <a:cubicBezTo>
                    <a:pt x="326" y="136"/>
                    <a:pt x="308" y="67"/>
                    <a:pt x="279" y="62"/>
                  </a:cubicBezTo>
                  <a:cubicBezTo>
                    <a:pt x="279" y="62"/>
                    <a:pt x="418" y="62"/>
                    <a:pt x="463" y="110"/>
                  </a:cubicBezTo>
                  <a:cubicBezTo>
                    <a:pt x="463" y="110"/>
                    <a:pt x="444" y="47"/>
                    <a:pt x="415" y="17"/>
                  </a:cubicBezTo>
                  <a:cubicBezTo>
                    <a:pt x="415" y="17"/>
                    <a:pt x="548" y="43"/>
                    <a:pt x="552" y="96"/>
                  </a:cubicBezTo>
                  <a:cubicBezTo>
                    <a:pt x="552" y="96"/>
                    <a:pt x="569" y="57"/>
                    <a:pt x="557" y="17"/>
                  </a:cubicBezTo>
                  <a:cubicBezTo>
                    <a:pt x="557" y="17"/>
                    <a:pt x="626" y="35"/>
                    <a:pt x="634" y="84"/>
                  </a:cubicBezTo>
                  <a:cubicBezTo>
                    <a:pt x="634" y="84"/>
                    <a:pt x="660" y="12"/>
                    <a:pt x="699" y="0"/>
                  </a:cubicBezTo>
                  <a:cubicBezTo>
                    <a:pt x="699" y="0"/>
                    <a:pt x="684" y="68"/>
                    <a:pt x="696" y="96"/>
                  </a:cubicBezTo>
                  <a:cubicBezTo>
                    <a:pt x="696" y="96"/>
                    <a:pt x="757" y="59"/>
                    <a:pt x="814" y="40"/>
                  </a:cubicBezTo>
                  <a:cubicBezTo>
                    <a:pt x="814" y="40"/>
                    <a:pt x="770" y="85"/>
                    <a:pt x="770" y="123"/>
                  </a:cubicBezTo>
                  <a:cubicBezTo>
                    <a:pt x="770" y="123"/>
                    <a:pt x="827" y="66"/>
                    <a:pt x="879" y="62"/>
                  </a:cubicBezTo>
                  <a:cubicBezTo>
                    <a:pt x="879" y="62"/>
                    <a:pt x="811" y="136"/>
                    <a:pt x="856" y="155"/>
                  </a:cubicBezTo>
                  <a:cubicBezTo>
                    <a:pt x="856" y="155"/>
                    <a:pt x="913" y="116"/>
                    <a:pt x="972" y="122"/>
                  </a:cubicBezTo>
                  <a:cubicBezTo>
                    <a:pt x="972" y="122"/>
                    <a:pt x="930" y="170"/>
                    <a:pt x="948" y="195"/>
                  </a:cubicBezTo>
                  <a:cubicBezTo>
                    <a:pt x="948" y="195"/>
                    <a:pt x="1001" y="170"/>
                    <a:pt x="1066" y="184"/>
                  </a:cubicBezTo>
                  <a:cubicBezTo>
                    <a:pt x="1066" y="184"/>
                    <a:pt x="977" y="231"/>
                    <a:pt x="1004" y="260"/>
                  </a:cubicBezTo>
                  <a:cubicBezTo>
                    <a:pt x="1004" y="260"/>
                    <a:pt x="1072" y="244"/>
                    <a:pt x="1140" y="266"/>
                  </a:cubicBezTo>
                  <a:cubicBezTo>
                    <a:pt x="1140" y="266"/>
                    <a:pt x="1057" y="310"/>
                    <a:pt x="1068" y="337"/>
                  </a:cubicBezTo>
                  <a:cubicBezTo>
                    <a:pt x="1068" y="337"/>
                    <a:pt x="1113" y="342"/>
                    <a:pt x="1175" y="357"/>
                  </a:cubicBezTo>
                  <a:cubicBezTo>
                    <a:pt x="1175" y="357"/>
                    <a:pt x="1114" y="367"/>
                    <a:pt x="1093" y="399"/>
                  </a:cubicBezTo>
                  <a:cubicBezTo>
                    <a:pt x="1093" y="399"/>
                    <a:pt x="1131" y="399"/>
                    <a:pt x="1181" y="448"/>
                  </a:cubicBezTo>
                  <a:cubicBezTo>
                    <a:pt x="1181" y="448"/>
                    <a:pt x="1101" y="453"/>
                    <a:pt x="1095" y="500"/>
                  </a:cubicBezTo>
                  <a:cubicBezTo>
                    <a:pt x="1095" y="500"/>
                    <a:pt x="1155" y="496"/>
                    <a:pt x="1211" y="561"/>
                  </a:cubicBezTo>
                  <a:cubicBezTo>
                    <a:pt x="1211" y="561"/>
                    <a:pt x="1110" y="541"/>
                    <a:pt x="1104" y="591"/>
                  </a:cubicBezTo>
                  <a:cubicBezTo>
                    <a:pt x="1158" y="591"/>
                    <a:pt x="1174" y="643"/>
                    <a:pt x="1175" y="6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84" name="Freeform 28">
              <a:extLst>
                <a:ext uri="{FF2B5EF4-FFF2-40B4-BE49-F238E27FC236}">
                  <a16:creationId xmlns:a16="http://schemas.microsoft.com/office/drawing/2014/main" id="{CDF98136-08D2-4B67-8211-92F2781E6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8700" y="441326"/>
              <a:ext cx="660400" cy="357188"/>
            </a:xfrm>
            <a:custGeom>
              <a:avLst/>
              <a:gdLst>
                <a:gd name="T0" fmla="*/ 844 w 870"/>
                <a:gd name="T1" fmla="*/ 470 h 470"/>
                <a:gd name="T2" fmla="*/ 11 w 870"/>
                <a:gd name="T3" fmla="*/ 470 h 470"/>
                <a:gd name="T4" fmla="*/ 105 w 870"/>
                <a:gd name="T5" fmla="*/ 419 h 470"/>
                <a:gd name="T6" fmla="*/ 0 w 870"/>
                <a:gd name="T7" fmla="*/ 426 h 470"/>
                <a:gd name="T8" fmla="*/ 105 w 870"/>
                <a:gd name="T9" fmla="*/ 364 h 470"/>
                <a:gd name="T10" fmla="*/ 0 w 870"/>
                <a:gd name="T11" fmla="*/ 330 h 470"/>
                <a:gd name="T12" fmla="*/ 90 w 870"/>
                <a:gd name="T13" fmla="*/ 323 h 470"/>
                <a:gd name="T14" fmla="*/ 8 w 870"/>
                <a:gd name="T15" fmla="*/ 287 h 470"/>
                <a:gd name="T16" fmla="*/ 125 w 870"/>
                <a:gd name="T17" fmla="*/ 267 h 470"/>
                <a:gd name="T18" fmla="*/ 54 w 870"/>
                <a:gd name="T19" fmla="*/ 219 h 470"/>
                <a:gd name="T20" fmla="*/ 147 w 870"/>
                <a:gd name="T21" fmla="*/ 208 h 470"/>
                <a:gd name="T22" fmla="*/ 99 w 870"/>
                <a:gd name="T23" fmla="*/ 166 h 470"/>
                <a:gd name="T24" fmla="*/ 188 w 870"/>
                <a:gd name="T25" fmla="*/ 150 h 470"/>
                <a:gd name="T26" fmla="*/ 139 w 870"/>
                <a:gd name="T27" fmla="*/ 101 h 470"/>
                <a:gd name="T28" fmla="*/ 235 w 870"/>
                <a:gd name="T29" fmla="*/ 97 h 470"/>
                <a:gd name="T30" fmla="*/ 201 w 870"/>
                <a:gd name="T31" fmla="*/ 44 h 470"/>
                <a:gd name="T32" fmla="*/ 333 w 870"/>
                <a:gd name="T33" fmla="*/ 79 h 470"/>
                <a:gd name="T34" fmla="*/ 298 w 870"/>
                <a:gd name="T35" fmla="*/ 13 h 470"/>
                <a:gd name="T36" fmla="*/ 397 w 870"/>
                <a:gd name="T37" fmla="*/ 69 h 470"/>
                <a:gd name="T38" fmla="*/ 400 w 870"/>
                <a:gd name="T39" fmla="*/ 13 h 470"/>
                <a:gd name="T40" fmla="*/ 456 w 870"/>
                <a:gd name="T41" fmla="*/ 60 h 470"/>
                <a:gd name="T42" fmla="*/ 502 w 870"/>
                <a:gd name="T43" fmla="*/ 0 h 470"/>
                <a:gd name="T44" fmla="*/ 500 w 870"/>
                <a:gd name="T45" fmla="*/ 69 h 470"/>
                <a:gd name="T46" fmla="*/ 585 w 870"/>
                <a:gd name="T47" fmla="*/ 28 h 470"/>
                <a:gd name="T48" fmla="*/ 553 w 870"/>
                <a:gd name="T49" fmla="*/ 88 h 470"/>
                <a:gd name="T50" fmla="*/ 632 w 870"/>
                <a:gd name="T51" fmla="*/ 44 h 470"/>
                <a:gd name="T52" fmla="*/ 615 w 870"/>
                <a:gd name="T53" fmla="*/ 111 h 470"/>
                <a:gd name="T54" fmla="*/ 698 w 870"/>
                <a:gd name="T55" fmla="*/ 88 h 470"/>
                <a:gd name="T56" fmla="*/ 681 w 870"/>
                <a:gd name="T57" fmla="*/ 140 h 470"/>
                <a:gd name="T58" fmla="*/ 766 w 870"/>
                <a:gd name="T59" fmla="*/ 132 h 470"/>
                <a:gd name="T60" fmla="*/ 721 w 870"/>
                <a:gd name="T61" fmla="*/ 187 h 470"/>
                <a:gd name="T62" fmla="*/ 819 w 870"/>
                <a:gd name="T63" fmla="*/ 191 h 470"/>
                <a:gd name="T64" fmla="*/ 768 w 870"/>
                <a:gd name="T65" fmla="*/ 242 h 470"/>
                <a:gd name="T66" fmla="*/ 844 w 870"/>
                <a:gd name="T67" fmla="*/ 256 h 470"/>
                <a:gd name="T68" fmla="*/ 785 w 870"/>
                <a:gd name="T69" fmla="*/ 286 h 470"/>
                <a:gd name="T70" fmla="*/ 849 w 870"/>
                <a:gd name="T71" fmla="*/ 322 h 470"/>
                <a:gd name="T72" fmla="*/ 786 w 870"/>
                <a:gd name="T73" fmla="*/ 359 h 470"/>
                <a:gd name="T74" fmla="*/ 870 w 870"/>
                <a:gd name="T75" fmla="*/ 403 h 470"/>
                <a:gd name="T76" fmla="*/ 793 w 870"/>
                <a:gd name="T77" fmla="*/ 424 h 470"/>
                <a:gd name="T78" fmla="*/ 844 w 870"/>
                <a:gd name="T79" fmla="*/ 47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70" h="470">
                  <a:moveTo>
                    <a:pt x="844" y="470"/>
                  </a:moveTo>
                  <a:lnTo>
                    <a:pt x="11" y="470"/>
                  </a:lnTo>
                  <a:cubicBezTo>
                    <a:pt x="11" y="470"/>
                    <a:pt x="27" y="428"/>
                    <a:pt x="105" y="419"/>
                  </a:cubicBezTo>
                  <a:cubicBezTo>
                    <a:pt x="105" y="419"/>
                    <a:pt x="62" y="403"/>
                    <a:pt x="0" y="426"/>
                  </a:cubicBezTo>
                  <a:cubicBezTo>
                    <a:pt x="0" y="426"/>
                    <a:pt x="11" y="387"/>
                    <a:pt x="105" y="364"/>
                  </a:cubicBezTo>
                  <a:cubicBezTo>
                    <a:pt x="105" y="364"/>
                    <a:pt x="25" y="361"/>
                    <a:pt x="0" y="330"/>
                  </a:cubicBezTo>
                  <a:cubicBezTo>
                    <a:pt x="0" y="330"/>
                    <a:pt x="50" y="344"/>
                    <a:pt x="90" y="323"/>
                  </a:cubicBezTo>
                  <a:cubicBezTo>
                    <a:pt x="90" y="323"/>
                    <a:pt x="45" y="279"/>
                    <a:pt x="8" y="287"/>
                  </a:cubicBezTo>
                  <a:cubicBezTo>
                    <a:pt x="8" y="287"/>
                    <a:pt x="44" y="255"/>
                    <a:pt x="125" y="267"/>
                  </a:cubicBezTo>
                  <a:cubicBezTo>
                    <a:pt x="125" y="267"/>
                    <a:pt x="82" y="216"/>
                    <a:pt x="54" y="219"/>
                  </a:cubicBezTo>
                  <a:cubicBezTo>
                    <a:pt x="54" y="219"/>
                    <a:pt x="79" y="194"/>
                    <a:pt x="147" y="208"/>
                  </a:cubicBezTo>
                  <a:cubicBezTo>
                    <a:pt x="147" y="208"/>
                    <a:pt x="125" y="170"/>
                    <a:pt x="99" y="166"/>
                  </a:cubicBezTo>
                  <a:cubicBezTo>
                    <a:pt x="99" y="166"/>
                    <a:pt x="111" y="132"/>
                    <a:pt x="188" y="150"/>
                  </a:cubicBezTo>
                  <a:cubicBezTo>
                    <a:pt x="188" y="150"/>
                    <a:pt x="176" y="103"/>
                    <a:pt x="139" y="101"/>
                  </a:cubicBezTo>
                  <a:cubicBezTo>
                    <a:pt x="139" y="101"/>
                    <a:pt x="182" y="73"/>
                    <a:pt x="235" y="97"/>
                  </a:cubicBezTo>
                  <a:cubicBezTo>
                    <a:pt x="235" y="97"/>
                    <a:pt x="222" y="48"/>
                    <a:pt x="201" y="44"/>
                  </a:cubicBezTo>
                  <a:cubicBezTo>
                    <a:pt x="201" y="44"/>
                    <a:pt x="300" y="44"/>
                    <a:pt x="333" y="79"/>
                  </a:cubicBezTo>
                  <a:cubicBezTo>
                    <a:pt x="333" y="79"/>
                    <a:pt x="319" y="34"/>
                    <a:pt x="298" y="13"/>
                  </a:cubicBezTo>
                  <a:cubicBezTo>
                    <a:pt x="298" y="13"/>
                    <a:pt x="394" y="31"/>
                    <a:pt x="397" y="69"/>
                  </a:cubicBezTo>
                  <a:cubicBezTo>
                    <a:pt x="397" y="69"/>
                    <a:pt x="409" y="41"/>
                    <a:pt x="400" y="13"/>
                  </a:cubicBezTo>
                  <a:cubicBezTo>
                    <a:pt x="400" y="13"/>
                    <a:pt x="450" y="25"/>
                    <a:pt x="456" y="60"/>
                  </a:cubicBezTo>
                  <a:cubicBezTo>
                    <a:pt x="456" y="60"/>
                    <a:pt x="475" y="8"/>
                    <a:pt x="502" y="0"/>
                  </a:cubicBezTo>
                  <a:cubicBezTo>
                    <a:pt x="502" y="0"/>
                    <a:pt x="491" y="49"/>
                    <a:pt x="500" y="69"/>
                  </a:cubicBezTo>
                  <a:cubicBezTo>
                    <a:pt x="500" y="69"/>
                    <a:pt x="544" y="42"/>
                    <a:pt x="585" y="28"/>
                  </a:cubicBezTo>
                  <a:cubicBezTo>
                    <a:pt x="585" y="28"/>
                    <a:pt x="553" y="61"/>
                    <a:pt x="553" y="88"/>
                  </a:cubicBezTo>
                  <a:cubicBezTo>
                    <a:pt x="553" y="88"/>
                    <a:pt x="594" y="47"/>
                    <a:pt x="632" y="44"/>
                  </a:cubicBezTo>
                  <a:cubicBezTo>
                    <a:pt x="632" y="44"/>
                    <a:pt x="583" y="97"/>
                    <a:pt x="615" y="111"/>
                  </a:cubicBezTo>
                  <a:cubicBezTo>
                    <a:pt x="615" y="111"/>
                    <a:pt x="656" y="83"/>
                    <a:pt x="698" y="88"/>
                  </a:cubicBezTo>
                  <a:cubicBezTo>
                    <a:pt x="698" y="88"/>
                    <a:pt x="668" y="122"/>
                    <a:pt x="681" y="140"/>
                  </a:cubicBezTo>
                  <a:cubicBezTo>
                    <a:pt x="681" y="140"/>
                    <a:pt x="719" y="122"/>
                    <a:pt x="766" y="132"/>
                  </a:cubicBezTo>
                  <a:cubicBezTo>
                    <a:pt x="766" y="132"/>
                    <a:pt x="702" y="166"/>
                    <a:pt x="721" y="187"/>
                  </a:cubicBezTo>
                  <a:cubicBezTo>
                    <a:pt x="721" y="187"/>
                    <a:pt x="770" y="175"/>
                    <a:pt x="819" y="191"/>
                  </a:cubicBezTo>
                  <a:cubicBezTo>
                    <a:pt x="819" y="191"/>
                    <a:pt x="759" y="223"/>
                    <a:pt x="768" y="242"/>
                  </a:cubicBezTo>
                  <a:cubicBezTo>
                    <a:pt x="768" y="242"/>
                    <a:pt x="800" y="246"/>
                    <a:pt x="844" y="256"/>
                  </a:cubicBezTo>
                  <a:cubicBezTo>
                    <a:pt x="844" y="256"/>
                    <a:pt x="800" y="263"/>
                    <a:pt x="785" y="286"/>
                  </a:cubicBezTo>
                  <a:cubicBezTo>
                    <a:pt x="785" y="286"/>
                    <a:pt x="813" y="286"/>
                    <a:pt x="849" y="322"/>
                  </a:cubicBezTo>
                  <a:cubicBezTo>
                    <a:pt x="849" y="322"/>
                    <a:pt x="791" y="325"/>
                    <a:pt x="786" y="359"/>
                  </a:cubicBezTo>
                  <a:cubicBezTo>
                    <a:pt x="786" y="359"/>
                    <a:pt x="830" y="356"/>
                    <a:pt x="870" y="403"/>
                  </a:cubicBezTo>
                  <a:cubicBezTo>
                    <a:pt x="870" y="403"/>
                    <a:pt x="798" y="389"/>
                    <a:pt x="793" y="424"/>
                  </a:cubicBezTo>
                  <a:cubicBezTo>
                    <a:pt x="832" y="424"/>
                    <a:pt x="844" y="462"/>
                    <a:pt x="844" y="470"/>
                  </a:cubicBezTo>
                  <a:close/>
                </a:path>
              </a:pathLst>
            </a:custGeom>
            <a:solidFill>
              <a:srgbClr val="3A876B">
                <a:lumMod val="20000"/>
                <a:lumOff val="8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grpSp>
        <p:nvGrpSpPr>
          <p:cNvPr id="34" name="그룹 66">
            <a:extLst>
              <a:ext uri="{FF2B5EF4-FFF2-40B4-BE49-F238E27FC236}">
                <a16:creationId xmlns:a16="http://schemas.microsoft.com/office/drawing/2014/main" id="{B0927F69-B6B9-4980-9E57-28AE7A49AED7}"/>
              </a:ext>
            </a:extLst>
          </p:cNvPr>
          <p:cNvGrpSpPr/>
          <p:nvPr/>
        </p:nvGrpSpPr>
        <p:grpSpPr>
          <a:xfrm>
            <a:off x="8089241" y="6243091"/>
            <a:ext cx="413309" cy="231192"/>
            <a:chOff x="7121525" y="190501"/>
            <a:chExt cx="896938" cy="515937"/>
          </a:xfrm>
          <a:solidFill>
            <a:srgbClr val="3A876B">
              <a:lumMod val="40000"/>
              <a:lumOff val="60000"/>
            </a:srgbClr>
          </a:solidFill>
        </p:grpSpPr>
        <p:sp>
          <p:nvSpPr>
            <p:cNvPr id="81" name="Freeform 41">
              <a:extLst>
                <a:ext uri="{FF2B5EF4-FFF2-40B4-BE49-F238E27FC236}">
                  <a16:creationId xmlns:a16="http://schemas.microsoft.com/office/drawing/2014/main" id="{7534BB6D-33CB-4E64-8FF3-3BD04B6D69B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1525" y="190501"/>
              <a:ext cx="896938" cy="481013"/>
            </a:xfrm>
            <a:custGeom>
              <a:avLst/>
              <a:gdLst>
                <a:gd name="T0" fmla="*/ 1180 w 1181"/>
                <a:gd name="T1" fmla="*/ 486 h 634"/>
                <a:gd name="T2" fmla="*/ 1024 w 1181"/>
                <a:gd name="T3" fmla="*/ 634 h 634"/>
                <a:gd name="T4" fmla="*/ 134 w 1181"/>
                <a:gd name="T5" fmla="*/ 634 h 634"/>
                <a:gd name="T6" fmla="*/ 0 w 1181"/>
                <a:gd name="T7" fmla="*/ 504 h 634"/>
                <a:gd name="T8" fmla="*/ 0 w 1181"/>
                <a:gd name="T9" fmla="*/ 503 h 634"/>
                <a:gd name="T10" fmla="*/ 23 w 1181"/>
                <a:gd name="T11" fmla="*/ 418 h 634"/>
                <a:gd name="T12" fmla="*/ 169 w 1181"/>
                <a:gd name="T13" fmla="*/ 334 h 634"/>
                <a:gd name="T14" fmla="*/ 214 w 1181"/>
                <a:gd name="T15" fmla="*/ 340 h 634"/>
                <a:gd name="T16" fmla="*/ 214 w 1181"/>
                <a:gd name="T17" fmla="*/ 334 h 634"/>
                <a:gd name="T18" fmla="*/ 383 w 1181"/>
                <a:gd name="T19" fmla="*/ 165 h 634"/>
                <a:gd name="T20" fmla="*/ 497 w 1181"/>
                <a:gd name="T21" fmla="*/ 210 h 634"/>
                <a:gd name="T22" fmla="*/ 977 w 1181"/>
                <a:gd name="T23" fmla="*/ 316 h 634"/>
                <a:gd name="T24" fmla="*/ 976 w 1181"/>
                <a:gd name="T25" fmla="*/ 337 h 634"/>
                <a:gd name="T26" fmla="*/ 1027 w 1181"/>
                <a:gd name="T27" fmla="*/ 328 h 634"/>
                <a:gd name="T28" fmla="*/ 1167 w 1181"/>
                <a:gd name="T29" fmla="*/ 418 h 634"/>
                <a:gd name="T30" fmla="*/ 1180 w 1181"/>
                <a:gd name="T31" fmla="*/ 486 h 6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1" h="634">
                  <a:moveTo>
                    <a:pt x="1180" y="486"/>
                  </a:moveTo>
                  <a:cubicBezTo>
                    <a:pt x="1178" y="569"/>
                    <a:pt x="1107" y="634"/>
                    <a:pt x="1024" y="634"/>
                  </a:cubicBezTo>
                  <a:lnTo>
                    <a:pt x="134" y="634"/>
                  </a:lnTo>
                  <a:cubicBezTo>
                    <a:pt x="62" y="634"/>
                    <a:pt x="1" y="577"/>
                    <a:pt x="0" y="504"/>
                  </a:cubicBezTo>
                  <a:cubicBezTo>
                    <a:pt x="0" y="504"/>
                    <a:pt x="0" y="503"/>
                    <a:pt x="0" y="503"/>
                  </a:cubicBezTo>
                  <a:cubicBezTo>
                    <a:pt x="0" y="472"/>
                    <a:pt x="8" y="443"/>
                    <a:pt x="23" y="418"/>
                  </a:cubicBezTo>
                  <a:cubicBezTo>
                    <a:pt x="52" y="368"/>
                    <a:pt x="107" y="334"/>
                    <a:pt x="169" y="334"/>
                  </a:cubicBezTo>
                  <a:cubicBezTo>
                    <a:pt x="185" y="334"/>
                    <a:pt x="200" y="336"/>
                    <a:pt x="214" y="340"/>
                  </a:cubicBezTo>
                  <a:cubicBezTo>
                    <a:pt x="214" y="338"/>
                    <a:pt x="214" y="336"/>
                    <a:pt x="214" y="334"/>
                  </a:cubicBezTo>
                  <a:cubicBezTo>
                    <a:pt x="214" y="241"/>
                    <a:pt x="289" y="165"/>
                    <a:pt x="383" y="165"/>
                  </a:cubicBezTo>
                  <a:cubicBezTo>
                    <a:pt x="427" y="165"/>
                    <a:pt x="467" y="182"/>
                    <a:pt x="497" y="210"/>
                  </a:cubicBezTo>
                  <a:cubicBezTo>
                    <a:pt x="594" y="0"/>
                    <a:pt x="977" y="31"/>
                    <a:pt x="977" y="316"/>
                  </a:cubicBezTo>
                  <a:cubicBezTo>
                    <a:pt x="977" y="323"/>
                    <a:pt x="977" y="330"/>
                    <a:pt x="976" y="337"/>
                  </a:cubicBezTo>
                  <a:cubicBezTo>
                    <a:pt x="992" y="331"/>
                    <a:pt x="1009" y="328"/>
                    <a:pt x="1027" y="328"/>
                  </a:cubicBezTo>
                  <a:cubicBezTo>
                    <a:pt x="1089" y="328"/>
                    <a:pt x="1143" y="365"/>
                    <a:pt x="1167" y="418"/>
                  </a:cubicBezTo>
                  <a:cubicBezTo>
                    <a:pt x="1176" y="439"/>
                    <a:pt x="1181" y="462"/>
                    <a:pt x="1180" y="4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82" name="Freeform 42">
              <a:extLst>
                <a:ext uri="{FF2B5EF4-FFF2-40B4-BE49-F238E27FC236}">
                  <a16:creationId xmlns:a16="http://schemas.microsoft.com/office/drawing/2014/main" id="{755F1794-FC2E-4911-8C25-C17EED55E4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9163" y="369888"/>
              <a:ext cx="625475" cy="336550"/>
            </a:xfrm>
            <a:custGeom>
              <a:avLst/>
              <a:gdLst>
                <a:gd name="T0" fmla="*/ 824 w 824"/>
                <a:gd name="T1" fmla="*/ 339 h 443"/>
                <a:gd name="T2" fmla="*/ 714 w 824"/>
                <a:gd name="T3" fmla="*/ 443 h 443"/>
                <a:gd name="T4" fmla="*/ 93 w 824"/>
                <a:gd name="T5" fmla="*/ 443 h 443"/>
                <a:gd name="T6" fmla="*/ 0 w 824"/>
                <a:gd name="T7" fmla="*/ 352 h 443"/>
                <a:gd name="T8" fmla="*/ 0 w 824"/>
                <a:gd name="T9" fmla="*/ 351 h 443"/>
                <a:gd name="T10" fmla="*/ 16 w 824"/>
                <a:gd name="T11" fmla="*/ 292 h 443"/>
                <a:gd name="T12" fmla="*/ 118 w 824"/>
                <a:gd name="T13" fmla="*/ 233 h 443"/>
                <a:gd name="T14" fmla="*/ 149 w 824"/>
                <a:gd name="T15" fmla="*/ 238 h 443"/>
                <a:gd name="T16" fmla="*/ 149 w 824"/>
                <a:gd name="T17" fmla="*/ 233 h 443"/>
                <a:gd name="T18" fmla="*/ 267 w 824"/>
                <a:gd name="T19" fmla="*/ 115 h 443"/>
                <a:gd name="T20" fmla="*/ 347 w 824"/>
                <a:gd name="T21" fmla="*/ 147 h 443"/>
                <a:gd name="T22" fmla="*/ 682 w 824"/>
                <a:gd name="T23" fmla="*/ 221 h 443"/>
                <a:gd name="T24" fmla="*/ 681 w 824"/>
                <a:gd name="T25" fmla="*/ 236 h 443"/>
                <a:gd name="T26" fmla="*/ 717 w 824"/>
                <a:gd name="T27" fmla="*/ 229 h 443"/>
                <a:gd name="T28" fmla="*/ 814 w 824"/>
                <a:gd name="T29" fmla="*/ 292 h 443"/>
                <a:gd name="T30" fmla="*/ 824 w 824"/>
                <a:gd name="T31" fmla="*/ 339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24" h="443">
                  <a:moveTo>
                    <a:pt x="824" y="339"/>
                  </a:moveTo>
                  <a:cubicBezTo>
                    <a:pt x="822" y="397"/>
                    <a:pt x="773" y="443"/>
                    <a:pt x="714" y="443"/>
                  </a:cubicBezTo>
                  <a:lnTo>
                    <a:pt x="93" y="443"/>
                  </a:lnTo>
                  <a:cubicBezTo>
                    <a:pt x="43" y="443"/>
                    <a:pt x="0" y="403"/>
                    <a:pt x="0" y="352"/>
                  </a:cubicBezTo>
                  <a:lnTo>
                    <a:pt x="0" y="351"/>
                  </a:lnTo>
                  <a:cubicBezTo>
                    <a:pt x="0" y="330"/>
                    <a:pt x="6" y="309"/>
                    <a:pt x="16" y="292"/>
                  </a:cubicBezTo>
                  <a:cubicBezTo>
                    <a:pt x="36" y="257"/>
                    <a:pt x="74" y="233"/>
                    <a:pt x="118" y="233"/>
                  </a:cubicBezTo>
                  <a:cubicBezTo>
                    <a:pt x="129" y="233"/>
                    <a:pt x="139" y="235"/>
                    <a:pt x="149" y="238"/>
                  </a:cubicBezTo>
                  <a:cubicBezTo>
                    <a:pt x="149" y="236"/>
                    <a:pt x="149" y="235"/>
                    <a:pt x="149" y="233"/>
                  </a:cubicBezTo>
                  <a:cubicBezTo>
                    <a:pt x="149" y="168"/>
                    <a:pt x="202" y="115"/>
                    <a:pt x="267" y="115"/>
                  </a:cubicBezTo>
                  <a:cubicBezTo>
                    <a:pt x="298" y="115"/>
                    <a:pt x="326" y="127"/>
                    <a:pt x="347" y="147"/>
                  </a:cubicBezTo>
                  <a:cubicBezTo>
                    <a:pt x="414" y="0"/>
                    <a:pt x="682" y="22"/>
                    <a:pt x="682" y="221"/>
                  </a:cubicBezTo>
                  <a:cubicBezTo>
                    <a:pt x="682" y="226"/>
                    <a:pt x="681" y="231"/>
                    <a:pt x="681" y="236"/>
                  </a:cubicBezTo>
                  <a:cubicBezTo>
                    <a:pt x="692" y="232"/>
                    <a:pt x="704" y="229"/>
                    <a:pt x="717" y="229"/>
                  </a:cubicBezTo>
                  <a:cubicBezTo>
                    <a:pt x="760" y="229"/>
                    <a:pt x="797" y="255"/>
                    <a:pt x="814" y="292"/>
                  </a:cubicBezTo>
                  <a:cubicBezTo>
                    <a:pt x="821" y="306"/>
                    <a:pt x="824" y="322"/>
                    <a:pt x="824" y="339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grpSp>
        <p:nvGrpSpPr>
          <p:cNvPr id="35" name="그룹 69">
            <a:extLst>
              <a:ext uri="{FF2B5EF4-FFF2-40B4-BE49-F238E27FC236}">
                <a16:creationId xmlns:a16="http://schemas.microsoft.com/office/drawing/2014/main" id="{B158859C-73C3-461B-92B2-0401777E13BF}"/>
              </a:ext>
            </a:extLst>
          </p:cNvPr>
          <p:cNvGrpSpPr/>
          <p:nvPr/>
        </p:nvGrpSpPr>
        <p:grpSpPr>
          <a:xfrm>
            <a:off x="8432832" y="5329341"/>
            <a:ext cx="785055" cy="1209896"/>
            <a:chOff x="4979988" y="223838"/>
            <a:chExt cx="439738" cy="696913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78" name="Rectangle 43">
              <a:extLst>
                <a:ext uri="{FF2B5EF4-FFF2-40B4-BE49-F238E27FC236}">
                  <a16:creationId xmlns:a16="http://schemas.microsoft.com/office/drawing/2014/main" id="{C6754083-994C-4C32-8433-44DEBA2987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92713" y="763588"/>
              <a:ext cx="15875" cy="157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79" name="Freeform 44">
              <a:extLst>
                <a:ext uri="{FF2B5EF4-FFF2-40B4-BE49-F238E27FC236}">
                  <a16:creationId xmlns:a16="http://schemas.microsoft.com/office/drawing/2014/main" id="{BD76D746-EDC2-4D57-82F6-9DBF65D9FA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79988" y="223838"/>
              <a:ext cx="439738" cy="555625"/>
            </a:xfrm>
            <a:custGeom>
              <a:avLst/>
              <a:gdLst>
                <a:gd name="T0" fmla="*/ 289 w 578"/>
                <a:gd name="T1" fmla="*/ 265 h 733"/>
                <a:gd name="T2" fmla="*/ 290 w 578"/>
                <a:gd name="T3" fmla="*/ 265 h 733"/>
                <a:gd name="T4" fmla="*/ 288 w 578"/>
                <a:gd name="T5" fmla="*/ 265 h 733"/>
                <a:gd name="T6" fmla="*/ 289 w 578"/>
                <a:gd name="T7" fmla="*/ 265 h 733"/>
                <a:gd name="T8" fmla="*/ 578 w 578"/>
                <a:gd name="T9" fmla="*/ 733 h 733"/>
                <a:gd name="T10" fmla="*/ 425 w 578"/>
                <a:gd name="T11" fmla="*/ 548 h 733"/>
                <a:gd name="T12" fmla="*/ 524 w 578"/>
                <a:gd name="T13" fmla="*/ 548 h 733"/>
                <a:gd name="T14" fmla="*/ 397 w 578"/>
                <a:gd name="T15" fmla="*/ 395 h 733"/>
                <a:gd name="T16" fmla="*/ 479 w 578"/>
                <a:gd name="T17" fmla="*/ 395 h 733"/>
                <a:gd name="T18" fmla="*/ 381 w 578"/>
                <a:gd name="T19" fmla="*/ 265 h 733"/>
                <a:gd name="T20" fmla="*/ 458 w 578"/>
                <a:gd name="T21" fmla="*/ 265 h 733"/>
                <a:gd name="T22" fmla="*/ 354 w 578"/>
                <a:gd name="T23" fmla="*/ 151 h 733"/>
                <a:gd name="T24" fmla="*/ 427 w 578"/>
                <a:gd name="T25" fmla="*/ 151 h 733"/>
                <a:gd name="T26" fmla="*/ 289 w 578"/>
                <a:gd name="T27" fmla="*/ 0 h 733"/>
                <a:gd name="T28" fmla="*/ 151 w 578"/>
                <a:gd name="T29" fmla="*/ 151 h 733"/>
                <a:gd name="T30" fmla="*/ 224 w 578"/>
                <a:gd name="T31" fmla="*/ 151 h 733"/>
                <a:gd name="T32" fmla="*/ 119 w 578"/>
                <a:gd name="T33" fmla="*/ 265 h 733"/>
                <a:gd name="T34" fmla="*/ 197 w 578"/>
                <a:gd name="T35" fmla="*/ 265 h 733"/>
                <a:gd name="T36" fmla="*/ 99 w 578"/>
                <a:gd name="T37" fmla="*/ 395 h 733"/>
                <a:gd name="T38" fmla="*/ 181 w 578"/>
                <a:gd name="T39" fmla="*/ 395 h 733"/>
                <a:gd name="T40" fmla="*/ 54 w 578"/>
                <a:gd name="T41" fmla="*/ 548 h 733"/>
                <a:gd name="T42" fmla="*/ 153 w 578"/>
                <a:gd name="T43" fmla="*/ 548 h 733"/>
                <a:gd name="T44" fmla="*/ 0 w 578"/>
                <a:gd name="T45" fmla="*/ 733 h 733"/>
                <a:gd name="T46" fmla="*/ 578 w 578"/>
                <a:gd name="T47" fmla="*/ 733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78" h="733">
                  <a:moveTo>
                    <a:pt x="289" y="265"/>
                  </a:moveTo>
                  <a:lnTo>
                    <a:pt x="290" y="265"/>
                  </a:lnTo>
                  <a:lnTo>
                    <a:pt x="288" y="265"/>
                  </a:lnTo>
                  <a:lnTo>
                    <a:pt x="289" y="265"/>
                  </a:lnTo>
                  <a:close/>
                  <a:moveTo>
                    <a:pt x="578" y="733"/>
                  </a:moveTo>
                  <a:lnTo>
                    <a:pt x="425" y="548"/>
                  </a:lnTo>
                  <a:lnTo>
                    <a:pt x="524" y="548"/>
                  </a:lnTo>
                  <a:lnTo>
                    <a:pt x="397" y="395"/>
                  </a:lnTo>
                  <a:lnTo>
                    <a:pt x="479" y="395"/>
                  </a:lnTo>
                  <a:lnTo>
                    <a:pt x="381" y="265"/>
                  </a:lnTo>
                  <a:lnTo>
                    <a:pt x="458" y="265"/>
                  </a:lnTo>
                  <a:lnTo>
                    <a:pt x="354" y="151"/>
                  </a:lnTo>
                  <a:lnTo>
                    <a:pt x="427" y="151"/>
                  </a:lnTo>
                  <a:lnTo>
                    <a:pt x="289" y="0"/>
                  </a:lnTo>
                  <a:lnTo>
                    <a:pt x="151" y="151"/>
                  </a:lnTo>
                  <a:lnTo>
                    <a:pt x="224" y="151"/>
                  </a:lnTo>
                  <a:lnTo>
                    <a:pt x="119" y="265"/>
                  </a:lnTo>
                  <a:lnTo>
                    <a:pt x="197" y="265"/>
                  </a:lnTo>
                  <a:lnTo>
                    <a:pt x="99" y="395"/>
                  </a:lnTo>
                  <a:lnTo>
                    <a:pt x="181" y="395"/>
                  </a:lnTo>
                  <a:lnTo>
                    <a:pt x="54" y="548"/>
                  </a:lnTo>
                  <a:lnTo>
                    <a:pt x="153" y="548"/>
                  </a:lnTo>
                  <a:lnTo>
                    <a:pt x="0" y="733"/>
                  </a:lnTo>
                  <a:lnTo>
                    <a:pt x="578" y="7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80" name="Freeform 45">
              <a:extLst>
                <a:ext uri="{FF2B5EF4-FFF2-40B4-BE49-F238E27FC236}">
                  <a16:creationId xmlns:a16="http://schemas.microsoft.com/office/drawing/2014/main" id="{FAE70D69-CAB9-4E21-BAFF-FEA3540EB86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00650" y="223838"/>
              <a:ext cx="219075" cy="555625"/>
            </a:xfrm>
            <a:custGeom>
              <a:avLst/>
              <a:gdLst>
                <a:gd name="T0" fmla="*/ 136 w 289"/>
                <a:gd name="T1" fmla="*/ 548 h 733"/>
                <a:gd name="T2" fmla="*/ 235 w 289"/>
                <a:gd name="T3" fmla="*/ 548 h 733"/>
                <a:gd name="T4" fmla="*/ 108 w 289"/>
                <a:gd name="T5" fmla="*/ 395 h 733"/>
                <a:gd name="T6" fmla="*/ 190 w 289"/>
                <a:gd name="T7" fmla="*/ 395 h 733"/>
                <a:gd name="T8" fmla="*/ 92 w 289"/>
                <a:gd name="T9" fmla="*/ 265 h 733"/>
                <a:gd name="T10" fmla="*/ 169 w 289"/>
                <a:gd name="T11" fmla="*/ 265 h 733"/>
                <a:gd name="T12" fmla="*/ 65 w 289"/>
                <a:gd name="T13" fmla="*/ 151 h 733"/>
                <a:gd name="T14" fmla="*/ 138 w 289"/>
                <a:gd name="T15" fmla="*/ 151 h 733"/>
                <a:gd name="T16" fmla="*/ 0 w 289"/>
                <a:gd name="T17" fmla="*/ 0 h 733"/>
                <a:gd name="T18" fmla="*/ 0 w 289"/>
                <a:gd name="T19" fmla="*/ 265 h 733"/>
                <a:gd name="T20" fmla="*/ 1 w 289"/>
                <a:gd name="T21" fmla="*/ 265 h 733"/>
                <a:gd name="T22" fmla="*/ 0 w 289"/>
                <a:gd name="T23" fmla="*/ 265 h 733"/>
                <a:gd name="T24" fmla="*/ 0 w 289"/>
                <a:gd name="T25" fmla="*/ 733 h 733"/>
                <a:gd name="T26" fmla="*/ 289 w 289"/>
                <a:gd name="T27" fmla="*/ 733 h 733"/>
                <a:gd name="T28" fmla="*/ 136 w 289"/>
                <a:gd name="T29" fmla="*/ 548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9" h="733">
                  <a:moveTo>
                    <a:pt x="136" y="548"/>
                  </a:moveTo>
                  <a:lnTo>
                    <a:pt x="235" y="548"/>
                  </a:lnTo>
                  <a:lnTo>
                    <a:pt x="108" y="395"/>
                  </a:lnTo>
                  <a:lnTo>
                    <a:pt x="190" y="395"/>
                  </a:lnTo>
                  <a:lnTo>
                    <a:pt x="92" y="265"/>
                  </a:lnTo>
                  <a:lnTo>
                    <a:pt x="169" y="265"/>
                  </a:lnTo>
                  <a:lnTo>
                    <a:pt x="65" y="151"/>
                  </a:lnTo>
                  <a:lnTo>
                    <a:pt x="138" y="151"/>
                  </a:lnTo>
                  <a:lnTo>
                    <a:pt x="0" y="0"/>
                  </a:lnTo>
                  <a:lnTo>
                    <a:pt x="0" y="265"/>
                  </a:lnTo>
                  <a:lnTo>
                    <a:pt x="1" y="265"/>
                  </a:lnTo>
                  <a:lnTo>
                    <a:pt x="0" y="265"/>
                  </a:lnTo>
                  <a:lnTo>
                    <a:pt x="0" y="733"/>
                  </a:lnTo>
                  <a:lnTo>
                    <a:pt x="289" y="733"/>
                  </a:lnTo>
                  <a:lnTo>
                    <a:pt x="136" y="5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grpSp>
        <p:nvGrpSpPr>
          <p:cNvPr id="36" name="그룹 73">
            <a:extLst>
              <a:ext uri="{FF2B5EF4-FFF2-40B4-BE49-F238E27FC236}">
                <a16:creationId xmlns:a16="http://schemas.microsoft.com/office/drawing/2014/main" id="{03A00E83-FC5E-4FCE-9D97-A86937A2D544}"/>
              </a:ext>
            </a:extLst>
          </p:cNvPr>
          <p:cNvGrpSpPr/>
          <p:nvPr/>
        </p:nvGrpSpPr>
        <p:grpSpPr>
          <a:xfrm>
            <a:off x="6394542" y="5358985"/>
            <a:ext cx="565517" cy="791510"/>
            <a:chOff x="5413375" y="214313"/>
            <a:chExt cx="444500" cy="639763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75" name="Rectangle 49">
              <a:extLst>
                <a:ext uri="{FF2B5EF4-FFF2-40B4-BE49-F238E27FC236}">
                  <a16:creationId xmlns:a16="http://schemas.microsoft.com/office/drawing/2014/main" id="{7048C9D9-6DF5-4D4D-B941-F32BFA77A1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22925" y="611188"/>
              <a:ext cx="25400" cy="242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76" name="Freeform 50">
              <a:extLst>
                <a:ext uri="{FF2B5EF4-FFF2-40B4-BE49-F238E27FC236}">
                  <a16:creationId xmlns:a16="http://schemas.microsoft.com/office/drawing/2014/main" id="{5ABB3584-B030-4120-AAD3-6B5F8CE822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3375" y="214313"/>
              <a:ext cx="444500" cy="461963"/>
            </a:xfrm>
            <a:custGeom>
              <a:avLst/>
              <a:gdLst>
                <a:gd name="T0" fmla="*/ 0 w 584"/>
                <a:gd name="T1" fmla="*/ 608 h 608"/>
                <a:gd name="T2" fmla="*/ 151 w 584"/>
                <a:gd name="T3" fmla="*/ 408 h 608"/>
                <a:gd name="T4" fmla="*/ 31 w 584"/>
                <a:gd name="T5" fmla="*/ 408 h 608"/>
                <a:gd name="T6" fmla="*/ 192 w 584"/>
                <a:gd name="T7" fmla="*/ 232 h 608"/>
                <a:gd name="T8" fmla="*/ 80 w 584"/>
                <a:gd name="T9" fmla="*/ 232 h 608"/>
                <a:gd name="T10" fmla="*/ 292 w 584"/>
                <a:gd name="T11" fmla="*/ 0 h 608"/>
                <a:gd name="T12" fmla="*/ 503 w 584"/>
                <a:gd name="T13" fmla="*/ 232 h 608"/>
                <a:gd name="T14" fmla="*/ 391 w 584"/>
                <a:gd name="T15" fmla="*/ 232 h 608"/>
                <a:gd name="T16" fmla="*/ 552 w 584"/>
                <a:gd name="T17" fmla="*/ 408 h 608"/>
                <a:gd name="T18" fmla="*/ 433 w 584"/>
                <a:gd name="T19" fmla="*/ 408 h 608"/>
                <a:gd name="T20" fmla="*/ 584 w 584"/>
                <a:gd name="T21" fmla="*/ 608 h 608"/>
                <a:gd name="T22" fmla="*/ 0 w 584"/>
                <a:gd name="T23" fmla="*/ 608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84" h="608">
                  <a:moveTo>
                    <a:pt x="0" y="608"/>
                  </a:moveTo>
                  <a:lnTo>
                    <a:pt x="151" y="408"/>
                  </a:lnTo>
                  <a:lnTo>
                    <a:pt x="31" y="408"/>
                  </a:lnTo>
                  <a:lnTo>
                    <a:pt x="192" y="232"/>
                  </a:lnTo>
                  <a:lnTo>
                    <a:pt x="80" y="232"/>
                  </a:lnTo>
                  <a:lnTo>
                    <a:pt x="292" y="0"/>
                  </a:lnTo>
                  <a:lnTo>
                    <a:pt x="503" y="232"/>
                  </a:lnTo>
                  <a:lnTo>
                    <a:pt x="391" y="232"/>
                  </a:lnTo>
                  <a:lnTo>
                    <a:pt x="552" y="408"/>
                  </a:lnTo>
                  <a:lnTo>
                    <a:pt x="433" y="408"/>
                  </a:lnTo>
                  <a:lnTo>
                    <a:pt x="584" y="608"/>
                  </a:lnTo>
                  <a:lnTo>
                    <a:pt x="0" y="6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77" name="Freeform 51">
              <a:extLst>
                <a:ext uri="{FF2B5EF4-FFF2-40B4-BE49-F238E27FC236}">
                  <a16:creationId xmlns:a16="http://schemas.microsoft.com/office/drawing/2014/main" id="{1FFF67AB-39FF-4995-9FE9-38317DB30B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5625" y="214313"/>
              <a:ext cx="222250" cy="461963"/>
            </a:xfrm>
            <a:custGeom>
              <a:avLst/>
              <a:gdLst>
                <a:gd name="T0" fmla="*/ 292 w 292"/>
                <a:gd name="T1" fmla="*/ 608 h 608"/>
                <a:gd name="T2" fmla="*/ 0 w 292"/>
                <a:gd name="T3" fmla="*/ 608 h 608"/>
                <a:gd name="T4" fmla="*/ 0 w 292"/>
                <a:gd name="T5" fmla="*/ 0 h 608"/>
                <a:gd name="T6" fmla="*/ 211 w 292"/>
                <a:gd name="T7" fmla="*/ 232 h 608"/>
                <a:gd name="T8" fmla="*/ 99 w 292"/>
                <a:gd name="T9" fmla="*/ 232 h 608"/>
                <a:gd name="T10" fmla="*/ 260 w 292"/>
                <a:gd name="T11" fmla="*/ 408 h 608"/>
                <a:gd name="T12" fmla="*/ 141 w 292"/>
                <a:gd name="T13" fmla="*/ 408 h 608"/>
                <a:gd name="T14" fmla="*/ 292 w 292"/>
                <a:gd name="T15" fmla="*/ 608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2" h="608">
                  <a:moveTo>
                    <a:pt x="292" y="608"/>
                  </a:moveTo>
                  <a:lnTo>
                    <a:pt x="0" y="608"/>
                  </a:lnTo>
                  <a:lnTo>
                    <a:pt x="0" y="0"/>
                  </a:lnTo>
                  <a:lnTo>
                    <a:pt x="211" y="232"/>
                  </a:lnTo>
                  <a:lnTo>
                    <a:pt x="99" y="232"/>
                  </a:lnTo>
                  <a:lnTo>
                    <a:pt x="260" y="408"/>
                  </a:lnTo>
                  <a:lnTo>
                    <a:pt x="141" y="408"/>
                  </a:lnTo>
                  <a:lnTo>
                    <a:pt x="292" y="6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grpSp>
        <p:nvGrpSpPr>
          <p:cNvPr id="37" name="그룹 77">
            <a:extLst>
              <a:ext uri="{FF2B5EF4-FFF2-40B4-BE49-F238E27FC236}">
                <a16:creationId xmlns:a16="http://schemas.microsoft.com/office/drawing/2014/main" id="{6BED55CA-20BE-4696-884C-61E8FE50A1C9}"/>
              </a:ext>
            </a:extLst>
          </p:cNvPr>
          <p:cNvGrpSpPr/>
          <p:nvPr/>
        </p:nvGrpSpPr>
        <p:grpSpPr>
          <a:xfrm>
            <a:off x="2814453" y="5203050"/>
            <a:ext cx="600800" cy="1284156"/>
            <a:chOff x="7313613" y="874713"/>
            <a:chExt cx="473075" cy="1039813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72" name="Rectangle 68">
              <a:extLst>
                <a:ext uri="{FF2B5EF4-FFF2-40B4-BE49-F238E27FC236}">
                  <a16:creationId xmlns:a16="http://schemas.microsoft.com/office/drawing/2014/main" id="{638FD28A-DD81-4034-ACF5-E7AD587B5E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31100" y="1560513"/>
              <a:ext cx="36513" cy="3540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73" name="Freeform 69">
              <a:extLst>
                <a:ext uri="{FF2B5EF4-FFF2-40B4-BE49-F238E27FC236}">
                  <a16:creationId xmlns:a16="http://schemas.microsoft.com/office/drawing/2014/main" id="{70B8F23E-274E-49FD-B318-1D2DD545A65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3613" y="874713"/>
              <a:ext cx="473075" cy="685800"/>
            </a:xfrm>
            <a:custGeom>
              <a:avLst/>
              <a:gdLst>
                <a:gd name="T0" fmla="*/ 39 w 623"/>
                <a:gd name="T1" fmla="*/ 674 h 903"/>
                <a:gd name="T2" fmla="*/ 251 w 623"/>
                <a:gd name="T3" fmla="*/ 58 h 903"/>
                <a:gd name="T4" fmla="*/ 373 w 623"/>
                <a:gd name="T5" fmla="*/ 58 h 903"/>
                <a:gd name="T6" fmla="*/ 584 w 623"/>
                <a:gd name="T7" fmla="*/ 674 h 903"/>
                <a:gd name="T8" fmla="*/ 421 w 623"/>
                <a:gd name="T9" fmla="*/ 903 h 903"/>
                <a:gd name="T10" fmla="*/ 202 w 623"/>
                <a:gd name="T11" fmla="*/ 903 h 903"/>
                <a:gd name="T12" fmla="*/ 39 w 623"/>
                <a:gd name="T13" fmla="*/ 674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3" h="903">
                  <a:moveTo>
                    <a:pt x="39" y="674"/>
                  </a:moveTo>
                  <a:lnTo>
                    <a:pt x="251" y="58"/>
                  </a:lnTo>
                  <a:cubicBezTo>
                    <a:pt x="271" y="0"/>
                    <a:pt x="353" y="0"/>
                    <a:pt x="373" y="58"/>
                  </a:cubicBezTo>
                  <a:lnTo>
                    <a:pt x="584" y="674"/>
                  </a:lnTo>
                  <a:cubicBezTo>
                    <a:pt x="623" y="786"/>
                    <a:pt x="540" y="903"/>
                    <a:pt x="421" y="903"/>
                  </a:cubicBezTo>
                  <a:lnTo>
                    <a:pt x="202" y="903"/>
                  </a:lnTo>
                  <a:cubicBezTo>
                    <a:pt x="84" y="903"/>
                    <a:pt x="0" y="786"/>
                    <a:pt x="39" y="6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74" name="Freeform 72">
              <a:extLst>
                <a:ext uri="{FF2B5EF4-FFF2-40B4-BE49-F238E27FC236}">
                  <a16:creationId xmlns:a16="http://schemas.microsoft.com/office/drawing/2014/main" id="{F132DFD9-3C41-4349-83E8-E92A61BE9596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0150" y="885826"/>
              <a:ext cx="236538" cy="674688"/>
            </a:xfrm>
            <a:custGeom>
              <a:avLst/>
              <a:gdLst>
                <a:gd name="T0" fmla="*/ 61 w 311"/>
                <a:gd name="T1" fmla="*/ 44 h 889"/>
                <a:gd name="T2" fmla="*/ 0 w 311"/>
                <a:gd name="T3" fmla="*/ 0 h 889"/>
                <a:gd name="T4" fmla="*/ 0 w 311"/>
                <a:gd name="T5" fmla="*/ 889 h 889"/>
                <a:gd name="T6" fmla="*/ 109 w 311"/>
                <a:gd name="T7" fmla="*/ 889 h 889"/>
                <a:gd name="T8" fmla="*/ 272 w 311"/>
                <a:gd name="T9" fmla="*/ 660 h 889"/>
                <a:gd name="T10" fmla="*/ 61 w 311"/>
                <a:gd name="T11" fmla="*/ 44 h 8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1" h="889">
                  <a:moveTo>
                    <a:pt x="61" y="44"/>
                  </a:moveTo>
                  <a:cubicBezTo>
                    <a:pt x="51" y="15"/>
                    <a:pt x="25" y="0"/>
                    <a:pt x="0" y="0"/>
                  </a:cubicBezTo>
                  <a:lnTo>
                    <a:pt x="0" y="889"/>
                  </a:lnTo>
                  <a:lnTo>
                    <a:pt x="109" y="889"/>
                  </a:lnTo>
                  <a:cubicBezTo>
                    <a:pt x="228" y="889"/>
                    <a:pt x="311" y="772"/>
                    <a:pt x="272" y="660"/>
                  </a:cubicBezTo>
                  <a:lnTo>
                    <a:pt x="6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grpSp>
        <p:nvGrpSpPr>
          <p:cNvPr id="38" name="그룹 81">
            <a:extLst>
              <a:ext uri="{FF2B5EF4-FFF2-40B4-BE49-F238E27FC236}">
                <a16:creationId xmlns:a16="http://schemas.microsoft.com/office/drawing/2014/main" id="{26E90B53-52E0-4C39-A54B-7ED874D0A4B8}"/>
              </a:ext>
            </a:extLst>
          </p:cNvPr>
          <p:cNvGrpSpPr/>
          <p:nvPr/>
        </p:nvGrpSpPr>
        <p:grpSpPr>
          <a:xfrm>
            <a:off x="2207475" y="5666974"/>
            <a:ext cx="544031" cy="761438"/>
            <a:chOff x="5413375" y="214313"/>
            <a:chExt cx="444500" cy="639763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69" name="Rectangle 49">
              <a:extLst>
                <a:ext uri="{FF2B5EF4-FFF2-40B4-BE49-F238E27FC236}">
                  <a16:creationId xmlns:a16="http://schemas.microsoft.com/office/drawing/2014/main" id="{A9B3948D-0986-4DFE-8234-5900647FF9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22925" y="611188"/>
              <a:ext cx="25400" cy="242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70" name="Freeform 50">
              <a:extLst>
                <a:ext uri="{FF2B5EF4-FFF2-40B4-BE49-F238E27FC236}">
                  <a16:creationId xmlns:a16="http://schemas.microsoft.com/office/drawing/2014/main" id="{B4A88EB7-F40D-4E14-9DF0-9B4FA4FFCE7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3375" y="214313"/>
              <a:ext cx="444500" cy="461963"/>
            </a:xfrm>
            <a:custGeom>
              <a:avLst/>
              <a:gdLst>
                <a:gd name="T0" fmla="*/ 0 w 584"/>
                <a:gd name="T1" fmla="*/ 608 h 608"/>
                <a:gd name="T2" fmla="*/ 151 w 584"/>
                <a:gd name="T3" fmla="*/ 408 h 608"/>
                <a:gd name="T4" fmla="*/ 31 w 584"/>
                <a:gd name="T5" fmla="*/ 408 h 608"/>
                <a:gd name="T6" fmla="*/ 192 w 584"/>
                <a:gd name="T7" fmla="*/ 232 h 608"/>
                <a:gd name="T8" fmla="*/ 80 w 584"/>
                <a:gd name="T9" fmla="*/ 232 h 608"/>
                <a:gd name="T10" fmla="*/ 292 w 584"/>
                <a:gd name="T11" fmla="*/ 0 h 608"/>
                <a:gd name="T12" fmla="*/ 503 w 584"/>
                <a:gd name="T13" fmla="*/ 232 h 608"/>
                <a:gd name="T14" fmla="*/ 391 w 584"/>
                <a:gd name="T15" fmla="*/ 232 h 608"/>
                <a:gd name="T16" fmla="*/ 552 w 584"/>
                <a:gd name="T17" fmla="*/ 408 h 608"/>
                <a:gd name="T18" fmla="*/ 433 w 584"/>
                <a:gd name="T19" fmla="*/ 408 h 608"/>
                <a:gd name="T20" fmla="*/ 584 w 584"/>
                <a:gd name="T21" fmla="*/ 608 h 608"/>
                <a:gd name="T22" fmla="*/ 0 w 584"/>
                <a:gd name="T23" fmla="*/ 608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84" h="608">
                  <a:moveTo>
                    <a:pt x="0" y="608"/>
                  </a:moveTo>
                  <a:lnTo>
                    <a:pt x="151" y="408"/>
                  </a:lnTo>
                  <a:lnTo>
                    <a:pt x="31" y="408"/>
                  </a:lnTo>
                  <a:lnTo>
                    <a:pt x="192" y="232"/>
                  </a:lnTo>
                  <a:lnTo>
                    <a:pt x="80" y="232"/>
                  </a:lnTo>
                  <a:lnTo>
                    <a:pt x="292" y="0"/>
                  </a:lnTo>
                  <a:lnTo>
                    <a:pt x="503" y="232"/>
                  </a:lnTo>
                  <a:lnTo>
                    <a:pt x="391" y="232"/>
                  </a:lnTo>
                  <a:lnTo>
                    <a:pt x="552" y="408"/>
                  </a:lnTo>
                  <a:lnTo>
                    <a:pt x="433" y="408"/>
                  </a:lnTo>
                  <a:lnTo>
                    <a:pt x="584" y="608"/>
                  </a:lnTo>
                  <a:lnTo>
                    <a:pt x="0" y="6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71" name="Freeform 51">
              <a:extLst>
                <a:ext uri="{FF2B5EF4-FFF2-40B4-BE49-F238E27FC236}">
                  <a16:creationId xmlns:a16="http://schemas.microsoft.com/office/drawing/2014/main" id="{17BB6E62-866C-4DFE-9F54-CA75A03620E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5625" y="214313"/>
              <a:ext cx="222250" cy="461963"/>
            </a:xfrm>
            <a:custGeom>
              <a:avLst/>
              <a:gdLst>
                <a:gd name="T0" fmla="*/ 292 w 292"/>
                <a:gd name="T1" fmla="*/ 608 h 608"/>
                <a:gd name="T2" fmla="*/ 0 w 292"/>
                <a:gd name="T3" fmla="*/ 608 h 608"/>
                <a:gd name="T4" fmla="*/ 0 w 292"/>
                <a:gd name="T5" fmla="*/ 0 h 608"/>
                <a:gd name="T6" fmla="*/ 211 w 292"/>
                <a:gd name="T7" fmla="*/ 232 h 608"/>
                <a:gd name="T8" fmla="*/ 99 w 292"/>
                <a:gd name="T9" fmla="*/ 232 h 608"/>
                <a:gd name="T10" fmla="*/ 260 w 292"/>
                <a:gd name="T11" fmla="*/ 408 h 608"/>
                <a:gd name="T12" fmla="*/ 141 w 292"/>
                <a:gd name="T13" fmla="*/ 408 h 608"/>
                <a:gd name="T14" fmla="*/ 292 w 292"/>
                <a:gd name="T15" fmla="*/ 608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2" h="608">
                  <a:moveTo>
                    <a:pt x="292" y="608"/>
                  </a:moveTo>
                  <a:lnTo>
                    <a:pt x="0" y="608"/>
                  </a:lnTo>
                  <a:lnTo>
                    <a:pt x="0" y="0"/>
                  </a:lnTo>
                  <a:lnTo>
                    <a:pt x="211" y="232"/>
                  </a:lnTo>
                  <a:lnTo>
                    <a:pt x="99" y="232"/>
                  </a:lnTo>
                  <a:lnTo>
                    <a:pt x="260" y="408"/>
                  </a:lnTo>
                  <a:lnTo>
                    <a:pt x="141" y="408"/>
                  </a:lnTo>
                  <a:lnTo>
                    <a:pt x="292" y="6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grpSp>
        <p:nvGrpSpPr>
          <p:cNvPr id="39" name="그룹 85">
            <a:extLst>
              <a:ext uri="{FF2B5EF4-FFF2-40B4-BE49-F238E27FC236}">
                <a16:creationId xmlns:a16="http://schemas.microsoft.com/office/drawing/2014/main" id="{86E0C5ED-3811-4D35-8BA0-ACC605C1CDD9}"/>
              </a:ext>
            </a:extLst>
          </p:cNvPr>
          <p:cNvGrpSpPr/>
          <p:nvPr/>
        </p:nvGrpSpPr>
        <p:grpSpPr>
          <a:xfrm>
            <a:off x="483115" y="5897554"/>
            <a:ext cx="275923" cy="525300"/>
            <a:chOff x="4070350" y="60326"/>
            <a:chExt cx="450850" cy="882650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66" name="Rectangle 19">
              <a:extLst>
                <a:ext uri="{FF2B5EF4-FFF2-40B4-BE49-F238E27FC236}">
                  <a16:creationId xmlns:a16="http://schemas.microsoft.com/office/drawing/2014/main" id="{DD2490C8-E687-42F4-AA7D-977572F20A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9900" y="642938"/>
              <a:ext cx="31750" cy="300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67" name="Freeform 20">
              <a:extLst>
                <a:ext uri="{FF2B5EF4-FFF2-40B4-BE49-F238E27FC236}">
                  <a16:creationId xmlns:a16="http://schemas.microsoft.com/office/drawing/2014/main" id="{5D6204CF-AFA5-4017-9A1C-205B8F1977F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0350" y="60326"/>
              <a:ext cx="450850" cy="655638"/>
            </a:xfrm>
            <a:custGeom>
              <a:avLst/>
              <a:gdLst>
                <a:gd name="T0" fmla="*/ 0 w 593"/>
                <a:gd name="T1" fmla="*/ 862 h 862"/>
                <a:gd name="T2" fmla="*/ 297 w 593"/>
                <a:gd name="T3" fmla="*/ 0 h 862"/>
                <a:gd name="T4" fmla="*/ 593 w 593"/>
                <a:gd name="T5" fmla="*/ 862 h 862"/>
                <a:gd name="T6" fmla="*/ 0 w 593"/>
                <a:gd name="T7" fmla="*/ 862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93" h="862">
                  <a:moveTo>
                    <a:pt x="0" y="862"/>
                  </a:moveTo>
                  <a:lnTo>
                    <a:pt x="297" y="0"/>
                  </a:lnTo>
                  <a:lnTo>
                    <a:pt x="593" y="862"/>
                  </a:lnTo>
                  <a:lnTo>
                    <a:pt x="0" y="8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68" name="Freeform 21">
              <a:extLst>
                <a:ext uri="{FF2B5EF4-FFF2-40B4-BE49-F238E27FC236}">
                  <a16:creationId xmlns:a16="http://schemas.microsoft.com/office/drawing/2014/main" id="{12A6FA7C-ABAE-4D11-B67C-91E7905A4B8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5775" y="60326"/>
              <a:ext cx="225425" cy="655638"/>
            </a:xfrm>
            <a:custGeom>
              <a:avLst/>
              <a:gdLst>
                <a:gd name="T0" fmla="*/ 296 w 296"/>
                <a:gd name="T1" fmla="*/ 863 h 863"/>
                <a:gd name="T2" fmla="*/ 0 w 296"/>
                <a:gd name="T3" fmla="*/ 863 h 863"/>
                <a:gd name="T4" fmla="*/ 0 w 296"/>
                <a:gd name="T5" fmla="*/ 0 h 863"/>
                <a:gd name="T6" fmla="*/ 296 w 296"/>
                <a:gd name="T7" fmla="*/ 863 h 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6" h="863">
                  <a:moveTo>
                    <a:pt x="296" y="863"/>
                  </a:moveTo>
                  <a:lnTo>
                    <a:pt x="0" y="863"/>
                  </a:lnTo>
                  <a:lnTo>
                    <a:pt x="0" y="0"/>
                  </a:lnTo>
                  <a:lnTo>
                    <a:pt x="296" y="8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grpSp>
        <p:nvGrpSpPr>
          <p:cNvPr id="40" name="그룹 89">
            <a:extLst>
              <a:ext uri="{FF2B5EF4-FFF2-40B4-BE49-F238E27FC236}">
                <a16:creationId xmlns:a16="http://schemas.microsoft.com/office/drawing/2014/main" id="{AF19BCD4-2EE0-4D22-AD55-7868BF08E231}"/>
              </a:ext>
            </a:extLst>
          </p:cNvPr>
          <p:cNvGrpSpPr/>
          <p:nvPr/>
        </p:nvGrpSpPr>
        <p:grpSpPr>
          <a:xfrm>
            <a:off x="4115973" y="5501912"/>
            <a:ext cx="758859" cy="801929"/>
            <a:chOff x="7986713" y="1112838"/>
            <a:chExt cx="823913" cy="895351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61" name="Freeform 22">
              <a:extLst>
                <a:ext uri="{FF2B5EF4-FFF2-40B4-BE49-F238E27FC236}">
                  <a16:creationId xmlns:a16="http://schemas.microsoft.com/office/drawing/2014/main" id="{F080C437-562B-429B-8C2A-DEE35F93225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2775" y="1501776"/>
              <a:ext cx="333375" cy="506413"/>
            </a:xfrm>
            <a:custGeom>
              <a:avLst/>
              <a:gdLst>
                <a:gd name="T0" fmla="*/ 439 w 439"/>
                <a:gd name="T1" fmla="*/ 71 h 667"/>
                <a:gd name="T2" fmla="*/ 405 w 439"/>
                <a:gd name="T3" fmla="*/ 45 h 667"/>
                <a:gd name="T4" fmla="*/ 243 w 439"/>
                <a:gd name="T5" fmla="*/ 178 h 667"/>
                <a:gd name="T6" fmla="*/ 243 w 439"/>
                <a:gd name="T7" fmla="*/ 0 h 667"/>
                <a:gd name="T8" fmla="*/ 189 w 439"/>
                <a:gd name="T9" fmla="*/ 0 h 667"/>
                <a:gd name="T10" fmla="*/ 189 w 439"/>
                <a:gd name="T11" fmla="*/ 178 h 667"/>
                <a:gd name="T12" fmla="*/ 35 w 439"/>
                <a:gd name="T13" fmla="*/ 31 h 667"/>
                <a:gd name="T14" fmla="*/ 0 w 439"/>
                <a:gd name="T15" fmla="*/ 57 h 667"/>
                <a:gd name="T16" fmla="*/ 189 w 439"/>
                <a:gd name="T17" fmla="*/ 231 h 667"/>
                <a:gd name="T18" fmla="*/ 189 w 439"/>
                <a:gd name="T19" fmla="*/ 667 h 667"/>
                <a:gd name="T20" fmla="*/ 243 w 439"/>
                <a:gd name="T21" fmla="*/ 667 h 667"/>
                <a:gd name="T22" fmla="*/ 243 w 439"/>
                <a:gd name="T23" fmla="*/ 231 h 667"/>
                <a:gd name="T24" fmla="*/ 439 w 439"/>
                <a:gd name="T25" fmla="*/ 71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9" h="667">
                  <a:moveTo>
                    <a:pt x="439" y="71"/>
                  </a:moveTo>
                  <a:lnTo>
                    <a:pt x="405" y="45"/>
                  </a:lnTo>
                  <a:lnTo>
                    <a:pt x="243" y="178"/>
                  </a:lnTo>
                  <a:lnTo>
                    <a:pt x="243" y="0"/>
                  </a:lnTo>
                  <a:lnTo>
                    <a:pt x="189" y="0"/>
                  </a:lnTo>
                  <a:lnTo>
                    <a:pt x="189" y="178"/>
                  </a:lnTo>
                  <a:lnTo>
                    <a:pt x="35" y="31"/>
                  </a:lnTo>
                  <a:lnTo>
                    <a:pt x="0" y="57"/>
                  </a:lnTo>
                  <a:lnTo>
                    <a:pt x="189" y="231"/>
                  </a:lnTo>
                  <a:lnTo>
                    <a:pt x="189" y="667"/>
                  </a:lnTo>
                  <a:lnTo>
                    <a:pt x="243" y="667"/>
                  </a:lnTo>
                  <a:lnTo>
                    <a:pt x="243" y="231"/>
                  </a:lnTo>
                  <a:lnTo>
                    <a:pt x="439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62" name="Oval 23">
              <a:extLst>
                <a:ext uri="{FF2B5EF4-FFF2-40B4-BE49-F238E27FC236}">
                  <a16:creationId xmlns:a16="http://schemas.microsoft.com/office/drawing/2014/main" id="{6867F05A-3625-4EE5-BC60-4A21E0F481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04200" y="1112838"/>
              <a:ext cx="388938" cy="388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63" name="Freeform 24">
              <a:extLst>
                <a:ext uri="{FF2B5EF4-FFF2-40B4-BE49-F238E27FC236}">
                  <a16:creationId xmlns:a16="http://schemas.microsoft.com/office/drawing/2014/main" id="{11FEDDCB-2659-449B-94A3-AFF5764114F7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9463" y="1112838"/>
              <a:ext cx="193675" cy="388938"/>
            </a:xfrm>
            <a:custGeom>
              <a:avLst/>
              <a:gdLst>
                <a:gd name="T0" fmla="*/ 0 w 255"/>
                <a:gd name="T1" fmla="*/ 0 h 512"/>
                <a:gd name="T2" fmla="*/ 0 w 255"/>
                <a:gd name="T3" fmla="*/ 512 h 512"/>
                <a:gd name="T4" fmla="*/ 255 w 255"/>
                <a:gd name="T5" fmla="*/ 256 h 512"/>
                <a:gd name="T6" fmla="*/ 0 w 255"/>
                <a:gd name="T7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5" h="512">
                  <a:moveTo>
                    <a:pt x="0" y="0"/>
                  </a:moveTo>
                  <a:lnTo>
                    <a:pt x="0" y="512"/>
                  </a:lnTo>
                  <a:cubicBezTo>
                    <a:pt x="141" y="511"/>
                    <a:pt x="255" y="397"/>
                    <a:pt x="255" y="256"/>
                  </a:cubicBezTo>
                  <a:cubicBezTo>
                    <a:pt x="255" y="115"/>
                    <a:pt x="14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64" name="Oval 25">
              <a:extLst>
                <a:ext uri="{FF2B5EF4-FFF2-40B4-BE49-F238E27FC236}">
                  <a16:creationId xmlns:a16="http://schemas.microsoft.com/office/drawing/2014/main" id="{127D1B94-C0F2-44DA-AC18-393411192F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86713" y="1176338"/>
              <a:ext cx="390525" cy="388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65" name="Oval 26">
              <a:extLst>
                <a:ext uri="{FF2B5EF4-FFF2-40B4-BE49-F238E27FC236}">
                  <a16:creationId xmlns:a16="http://schemas.microsoft.com/office/drawing/2014/main" id="{AC7BB1D7-6182-49C1-A837-71184C2342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21688" y="1176338"/>
              <a:ext cx="388938" cy="388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grpSp>
        <p:nvGrpSpPr>
          <p:cNvPr id="41" name="그룹 95">
            <a:extLst>
              <a:ext uri="{FF2B5EF4-FFF2-40B4-BE49-F238E27FC236}">
                <a16:creationId xmlns:a16="http://schemas.microsoft.com/office/drawing/2014/main" id="{2F656AB5-2D04-451C-9D92-C1BA1D3FF120}"/>
              </a:ext>
            </a:extLst>
          </p:cNvPr>
          <p:cNvGrpSpPr/>
          <p:nvPr/>
        </p:nvGrpSpPr>
        <p:grpSpPr>
          <a:xfrm>
            <a:off x="778472" y="5851132"/>
            <a:ext cx="457099" cy="483043"/>
            <a:chOff x="7986713" y="1112838"/>
            <a:chExt cx="823913" cy="895351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56" name="Freeform 22">
              <a:extLst>
                <a:ext uri="{FF2B5EF4-FFF2-40B4-BE49-F238E27FC236}">
                  <a16:creationId xmlns:a16="http://schemas.microsoft.com/office/drawing/2014/main" id="{C906E5B4-C303-4F89-BA32-829785D363C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2775" y="1501776"/>
              <a:ext cx="333375" cy="506413"/>
            </a:xfrm>
            <a:custGeom>
              <a:avLst/>
              <a:gdLst>
                <a:gd name="T0" fmla="*/ 439 w 439"/>
                <a:gd name="T1" fmla="*/ 71 h 667"/>
                <a:gd name="T2" fmla="*/ 405 w 439"/>
                <a:gd name="T3" fmla="*/ 45 h 667"/>
                <a:gd name="T4" fmla="*/ 243 w 439"/>
                <a:gd name="T5" fmla="*/ 178 h 667"/>
                <a:gd name="T6" fmla="*/ 243 w 439"/>
                <a:gd name="T7" fmla="*/ 0 h 667"/>
                <a:gd name="T8" fmla="*/ 189 w 439"/>
                <a:gd name="T9" fmla="*/ 0 h 667"/>
                <a:gd name="T10" fmla="*/ 189 w 439"/>
                <a:gd name="T11" fmla="*/ 178 h 667"/>
                <a:gd name="T12" fmla="*/ 35 w 439"/>
                <a:gd name="T13" fmla="*/ 31 h 667"/>
                <a:gd name="T14" fmla="*/ 0 w 439"/>
                <a:gd name="T15" fmla="*/ 57 h 667"/>
                <a:gd name="T16" fmla="*/ 189 w 439"/>
                <a:gd name="T17" fmla="*/ 231 h 667"/>
                <a:gd name="T18" fmla="*/ 189 w 439"/>
                <a:gd name="T19" fmla="*/ 667 h 667"/>
                <a:gd name="T20" fmla="*/ 243 w 439"/>
                <a:gd name="T21" fmla="*/ 667 h 667"/>
                <a:gd name="T22" fmla="*/ 243 w 439"/>
                <a:gd name="T23" fmla="*/ 231 h 667"/>
                <a:gd name="T24" fmla="*/ 439 w 439"/>
                <a:gd name="T25" fmla="*/ 71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9" h="667">
                  <a:moveTo>
                    <a:pt x="439" y="71"/>
                  </a:moveTo>
                  <a:lnTo>
                    <a:pt x="405" y="45"/>
                  </a:lnTo>
                  <a:lnTo>
                    <a:pt x="243" y="178"/>
                  </a:lnTo>
                  <a:lnTo>
                    <a:pt x="243" y="0"/>
                  </a:lnTo>
                  <a:lnTo>
                    <a:pt x="189" y="0"/>
                  </a:lnTo>
                  <a:lnTo>
                    <a:pt x="189" y="178"/>
                  </a:lnTo>
                  <a:lnTo>
                    <a:pt x="35" y="31"/>
                  </a:lnTo>
                  <a:lnTo>
                    <a:pt x="0" y="57"/>
                  </a:lnTo>
                  <a:lnTo>
                    <a:pt x="189" y="231"/>
                  </a:lnTo>
                  <a:lnTo>
                    <a:pt x="189" y="667"/>
                  </a:lnTo>
                  <a:lnTo>
                    <a:pt x="243" y="667"/>
                  </a:lnTo>
                  <a:lnTo>
                    <a:pt x="243" y="231"/>
                  </a:lnTo>
                  <a:lnTo>
                    <a:pt x="439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57" name="Oval 23">
              <a:extLst>
                <a:ext uri="{FF2B5EF4-FFF2-40B4-BE49-F238E27FC236}">
                  <a16:creationId xmlns:a16="http://schemas.microsoft.com/office/drawing/2014/main" id="{7F61D45E-65B6-45F0-9FAB-65F899C642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04200" y="1112838"/>
              <a:ext cx="388938" cy="388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58" name="Freeform 24">
              <a:extLst>
                <a:ext uri="{FF2B5EF4-FFF2-40B4-BE49-F238E27FC236}">
                  <a16:creationId xmlns:a16="http://schemas.microsoft.com/office/drawing/2014/main" id="{28159E6D-AC4C-451F-AD91-B5F9AD9BE44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9463" y="1112838"/>
              <a:ext cx="193675" cy="388938"/>
            </a:xfrm>
            <a:custGeom>
              <a:avLst/>
              <a:gdLst>
                <a:gd name="T0" fmla="*/ 0 w 255"/>
                <a:gd name="T1" fmla="*/ 0 h 512"/>
                <a:gd name="T2" fmla="*/ 0 w 255"/>
                <a:gd name="T3" fmla="*/ 512 h 512"/>
                <a:gd name="T4" fmla="*/ 255 w 255"/>
                <a:gd name="T5" fmla="*/ 256 h 512"/>
                <a:gd name="T6" fmla="*/ 0 w 255"/>
                <a:gd name="T7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5" h="512">
                  <a:moveTo>
                    <a:pt x="0" y="0"/>
                  </a:moveTo>
                  <a:lnTo>
                    <a:pt x="0" y="512"/>
                  </a:lnTo>
                  <a:cubicBezTo>
                    <a:pt x="141" y="511"/>
                    <a:pt x="255" y="397"/>
                    <a:pt x="255" y="256"/>
                  </a:cubicBezTo>
                  <a:cubicBezTo>
                    <a:pt x="255" y="115"/>
                    <a:pt x="14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59" name="Oval 25">
              <a:extLst>
                <a:ext uri="{FF2B5EF4-FFF2-40B4-BE49-F238E27FC236}">
                  <a16:creationId xmlns:a16="http://schemas.microsoft.com/office/drawing/2014/main" id="{F306F638-940D-428E-A205-2890EA8761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86713" y="1176338"/>
              <a:ext cx="390525" cy="388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60" name="Oval 26">
              <a:extLst>
                <a:ext uri="{FF2B5EF4-FFF2-40B4-BE49-F238E27FC236}">
                  <a16:creationId xmlns:a16="http://schemas.microsoft.com/office/drawing/2014/main" id="{9ED5CC7B-8A11-4B7B-A6EC-AB8FC862B0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21688" y="1176338"/>
              <a:ext cx="388938" cy="388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grpSp>
        <p:nvGrpSpPr>
          <p:cNvPr id="42" name="그룹 101">
            <a:extLst>
              <a:ext uri="{FF2B5EF4-FFF2-40B4-BE49-F238E27FC236}">
                <a16:creationId xmlns:a16="http://schemas.microsoft.com/office/drawing/2014/main" id="{8C37FB4C-6DDB-4BCF-9725-5003D1147D47}"/>
              </a:ext>
            </a:extLst>
          </p:cNvPr>
          <p:cNvGrpSpPr/>
          <p:nvPr/>
        </p:nvGrpSpPr>
        <p:grpSpPr>
          <a:xfrm>
            <a:off x="3361942" y="5780275"/>
            <a:ext cx="448729" cy="691563"/>
            <a:chOff x="4979988" y="223838"/>
            <a:chExt cx="439738" cy="696913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53" name="Rectangle 43">
              <a:extLst>
                <a:ext uri="{FF2B5EF4-FFF2-40B4-BE49-F238E27FC236}">
                  <a16:creationId xmlns:a16="http://schemas.microsoft.com/office/drawing/2014/main" id="{80762300-FB5F-446C-942A-1B5199BCCC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92713" y="763588"/>
              <a:ext cx="15875" cy="157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54" name="Freeform 44">
              <a:extLst>
                <a:ext uri="{FF2B5EF4-FFF2-40B4-BE49-F238E27FC236}">
                  <a16:creationId xmlns:a16="http://schemas.microsoft.com/office/drawing/2014/main" id="{48D5BFB7-4EBA-4A14-BDC1-C3AB915421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79988" y="223838"/>
              <a:ext cx="439738" cy="555625"/>
            </a:xfrm>
            <a:custGeom>
              <a:avLst/>
              <a:gdLst>
                <a:gd name="T0" fmla="*/ 289 w 578"/>
                <a:gd name="T1" fmla="*/ 265 h 733"/>
                <a:gd name="T2" fmla="*/ 290 w 578"/>
                <a:gd name="T3" fmla="*/ 265 h 733"/>
                <a:gd name="T4" fmla="*/ 288 w 578"/>
                <a:gd name="T5" fmla="*/ 265 h 733"/>
                <a:gd name="T6" fmla="*/ 289 w 578"/>
                <a:gd name="T7" fmla="*/ 265 h 733"/>
                <a:gd name="T8" fmla="*/ 578 w 578"/>
                <a:gd name="T9" fmla="*/ 733 h 733"/>
                <a:gd name="T10" fmla="*/ 425 w 578"/>
                <a:gd name="T11" fmla="*/ 548 h 733"/>
                <a:gd name="T12" fmla="*/ 524 w 578"/>
                <a:gd name="T13" fmla="*/ 548 h 733"/>
                <a:gd name="T14" fmla="*/ 397 w 578"/>
                <a:gd name="T15" fmla="*/ 395 h 733"/>
                <a:gd name="T16" fmla="*/ 479 w 578"/>
                <a:gd name="T17" fmla="*/ 395 h 733"/>
                <a:gd name="T18" fmla="*/ 381 w 578"/>
                <a:gd name="T19" fmla="*/ 265 h 733"/>
                <a:gd name="T20" fmla="*/ 458 w 578"/>
                <a:gd name="T21" fmla="*/ 265 h 733"/>
                <a:gd name="T22" fmla="*/ 354 w 578"/>
                <a:gd name="T23" fmla="*/ 151 h 733"/>
                <a:gd name="T24" fmla="*/ 427 w 578"/>
                <a:gd name="T25" fmla="*/ 151 h 733"/>
                <a:gd name="T26" fmla="*/ 289 w 578"/>
                <a:gd name="T27" fmla="*/ 0 h 733"/>
                <a:gd name="T28" fmla="*/ 151 w 578"/>
                <a:gd name="T29" fmla="*/ 151 h 733"/>
                <a:gd name="T30" fmla="*/ 224 w 578"/>
                <a:gd name="T31" fmla="*/ 151 h 733"/>
                <a:gd name="T32" fmla="*/ 119 w 578"/>
                <a:gd name="T33" fmla="*/ 265 h 733"/>
                <a:gd name="T34" fmla="*/ 197 w 578"/>
                <a:gd name="T35" fmla="*/ 265 h 733"/>
                <a:gd name="T36" fmla="*/ 99 w 578"/>
                <a:gd name="T37" fmla="*/ 395 h 733"/>
                <a:gd name="T38" fmla="*/ 181 w 578"/>
                <a:gd name="T39" fmla="*/ 395 h 733"/>
                <a:gd name="T40" fmla="*/ 54 w 578"/>
                <a:gd name="T41" fmla="*/ 548 h 733"/>
                <a:gd name="T42" fmla="*/ 153 w 578"/>
                <a:gd name="T43" fmla="*/ 548 h 733"/>
                <a:gd name="T44" fmla="*/ 0 w 578"/>
                <a:gd name="T45" fmla="*/ 733 h 733"/>
                <a:gd name="T46" fmla="*/ 578 w 578"/>
                <a:gd name="T47" fmla="*/ 733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78" h="733">
                  <a:moveTo>
                    <a:pt x="289" y="265"/>
                  </a:moveTo>
                  <a:lnTo>
                    <a:pt x="290" y="265"/>
                  </a:lnTo>
                  <a:lnTo>
                    <a:pt x="288" y="265"/>
                  </a:lnTo>
                  <a:lnTo>
                    <a:pt x="289" y="265"/>
                  </a:lnTo>
                  <a:close/>
                  <a:moveTo>
                    <a:pt x="578" y="733"/>
                  </a:moveTo>
                  <a:lnTo>
                    <a:pt x="425" y="548"/>
                  </a:lnTo>
                  <a:lnTo>
                    <a:pt x="524" y="548"/>
                  </a:lnTo>
                  <a:lnTo>
                    <a:pt x="397" y="395"/>
                  </a:lnTo>
                  <a:lnTo>
                    <a:pt x="479" y="395"/>
                  </a:lnTo>
                  <a:lnTo>
                    <a:pt x="381" y="265"/>
                  </a:lnTo>
                  <a:lnTo>
                    <a:pt x="458" y="265"/>
                  </a:lnTo>
                  <a:lnTo>
                    <a:pt x="354" y="151"/>
                  </a:lnTo>
                  <a:lnTo>
                    <a:pt x="427" y="151"/>
                  </a:lnTo>
                  <a:lnTo>
                    <a:pt x="289" y="0"/>
                  </a:lnTo>
                  <a:lnTo>
                    <a:pt x="151" y="151"/>
                  </a:lnTo>
                  <a:lnTo>
                    <a:pt x="224" y="151"/>
                  </a:lnTo>
                  <a:lnTo>
                    <a:pt x="119" y="265"/>
                  </a:lnTo>
                  <a:lnTo>
                    <a:pt x="197" y="265"/>
                  </a:lnTo>
                  <a:lnTo>
                    <a:pt x="99" y="395"/>
                  </a:lnTo>
                  <a:lnTo>
                    <a:pt x="181" y="395"/>
                  </a:lnTo>
                  <a:lnTo>
                    <a:pt x="54" y="548"/>
                  </a:lnTo>
                  <a:lnTo>
                    <a:pt x="153" y="548"/>
                  </a:lnTo>
                  <a:lnTo>
                    <a:pt x="0" y="733"/>
                  </a:lnTo>
                  <a:lnTo>
                    <a:pt x="578" y="7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55" name="Freeform 45">
              <a:extLst>
                <a:ext uri="{FF2B5EF4-FFF2-40B4-BE49-F238E27FC236}">
                  <a16:creationId xmlns:a16="http://schemas.microsoft.com/office/drawing/2014/main" id="{3C871FFE-DCEC-4D91-8736-D5292212D5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00650" y="223838"/>
              <a:ext cx="219075" cy="555625"/>
            </a:xfrm>
            <a:custGeom>
              <a:avLst/>
              <a:gdLst>
                <a:gd name="T0" fmla="*/ 136 w 289"/>
                <a:gd name="T1" fmla="*/ 548 h 733"/>
                <a:gd name="T2" fmla="*/ 235 w 289"/>
                <a:gd name="T3" fmla="*/ 548 h 733"/>
                <a:gd name="T4" fmla="*/ 108 w 289"/>
                <a:gd name="T5" fmla="*/ 395 h 733"/>
                <a:gd name="T6" fmla="*/ 190 w 289"/>
                <a:gd name="T7" fmla="*/ 395 h 733"/>
                <a:gd name="T8" fmla="*/ 92 w 289"/>
                <a:gd name="T9" fmla="*/ 265 h 733"/>
                <a:gd name="T10" fmla="*/ 169 w 289"/>
                <a:gd name="T11" fmla="*/ 265 h 733"/>
                <a:gd name="T12" fmla="*/ 65 w 289"/>
                <a:gd name="T13" fmla="*/ 151 h 733"/>
                <a:gd name="T14" fmla="*/ 138 w 289"/>
                <a:gd name="T15" fmla="*/ 151 h 733"/>
                <a:gd name="T16" fmla="*/ 0 w 289"/>
                <a:gd name="T17" fmla="*/ 0 h 733"/>
                <a:gd name="T18" fmla="*/ 0 w 289"/>
                <a:gd name="T19" fmla="*/ 265 h 733"/>
                <a:gd name="T20" fmla="*/ 1 w 289"/>
                <a:gd name="T21" fmla="*/ 265 h 733"/>
                <a:gd name="T22" fmla="*/ 0 w 289"/>
                <a:gd name="T23" fmla="*/ 265 h 733"/>
                <a:gd name="T24" fmla="*/ 0 w 289"/>
                <a:gd name="T25" fmla="*/ 733 h 733"/>
                <a:gd name="T26" fmla="*/ 289 w 289"/>
                <a:gd name="T27" fmla="*/ 733 h 733"/>
                <a:gd name="T28" fmla="*/ 136 w 289"/>
                <a:gd name="T29" fmla="*/ 548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9" h="733">
                  <a:moveTo>
                    <a:pt x="136" y="548"/>
                  </a:moveTo>
                  <a:lnTo>
                    <a:pt x="235" y="548"/>
                  </a:lnTo>
                  <a:lnTo>
                    <a:pt x="108" y="395"/>
                  </a:lnTo>
                  <a:lnTo>
                    <a:pt x="190" y="395"/>
                  </a:lnTo>
                  <a:lnTo>
                    <a:pt x="92" y="265"/>
                  </a:lnTo>
                  <a:lnTo>
                    <a:pt x="169" y="265"/>
                  </a:lnTo>
                  <a:lnTo>
                    <a:pt x="65" y="151"/>
                  </a:lnTo>
                  <a:lnTo>
                    <a:pt x="138" y="151"/>
                  </a:lnTo>
                  <a:lnTo>
                    <a:pt x="0" y="0"/>
                  </a:lnTo>
                  <a:lnTo>
                    <a:pt x="0" y="265"/>
                  </a:lnTo>
                  <a:lnTo>
                    <a:pt x="1" y="265"/>
                  </a:lnTo>
                  <a:lnTo>
                    <a:pt x="0" y="265"/>
                  </a:lnTo>
                  <a:lnTo>
                    <a:pt x="0" y="733"/>
                  </a:lnTo>
                  <a:lnTo>
                    <a:pt x="289" y="733"/>
                  </a:lnTo>
                  <a:lnTo>
                    <a:pt x="136" y="5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grpSp>
        <p:nvGrpSpPr>
          <p:cNvPr id="43" name="그룹 105">
            <a:extLst>
              <a:ext uri="{FF2B5EF4-FFF2-40B4-BE49-F238E27FC236}">
                <a16:creationId xmlns:a16="http://schemas.microsoft.com/office/drawing/2014/main" id="{00D333D9-7A05-44B6-B44A-09A5404DF3F9}"/>
              </a:ext>
            </a:extLst>
          </p:cNvPr>
          <p:cNvGrpSpPr/>
          <p:nvPr/>
        </p:nvGrpSpPr>
        <p:grpSpPr>
          <a:xfrm rot="242710">
            <a:off x="1324598" y="6062869"/>
            <a:ext cx="382353" cy="200999"/>
            <a:chOff x="9777413" y="344488"/>
            <a:chExt cx="919163" cy="496888"/>
          </a:xfrm>
          <a:solidFill>
            <a:srgbClr val="3A876B">
              <a:lumMod val="40000"/>
              <a:lumOff val="60000"/>
            </a:srgbClr>
          </a:solidFill>
        </p:grpSpPr>
        <p:sp>
          <p:nvSpPr>
            <p:cNvPr id="51" name="Freeform 27">
              <a:extLst>
                <a:ext uri="{FF2B5EF4-FFF2-40B4-BE49-F238E27FC236}">
                  <a16:creationId xmlns:a16="http://schemas.microsoft.com/office/drawing/2014/main" id="{FFF157EC-1FA6-4918-B286-081FC6D2E9F6}"/>
                </a:ext>
              </a:extLst>
            </p:cNvPr>
            <p:cNvSpPr>
              <a:spLocks/>
            </p:cNvSpPr>
            <p:nvPr/>
          </p:nvSpPr>
          <p:spPr bwMode="auto">
            <a:xfrm>
              <a:off x="9777413" y="344488"/>
              <a:ext cx="919163" cy="496888"/>
            </a:xfrm>
            <a:custGeom>
              <a:avLst/>
              <a:gdLst>
                <a:gd name="T0" fmla="*/ 1175 w 1211"/>
                <a:gd name="T1" fmla="*/ 654 h 654"/>
                <a:gd name="T2" fmla="*/ 14 w 1211"/>
                <a:gd name="T3" fmla="*/ 654 h 654"/>
                <a:gd name="T4" fmla="*/ 145 w 1211"/>
                <a:gd name="T5" fmla="*/ 583 h 654"/>
                <a:gd name="T6" fmla="*/ 0 w 1211"/>
                <a:gd name="T7" fmla="*/ 593 h 654"/>
                <a:gd name="T8" fmla="*/ 145 w 1211"/>
                <a:gd name="T9" fmla="*/ 507 h 654"/>
                <a:gd name="T10" fmla="*/ 0 w 1211"/>
                <a:gd name="T11" fmla="*/ 460 h 654"/>
                <a:gd name="T12" fmla="*/ 125 w 1211"/>
                <a:gd name="T13" fmla="*/ 450 h 654"/>
                <a:gd name="T14" fmla="*/ 11 w 1211"/>
                <a:gd name="T15" fmla="*/ 399 h 654"/>
                <a:gd name="T16" fmla="*/ 173 w 1211"/>
                <a:gd name="T17" fmla="*/ 372 h 654"/>
                <a:gd name="T18" fmla="*/ 74 w 1211"/>
                <a:gd name="T19" fmla="*/ 305 h 654"/>
                <a:gd name="T20" fmla="*/ 205 w 1211"/>
                <a:gd name="T21" fmla="*/ 290 h 654"/>
                <a:gd name="T22" fmla="*/ 137 w 1211"/>
                <a:gd name="T23" fmla="*/ 231 h 654"/>
                <a:gd name="T24" fmla="*/ 261 w 1211"/>
                <a:gd name="T25" fmla="*/ 209 h 654"/>
                <a:gd name="T26" fmla="*/ 193 w 1211"/>
                <a:gd name="T27" fmla="*/ 140 h 654"/>
                <a:gd name="T28" fmla="*/ 326 w 1211"/>
                <a:gd name="T29" fmla="*/ 136 h 654"/>
                <a:gd name="T30" fmla="*/ 279 w 1211"/>
                <a:gd name="T31" fmla="*/ 62 h 654"/>
                <a:gd name="T32" fmla="*/ 463 w 1211"/>
                <a:gd name="T33" fmla="*/ 110 h 654"/>
                <a:gd name="T34" fmla="*/ 415 w 1211"/>
                <a:gd name="T35" fmla="*/ 17 h 654"/>
                <a:gd name="T36" fmla="*/ 552 w 1211"/>
                <a:gd name="T37" fmla="*/ 96 h 654"/>
                <a:gd name="T38" fmla="*/ 557 w 1211"/>
                <a:gd name="T39" fmla="*/ 17 h 654"/>
                <a:gd name="T40" fmla="*/ 634 w 1211"/>
                <a:gd name="T41" fmla="*/ 84 h 654"/>
                <a:gd name="T42" fmla="*/ 699 w 1211"/>
                <a:gd name="T43" fmla="*/ 0 h 654"/>
                <a:gd name="T44" fmla="*/ 696 w 1211"/>
                <a:gd name="T45" fmla="*/ 96 h 654"/>
                <a:gd name="T46" fmla="*/ 814 w 1211"/>
                <a:gd name="T47" fmla="*/ 40 h 654"/>
                <a:gd name="T48" fmla="*/ 770 w 1211"/>
                <a:gd name="T49" fmla="*/ 123 h 654"/>
                <a:gd name="T50" fmla="*/ 879 w 1211"/>
                <a:gd name="T51" fmla="*/ 62 h 654"/>
                <a:gd name="T52" fmla="*/ 856 w 1211"/>
                <a:gd name="T53" fmla="*/ 155 h 654"/>
                <a:gd name="T54" fmla="*/ 972 w 1211"/>
                <a:gd name="T55" fmla="*/ 122 h 654"/>
                <a:gd name="T56" fmla="*/ 948 w 1211"/>
                <a:gd name="T57" fmla="*/ 195 h 654"/>
                <a:gd name="T58" fmla="*/ 1066 w 1211"/>
                <a:gd name="T59" fmla="*/ 184 h 654"/>
                <a:gd name="T60" fmla="*/ 1004 w 1211"/>
                <a:gd name="T61" fmla="*/ 260 h 654"/>
                <a:gd name="T62" fmla="*/ 1140 w 1211"/>
                <a:gd name="T63" fmla="*/ 266 h 654"/>
                <a:gd name="T64" fmla="*/ 1068 w 1211"/>
                <a:gd name="T65" fmla="*/ 337 h 654"/>
                <a:gd name="T66" fmla="*/ 1175 w 1211"/>
                <a:gd name="T67" fmla="*/ 357 h 654"/>
                <a:gd name="T68" fmla="*/ 1093 w 1211"/>
                <a:gd name="T69" fmla="*/ 399 h 654"/>
                <a:gd name="T70" fmla="*/ 1181 w 1211"/>
                <a:gd name="T71" fmla="*/ 448 h 654"/>
                <a:gd name="T72" fmla="*/ 1095 w 1211"/>
                <a:gd name="T73" fmla="*/ 500 h 654"/>
                <a:gd name="T74" fmla="*/ 1211 w 1211"/>
                <a:gd name="T75" fmla="*/ 561 h 654"/>
                <a:gd name="T76" fmla="*/ 1104 w 1211"/>
                <a:gd name="T77" fmla="*/ 591 h 654"/>
                <a:gd name="T78" fmla="*/ 1175 w 1211"/>
                <a:gd name="T79" fmla="*/ 654 h 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11" h="654">
                  <a:moveTo>
                    <a:pt x="1175" y="654"/>
                  </a:moveTo>
                  <a:lnTo>
                    <a:pt x="14" y="654"/>
                  </a:lnTo>
                  <a:cubicBezTo>
                    <a:pt x="14" y="654"/>
                    <a:pt x="37" y="596"/>
                    <a:pt x="145" y="583"/>
                  </a:cubicBezTo>
                  <a:cubicBezTo>
                    <a:pt x="145" y="583"/>
                    <a:pt x="86" y="561"/>
                    <a:pt x="0" y="593"/>
                  </a:cubicBezTo>
                  <a:cubicBezTo>
                    <a:pt x="0" y="593"/>
                    <a:pt x="15" y="539"/>
                    <a:pt x="145" y="507"/>
                  </a:cubicBezTo>
                  <a:cubicBezTo>
                    <a:pt x="145" y="507"/>
                    <a:pt x="35" y="503"/>
                    <a:pt x="0" y="460"/>
                  </a:cubicBezTo>
                  <a:cubicBezTo>
                    <a:pt x="0" y="460"/>
                    <a:pt x="69" y="480"/>
                    <a:pt x="125" y="450"/>
                  </a:cubicBezTo>
                  <a:cubicBezTo>
                    <a:pt x="125" y="450"/>
                    <a:pt x="62" y="389"/>
                    <a:pt x="11" y="399"/>
                  </a:cubicBezTo>
                  <a:cubicBezTo>
                    <a:pt x="11" y="399"/>
                    <a:pt x="61" y="355"/>
                    <a:pt x="173" y="372"/>
                  </a:cubicBezTo>
                  <a:cubicBezTo>
                    <a:pt x="173" y="372"/>
                    <a:pt x="113" y="300"/>
                    <a:pt x="74" y="305"/>
                  </a:cubicBezTo>
                  <a:cubicBezTo>
                    <a:pt x="74" y="305"/>
                    <a:pt x="110" y="271"/>
                    <a:pt x="205" y="290"/>
                  </a:cubicBezTo>
                  <a:cubicBezTo>
                    <a:pt x="205" y="290"/>
                    <a:pt x="174" y="237"/>
                    <a:pt x="137" y="231"/>
                  </a:cubicBezTo>
                  <a:cubicBezTo>
                    <a:pt x="137" y="231"/>
                    <a:pt x="154" y="184"/>
                    <a:pt x="261" y="209"/>
                  </a:cubicBezTo>
                  <a:cubicBezTo>
                    <a:pt x="261" y="209"/>
                    <a:pt x="244" y="143"/>
                    <a:pt x="193" y="140"/>
                  </a:cubicBezTo>
                  <a:cubicBezTo>
                    <a:pt x="193" y="140"/>
                    <a:pt x="253" y="102"/>
                    <a:pt x="326" y="136"/>
                  </a:cubicBezTo>
                  <a:cubicBezTo>
                    <a:pt x="326" y="136"/>
                    <a:pt x="308" y="67"/>
                    <a:pt x="279" y="62"/>
                  </a:cubicBezTo>
                  <a:cubicBezTo>
                    <a:pt x="279" y="62"/>
                    <a:pt x="418" y="62"/>
                    <a:pt x="463" y="110"/>
                  </a:cubicBezTo>
                  <a:cubicBezTo>
                    <a:pt x="463" y="110"/>
                    <a:pt x="444" y="47"/>
                    <a:pt x="415" y="17"/>
                  </a:cubicBezTo>
                  <a:cubicBezTo>
                    <a:pt x="415" y="17"/>
                    <a:pt x="548" y="43"/>
                    <a:pt x="552" y="96"/>
                  </a:cubicBezTo>
                  <a:cubicBezTo>
                    <a:pt x="552" y="96"/>
                    <a:pt x="569" y="57"/>
                    <a:pt x="557" y="17"/>
                  </a:cubicBezTo>
                  <a:cubicBezTo>
                    <a:pt x="557" y="17"/>
                    <a:pt x="626" y="35"/>
                    <a:pt x="634" y="84"/>
                  </a:cubicBezTo>
                  <a:cubicBezTo>
                    <a:pt x="634" y="84"/>
                    <a:pt x="660" y="12"/>
                    <a:pt x="699" y="0"/>
                  </a:cubicBezTo>
                  <a:cubicBezTo>
                    <a:pt x="699" y="0"/>
                    <a:pt x="684" y="68"/>
                    <a:pt x="696" y="96"/>
                  </a:cubicBezTo>
                  <a:cubicBezTo>
                    <a:pt x="696" y="96"/>
                    <a:pt x="757" y="59"/>
                    <a:pt x="814" y="40"/>
                  </a:cubicBezTo>
                  <a:cubicBezTo>
                    <a:pt x="814" y="40"/>
                    <a:pt x="770" y="85"/>
                    <a:pt x="770" y="123"/>
                  </a:cubicBezTo>
                  <a:cubicBezTo>
                    <a:pt x="770" y="123"/>
                    <a:pt x="827" y="66"/>
                    <a:pt x="879" y="62"/>
                  </a:cubicBezTo>
                  <a:cubicBezTo>
                    <a:pt x="879" y="62"/>
                    <a:pt x="811" y="136"/>
                    <a:pt x="856" y="155"/>
                  </a:cubicBezTo>
                  <a:cubicBezTo>
                    <a:pt x="856" y="155"/>
                    <a:pt x="913" y="116"/>
                    <a:pt x="972" y="122"/>
                  </a:cubicBezTo>
                  <a:cubicBezTo>
                    <a:pt x="972" y="122"/>
                    <a:pt x="930" y="170"/>
                    <a:pt x="948" y="195"/>
                  </a:cubicBezTo>
                  <a:cubicBezTo>
                    <a:pt x="948" y="195"/>
                    <a:pt x="1001" y="170"/>
                    <a:pt x="1066" y="184"/>
                  </a:cubicBezTo>
                  <a:cubicBezTo>
                    <a:pt x="1066" y="184"/>
                    <a:pt x="977" y="231"/>
                    <a:pt x="1004" y="260"/>
                  </a:cubicBezTo>
                  <a:cubicBezTo>
                    <a:pt x="1004" y="260"/>
                    <a:pt x="1072" y="244"/>
                    <a:pt x="1140" y="266"/>
                  </a:cubicBezTo>
                  <a:cubicBezTo>
                    <a:pt x="1140" y="266"/>
                    <a:pt x="1057" y="310"/>
                    <a:pt x="1068" y="337"/>
                  </a:cubicBezTo>
                  <a:cubicBezTo>
                    <a:pt x="1068" y="337"/>
                    <a:pt x="1113" y="342"/>
                    <a:pt x="1175" y="357"/>
                  </a:cubicBezTo>
                  <a:cubicBezTo>
                    <a:pt x="1175" y="357"/>
                    <a:pt x="1114" y="367"/>
                    <a:pt x="1093" y="399"/>
                  </a:cubicBezTo>
                  <a:cubicBezTo>
                    <a:pt x="1093" y="399"/>
                    <a:pt x="1131" y="399"/>
                    <a:pt x="1181" y="448"/>
                  </a:cubicBezTo>
                  <a:cubicBezTo>
                    <a:pt x="1181" y="448"/>
                    <a:pt x="1101" y="453"/>
                    <a:pt x="1095" y="500"/>
                  </a:cubicBezTo>
                  <a:cubicBezTo>
                    <a:pt x="1095" y="500"/>
                    <a:pt x="1155" y="496"/>
                    <a:pt x="1211" y="561"/>
                  </a:cubicBezTo>
                  <a:cubicBezTo>
                    <a:pt x="1211" y="561"/>
                    <a:pt x="1110" y="541"/>
                    <a:pt x="1104" y="591"/>
                  </a:cubicBezTo>
                  <a:cubicBezTo>
                    <a:pt x="1158" y="591"/>
                    <a:pt x="1174" y="643"/>
                    <a:pt x="1175" y="6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52" name="Freeform 28">
              <a:extLst>
                <a:ext uri="{FF2B5EF4-FFF2-40B4-BE49-F238E27FC236}">
                  <a16:creationId xmlns:a16="http://schemas.microsoft.com/office/drawing/2014/main" id="{D18DF8D0-66D9-41DE-B2AC-065D773FCB4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8700" y="441326"/>
              <a:ext cx="660400" cy="357188"/>
            </a:xfrm>
            <a:custGeom>
              <a:avLst/>
              <a:gdLst>
                <a:gd name="T0" fmla="*/ 844 w 870"/>
                <a:gd name="T1" fmla="*/ 470 h 470"/>
                <a:gd name="T2" fmla="*/ 11 w 870"/>
                <a:gd name="T3" fmla="*/ 470 h 470"/>
                <a:gd name="T4" fmla="*/ 105 w 870"/>
                <a:gd name="T5" fmla="*/ 419 h 470"/>
                <a:gd name="T6" fmla="*/ 0 w 870"/>
                <a:gd name="T7" fmla="*/ 426 h 470"/>
                <a:gd name="T8" fmla="*/ 105 w 870"/>
                <a:gd name="T9" fmla="*/ 364 h 470"/>
                <a:gd name="T10" fmla="*/ 0 w 870"/>
                <a:gd name="T11" fmla="*/ 330 h 470"/>
                <a:gd name="T12" fmla="*/ 90 w 870"/>
                <a:gd name="T13" fmla="*/ 323 h 470"/>
                <a:gd name="T14" fmla="*/ 8 w 870"/>
                <a:gd name="T15" fmla="*/ 287 h 470"/>
                <a:gd name="T16" fmla="*/ 125 w 870"/>
                <a:gd name="T17" fmla="*/ 267 h 470"/>
                <a:gd name="T18" fmla="*/ 54 w 870"/>
                <a:gd name="T19" fmla="*/ 219 h 470"/>
                <a:gd name="T20" fmla="*/ 147 w 870"/>
                <a:gd name="T21" fmla="*/ 208 h 470"/>
                <a:gd name="T22" fmla="*/ 99 w 870"/>
                <a:gd name="T23" fmla="*/ 166 h 470"/>
                <a:gd name="T24" fmla="*/ 188 w 870"/>
                <a:gd name="T25" fmla="*/ 150 h 470"/>
                <a:gd name="T26" fmla="*/ 139 w 870"/>
                <a:gd name="T27" fmla="*/ 101 h 470"/>
                <a:gd name="T28" fmla="*/ 235 w 870"/>
                <a:gd name="T29" fmla="*/ 97 h 470"/>
                <a:gd name="T30" fmla="*/ 201 w 870"/>
                <a:gd name="T31" fmla="*/ 44 h 470"/>
                <a:gd name="T32" fmla="*/ 333 w 870"/>
                <a:gd name="T33" fmla="*/ 79 h 470"/>
                <a:gd name="T34" fmla="*/ 298 w 870"/>
                <a:gd name="T35" fmla="*/ 13 h 470"/>
                <a:gd name="T36" fmla="*/ 397 w 870"/>
                <a:gd name="T37" fmla="*/ 69 h 470"/>
                <a:gd name="T38" fmla="*/ 400 w 870"/>
                <a:gd name="T39" fmla="*/ 13 h 470"/>
                <a:gd name="T40" fmla="*/ 456 w 870"/>
                <a:gd name="T41" fmla="*/ 60 h 470"/>
                <a:gd name="T42" fmla="*/ 502 w 870"/>
                <a:gd name="T43" fmla="*/ 0 h 470"/>
                <a:gd name="T44" fmla="*/ 500 w 870"/>
                <a:gd name="T45" fmla="*/ 69 h 470"/>
                <a:gd name="T46" fmla="*/ 585 w 870"/>
                <a:gd name="T47" fmla="*/ 28 h 470"/>
                <a:gd name="T48" fmla="*/ 553 w 870"/>
                <a:gd name="T49" fmla="*/ 88 h 470"/>
                <a:gd name="T50" fmla="*/ 632 w 870"/>
                <a:gd name="T51" fmla="*/ 44 h 470"/>
                <a:gd name="T52" fmla="*/ 615 w 870"/>
                <a:gd name="T53" fmla="*/ 111 h 470"/>
                <a:gd name="T54" fmla="*/ 698 w 870"/>
                <a:gd name="T55" fmla="*/ 88 h 470"/>
                <a:gd name="T56" fmla="*/ 681 w 870"/>
                <a:gd name="T57" fmla="*/ 140 h 470"/>
                <a:gd name="T58" fmla="*/ 766 w 870"/>
                <a:gd name="T59" fmla="*/ 132 h 470"/>
                <a:gd name="T60" fmla="*/ 721 w 870"/>
                <a:gd name="T61" fmla="*/ 187 h 470"/>
                <a:gd name="T62" fmla="*/ 819 w 870"/>
                <a:gd name="T63" fmla="*/ 191 h 470"/>
                <a:gd name="T64" fmla="*/ 768 w 870"/>
                <a:gd name="T65" fmla="*/ 242 h 470"/>
                <a:gd name="T66" fmla="*/ 844 w 870"/>
                <a:gd name="T67" fmla="*/ 256 h 470"/>
                <a:gd name="T68" fmla="*/ 785 w 870"/>
                <a:gd name="T69" fmla="*/ 286 h 470"/>
                <a:gd name="T70" fmla="*/ 849 w 870"/>
                <a:gd name="T71" fmla="*/ 322 h 470"/>
                <a:gd name="T72" fmla="*/ 786 w 870"/>
                <a:gd name="T73" fmla="*/ 359 h 470"/>
                <a:gd name="T74" fmla="*/ 870 w 870"/>
                <a:gd name="T75" fmla="*/ 403 h 470"/>
                <a:gd name="T76" fmla="*/ 793 w 870"/>
                <a:gd name="T77" fmla="*/ 424 h 470"/>
                <a:gd name="T78" fmla="*/ 844 w 870"/>
                <a:gd name="T79" fmla="*/ 47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70" h="470">
                  <a:moveTo>
                    <a:pt x="844" y="470"/>
                  </a:moveTo>
                  <a:lnTo>
                    <a:pt x="11" y="470"/>
                  </a:lnTo>
                  <a:cubicBezTo>
                    <a:pt x="11" y="470"/>
                    <a:pt x="27" y="428"/>
                    <a:pt x="105" y="419"/>
                  </a:cubicBezTo>
                  <a:cubicBezTo>
                    <a:pt x="105" y="419"/>
                    <a:pt x="62" y="403"/>
                    <a:pt x="0" y="426"/>
                  </a:cubicBezTo>
                  <a:cubicBezTo>
                    <a:pt x="0" y="426"/>
                    <a:pt x="11" y="387"/>
                    <a:pt x="105" y="364"/>
                  </a:cubicBezTo>
                  <a:cubicBezTo>
                    <a:pt x="105" y="364"/>
                    <a:pt x="25" y="361"/>
                    <a:pt x="0" y="330"/>
                  </a:cubicBezTo>
                  <a:cubicBezTo>
                    <a:pt x="0" y="330"/>
                    <a:pt x="50" y="344"/>
                    <a:pt x="90" y="323"/>
                  </a:cubicBezTo>
                  <a:cubicBezTo>
                    <a:pt x="90" y="323"/>
                    <a:pt x="45" y="279"/>
                    <a:pt x="8" y="287"/>
                  </a:cubicBezTo>
                  <a:cubicBezTo>
                    <a:pt x="8" y="287"/>
                    <a:pt x="44" y="255"/>
                    <a:pt x="125" y="267"/>
                  </a:cubicBezTo>
                  <a:cubicBezTo>
                    <a:pt x="125" y="267"/>
                    <a:pt x="82" y="216"/>
                    <a:pt x="54" y="219"/>
                  </a:cubicBezTo>
                  <a:cubicBezTo>
                    <a:pt x="54" y="219"/>
                    <a:pt x="79" y="194"/>
                    <a:pt x="147" y="208"/>
                  </a:cubicBezTo>
                  <a:cubicBezTo>
                    <a:pt x="147" y="208"/>
                    <a:pt x="125" y="170"/>
                    <a:pt x="99" y="166"/>
                  </a:cubicBezTo>
                  <a:cubicBezTo>
                    <a:pt x="99" y="166"/>
                    <a:pt x="111" y="132"/>
                    <a:pt x="188" y="150"/>
                  </a:cubicBezTo>
                  <a:cubicBezTo>
                    <a:pt x="188" y="150"/>
                    <a:pt x="176" y="103"/>
                    <a:pt x="139" y="101"/>
                  </a:cubicBezTo>
                  <a:cubicBezTo>
                    <a:pt x="139" y="101"/>
                    <a:pt x="182" y="73"/>
                    <a:pt x="235" y="97"/>
                  </a:cubicBezTo>
                  <a:cubicBezTo>
                    <a:pt x="235" y="97"/>
                    <a:pt x="222" y="48"/>
                    <a:pt x="201" y="44"/>
                  </a:cubicBezTo>
                  <a:cubicBezTo>
                    <a:pt x="201" y="44"/>
                    <a:pt x="300" y="44"/>
                    <a:pt x="333" y="79"/>
                  </a:cubicBezTo>
                  <a:cubicBezTo>
                    <a:pt x="333" y="79"/>
                    <a:pt x="319" y="34"/>
                    <a:pt x="298" y="13"/>
                  </a:cubicBezTo>
                  <a:cubicBezTo>
                    <a:pt x="298" y="13"/>
                    <a:pt x="394" y="31"/>
                    <a:pt x="397" y="69"/>
                  </a:cubicBezTo>
                  <a:cubicBezTo>
                    <a:pt x="397" y="69"/>
                    <a:pt x="409" y="41"/>
                    <a:pt x="400" y="13"/>
                  </a:cubicBezTo>
                  <a:cubicBezTo>
                    <a:pt x="400" y="13"/>
                    <a:pt x="450" y="25"/>
                    <a:pt x="456" y="60"/>
                  </a:cubicBezTo>
                  <a:cubicBezTo>
                    <a:pt x="456" y="60"/>
                    <a:pt x="475" y="8"/>
                    <a:pt x="502" y="0"/>
                  </a:cubicBezTo>
                  <a:cubicBezTo>
                    <a:pt x="502" y="0"/>
                    <a:pt x="491" y="49"/>
                    <a:pt x="500" y="69"/>
                  </a:cubicBezTo>
                  <a:cubicBezTo>
                    <a:pt x="500" y="69"/>
                    <a:pt x="544" y="42"/>
                    <a:pt x="585" y="28"/>
                  </a:cubicBezTo>
                  <a:cubicBezTo>
                    <a:pt x="585" y="28"/>
                    <a:pt x="553" y="61"/>
                    <a:pt x="553" y="88"/>
                  </a:cubicBezTo>
                  <a:cubicBezTo>
                    <a:pt x="553" y="88"/>
                    <a:pt x="594" y="47"/>
                    <a:pt x="632" y="44"/>
                  </a:cubicBezTo>
                  <a:cubicBezTo>
                    <a:pt x="632" y="44"/>
                    <a:pt x="583" y="97"/>
                    <a:pt x="615" y="111"/>
                  </a:cubicBezTo>
                  <a:cubicBezTo>
                    <a:pt x="615" y="111"/>
                    <a:pt x="656" y="83"/>
                    <a:pt x="698" y="88"/>
                  </a:cubicBezTo>
                  <a:cubicBezTo>
                    <a:pt x="698" y="88"/>
                    <a:pt x="668" y="122"/>
                    <a:pt x="681" y="140"/>
                  </a:cubicBezTo>
                  <a:cubicBezTo>
                    <a:pt x="681" y="140"/>
                    <a:pt x="719" y="122"/>
                    <a:pt x="766" y="132"/>
                  </a:cubicBezTo>
                  <a:cubicBezTo>
                    <a:pt x="766" y="132"/>
                    <a:pt x="702" y="166"/>
                    <a:pt x="721" y="187"/>
                  </a:cubicBezTo>
                  <a:cubicBezTo>
                    <a:pt x="721" y="187"/>
                    <a:pt x="770" y="175"/>
                    <a:pt x="819" y="191"/>
                  </a:cubicBezTo>
                  <a:cubicBezTo>
                    <a:pt x="819" y="191"/>
                    <a:pt x="759" y="223"/>
                    <a:pt x="768" y="242"/>
                  </a:cubicBezTo>
                  <a:cubicBezTo>
                    <a:pt x="768" y="242"/>
                    <a:pt x="800" y="246"/>
                    <a:pt x="844" y="256"/>
                  </a:cubicBezTo>
                  <a:cubicBezTo>
                    <a:pt x="844" y="256"/>
                    <a:pt x="800" y="263"/>
                    <a:pt x="785" y="286"/>
                  </a:cubicBezTo>
                  <a:cubicBezTo>
                    <a:pt x="785" y="286"/>
                    <a:pt x="813" y="286"/>
                    <a:pt x="849" y="322"/>
                  </a:cubicBezTo>
                  <a:cubicBezTo>
                    <a:pt x="849" y="322"/>
                    <a:pt x="791" y="325"/>
                    <a:pt x="786" y="359"/>
                  </a:cubicBezTo>
                  <a:cubicBezTo>
                    <a:pt x="786" y="359"/>
                    <a:pt x="830" y="356"/>
                    <a:pt x="870" y="403"/>
                  </a:cubicBezTo>
                  <a:cubicBezTo>
                    <a:pt x="870" y="403"/>
                    <a:pt x="798" y="389"/>
                    <a:pt x="793" y="424"/>
                  </a:cubicBezTo>
                  <a:cubicBezTo>
                    <a:pt x="832" y="424"/>
                    <a:pt x="844" y="462"/>
                    <a:pt x="844" y="470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grpSp>
        <p:nvGrpSpPr>
          <p:cNvPr id="44" name="그룹 108">
            <a:extLst>
              <a:ext uri="{FF2B5EF4-FFF2-40B4-BE49-F238E27FC236}">
                <a16:creationId xmlns:a16="http://schemas.microsoft.com/office/drawing/2014/main" id="{02904B6B-2702-4C83-858A-78E75B2707AF}"/>
              </a:ext>
            </a:extLst>
          </p:cNvPr>
          <p:cNvGrpSpPr/>
          <p:nvPr/>
        </p:nvGrpSpPr>
        <p:grpSpPr>
          <a:xfrm rot="20918691">
            <a:off x="4719798" y="6059393"/>
            <a:ext cx="413309" cy="231192"/>
            <a:chOff x="7121525" y="190501"/>
            <a:chExt cx="896938" cy="515937"/>
          </a:xfrm>
          <a:solidFill>
            <a:srgbClr val="3A876B">
              <a:lumMod val="40000"/>
              <a:lumOff val="60000"/>
            </a:srgbClr>
          </a:solidFill>
        </p:grpSpPr>
        <p:sp>
          <p:nvSpPr>
            <p:cNvPr id="49" name="Freeform 41">
              <a:extLst>
                <a:ext uri="{FF2B5EF4-FFF2-40B4-BE49-F238E27FC236}">
                  <a16:creationId xmlns:a16="http://schemas.microsoft.com/office/drawing/2014/main" id="{123516DB-F6C6-4A60-BD31-47088652C5DF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1525" y="190501"/>
              <a:ext cx="896938" cy="481013"/>
            </a:xfrm>
            <a:custGeom>
              <a:avLst/>
              <a:gdLst>
                <a:gd name="T0" fmla="*/ 1180 w 1181"/>
                <a:gd name="T1" fmla="*/ 486 h 634"/>
                <a:gd name="T2" fmla="*/ 1024 w 1181"/>
                <a:gd name="T3" fmla="*/ 634 h 634"/>
                <a:gd name="T4" fmla="*/ 134 w 1181"/>
                <a:gd name="T5" fmla="*/ 634 h 634"/>
                <a:gd name="T6" fmla="*/ 0 w 1181"/>
                <a:gd name="T7" fmla="*/ 504 h 634"/>
                <a:gd name="T8" fmla="*/ 0 w 1181"/>
                <a:gd name="T9" fmla="*/ 503 h 634"/>
                <a:gd name="T10" fmla="*/ 23 w 1181"/>
                <a:gd name="T11" fmla="*/ 418 h 634"/>
                <a:gd name="T12" fmla="*/ 169 w 1181"/>
                <a:gd name="T13" fmla="*/ 334 h 634"/>
                <a:gd name="T14" fmla="*/ 214 w 1181"/>
                <a:gd name="T15" fmla="*/ 340 h 634"/>
                <a:gd name="T16" fmla="*/ 214 w 1181"/>
                <a:gd name="T17" fmla="*/ 334 h 634"/>
                <a:gd name="T18" fmla="*/ 383 w 1181"/>
                <a:gd name="T19" fmla="*/ 165 h 634"/>
                <a:gd name="T20" fmla="*/ 497 w 1181"/>
                <a:gd name="T21" fmla="*/ 210 h 634"/>
                <a:gd name="T22" fmla="*/ 977 w 1181"/>
                <a:gd name="T23" fmla="*/ 316 h 634"/>
                <a:gd name="T24" fmla="*/ 976 w 1181"/>
                <a:gd name="T25" fmla="*/ 337 h 634"/>
                <a:gd name="T26" fmla="*/ 1027 w 1181"/>
                <a:gd name="T27" fmla="*/ 328 h 634"/>
                <a:gd name="T28" fmla="*/ 1167 w 1181"/>
                <a:gd name="T29" fmla="*/ 418 h 634"/>
                <a:gd name="T30" fmla="*/ 1180 w 1181"/>
                <a:gd name="T31" fmla="*/ 486 h 6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1" h="634">
                  <a:moveTo>
                    <a:pt x="1180" y="486"/>
                  </a:moveTo>
                  <a:cubicBezTo>
                    <a:pt x="1178" y="569"/>
                    <a:pt x="1107" y="634"/>
                    <a:pt x="1024" y="634"/>
                  </a:cubicBezTo>
                  <a:lnTo>
                    <a:pt x="134" y="634"/>
                  </a:lnTo>
                  <a:cubicBezTo>
                    <a:pt x="62" y="634"/>
                    <a:pt x="1" y="577"/>
                    <a:pt x="0" y="504"/>
                  </a:cubicBezTo>
                  <a:cubicBezTo>
                    <a:pt x="0" y="504"/>
                    <a:pt x="0" y="503"/>
                    <a:pt x="0" y="503"/>
                  </a:cubicBezTo>
                  <a:cubicBezTo>
                    <a:pt x="0" y="472"/>
                    <a:pt x="8" y="443"/>
                    <a:pt x="23" y="418"/>
                  </a:cubicBezTo>
                  <a:cubicBezTo>
                    <a:pt x="52" y="368"/>
                    <a:pt x="107" y="334"/>
                    <a:pt x="169" y="334"/>
                  </a:cubicBezTo>
                  <a:cubicBezTo>
                    <a:pt x="185" y="334"/>
                    <a:pt x="200" y="336"/>
                    <a:pt x="214" y="340"/>
                  </a:cubicBezTo>
                  <a:cubicBezTo>
                    <a:pt x="214" y="338"/>
                    <a:pt x="214" y="336"/>
                    <a:pt x="214" y="334"/>
                  </a:cubicBezTo>
                  <a:cubicBezTo>
                    <a:pt x="214" y="241"/>
                    <a:pt x="289" y="165"/>
                    <a:pt x="383" y="165"/>
                  </a:cubicBezTo>
                  <a:cubicBezTo>
                    <a:pt x="427" y="165"/>
                    <a:pt x="467" y="182"/>
                    <a:pt x="497" y="210"/>
                  </a:cubicBezTo>
                  <a:cubicBezTo>
                    <a:pt x="594" y="0"/>
                    <a:pt x="977" y="31"/>
                    <a:pt x="977" y="316"/>
                  </a:cubicBezTo>
                  <a:cubicBezTo>
                    <a:pt x="977" y="323"/>
                    <a:pt x="977" y="330"/>
                    <a:pt x="976" y="337"/>
                  </a:cubicBezTo>
                  <a:cubicBezTo>
                    <a:pt x="992" y="331"/>
                    <a:pt x="1009" y="328"/>
                    <a:pt x="1027" y="328"/>
                  </a:cubicBezTo>
                  <a:cubicBezTo>
                    <a:pt x="1089" y="328"/>
                    <a:pt x="1143" y="365"/>
                    <a:pt x="1167" y="418"/>
                  </a:cubicBezTo>
                  <a:cubicBezTo>
                    <a:pt x="1176" y="439"/>
                    <a:pt x="1181" y="462"/>
                    <a:pt x="1180" y="4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50" name="Freeform 42">
              <a:extLst>
                <a:ext uri="{FF2B5EF4-FFF2-40B4-BE49-F238E27FC236}">
                  <a16:creationId xmlns:a16="http://schemas.microsoft.com/office/drawing/2014/main" id="{72289B04-454E-4727-8AC1-A2900B3025C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9163" y="369888"/>
              <a:ext cx="625475" cy="336550"/>
            </a:xfrm>
            <a:custGeom>
              <a:avLst/>
              <a:gdLst>
                <a:gd name="T0" fmla="*/ 824 w 824"/>
                <a:gd name="T1" fmla="*/ 339 h 443"/>
                <a:gd name="T2" fmla="*/ 714 w 824"/>
                <a:gd name="T3" fmla="*/ 443 h 443"/>
                <a:gd name="T4" fmla="*/ 93 w 824"/>
                <a:gd name="T5" fmla="*/ 443 h 443"/>
                <a:gd name="T6" fmla="*/ 0 w 824"/>
                <a:gd name="T7" fmla="*/ 352 h 443"/>
                <a:gd name="T8" fmla="*/ 0 w 824"/>
                <a:gd name="T9" fmla="*/ 351 h 443"/>
                <a:gd name="T10" fmla="*/ 16 w 824"/>
                <a:gd name="T11" fmla="*/ 292 h 443"/>
                <a:gd name="T12" fmla="*/ 118 w 824"/>
                <a:gd name="T13" fmla="*/ 233 h 443"/>
                <a:gd name="T14" fmla="*/ 149 w 824"/>
                <a:gd name="T15" fmla="*/ 238 h 443"/>
                <a:gd name="T16" fmla="*/ 149 w 824"/>
                <a:gd name="T17" fmla="*/ 233 h 443"/>
                <a:gd name="T18" fmla="*/ 267 w 824"/>
                <a:gd name="T19" fmla="*/ 115 h 443"/>
                <a:gd name="T20" fmla="*/ 347 w 824"/>
                <a:gd name="T21" fmla="*/ 147 h 443"/>
                <a:gd name="T22" fmla="*/ 682 w 824"/>
                <a:gd name="T23" fmla="*/ 221 h 443"/>
                <a:gd name="T24" fmla="*/ 681 w 824"/>
                <a:gd name="T25" fmla="*/ 236 h 443"/>
                <a:gd name="T26" fmla="*/ 717 w 824"/>
                <a:gd name="T27" fmla="*/ 229 h 443"/>
                <a:gd name="T28" fmla="*/ 814 w 824"/>
                <a:gd name="T29" fmla="*/ 292 h 443"/>
                <a:gd name="T30" fmla="*/ 824 w 824"/>
                <a:gd name="T31" fmla="*/ 339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24" h="443">
                  <a:moveTo>
                    <a:pt x="824" y="339"/>
                  </a:moveTo>
                  <a:cubicBezTo>
                    <a:pt x="822" y="397"/>
                    <a:pt x="773" y="443"/>
                    <a:pt x="714" y="443"/>
                  </a:cubicBezTo>
                  <a:lnTo>
                    <a:pt x="93" y="443"/>
                  </a:lnTo>
                  <a:cubicBezTo>
                    <a:pt x="43" y="443"/>
                    <a:pt x="0" y="403"/>
                    <a:pt x="0" y="352"/>
                  </a:cubicBezTo>
                  <a:lnTo>
                    <a:pt x="0" y="351"/>
                  </a:lnTo>
                  <a:cubicBezTo>
                    <a:pt x="0" y="330"/>
                    <a:pt x="6" y="309"/>
                    <a:pt x="16" y="292"/>
                  </a:cubicBezTo>
                  <a:cubicBezTo>
                    <a:pt x="36" y="257"/>
                    <a:pt x="74" y="233"/>
                    <a:pt x="118" y="233"/>
                  </a:cubicBezTo>
                  <a:cubicBezTo>
                    <a:pt x="129" y="233"/>
                    <a:pt x="139" y="235"/>
                    <a:pt x="149" y="238"/>
                  </a:cubicBezTo>
                  <a:cubicBezTo>
                    <a:pt x="149" y="236"/>
                    <a:pt x="149" y="235"/>
                    <a:pt x="149" y="233"/>
                  </a:cubicBezTo>
                  <a:cubicBezTo>
                    <a:pt x="149" y="168"/>
                    <a:pt x="202" y="115"/>
                    <a:pt x="267" y="115"/>
                  </a:cubicBezTo>
                  <a:cubicBezTo>
                    <a:pt x="298" y="115"/>
                    <a:pt x="326" y="127"/>
                    <a:pt x="347" y="147"/>
                  </a:cubicBezTo>
                  <a:cubicBezTo>
                    <a:pt x="414" y="0"/>
                    <a:pt x="682" y="22"/>
                    <a:pt x="682" y="221"/>
                  </a:cubicBezTo>
                  <a:cubicBezTo>
                    <a:pt x="682" y="226"/>
                    <a:pt x="681" y="231"/>
                    <a:pt x="681" y="236"/>
                  </a:cubicBezTo>
                  <a:cubicBezTo>
                    <a:pt x="692" y="232"/>
                    <a:pt x="704" y="229"/>
                    <a:pt x="717" y="229"/>
                  </a:cubicBezTo>
                  <a:cubicBezTo>
                    <a:pt x="760" y="229"/>
                    <a:pt x="797" y="255"/>
                    <a:pt x="814" y="292"/>
                  </a:cubicBezTo>
                  <a:cubicBezTo>
                    <a:pt x="821" y="306"/>
                    <a:pt x="824" y="322"/>
                    <a:pt x="824" y="339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grpSp>
        <p:nvGrpSpPr>
          <p:cNvPr id="45" name="그룹 111">
            <a:extLst>
              <a:ext uri="{FF2B5EF4-FFF2-40B4-BE49-F238E27FC236}">
                <a16:creationId xmlns:a16="http://schemas.microsoft.com/office/drawing/2014/main" id="{1A0D3661-6198-4640-AA53-706A34B7452F}"/>
              </a:ext>
            </a:extLst>
          </p:cNvPr>
          <p:cNvGrpSpPr/>
          <p:nvPr/>
        </p:nvGrpSpPr>
        <p:grpSpPr>
          <a:xfrm>
            <a:off x="9901455" y="6334958"/>
            <a:ext cx="413797" cy="217529"/>
            <a:chOff x="9777413" y="344488"/>
            <a:chExt cx="919163" cy="496888"/>
          </a:xfrm>
          <a:solidFill>
            <a:srgbClr val="3A876B">
              <a:lumMod val="40000"/>
              <a:lumOff val="60000"/>
            </a:srgbClr>
          </a:solidFill>
        </p:grpSpPr>
        <p:sp>
          <p:nvSpPr>
            <p:cNvPr id="47" name="Freeform 27">
              <a:extLst>
                <a:ext uri="{FF2B5EF4-FFF2-40B4-BE49-F238E27FC236}">
                  <a16:creationId xmlns:a16="http://schemas.microsoft.com/office/drawing/2014/main" id="{3F23DCAE-397D-4470-8065-7C6D3D0CD2FB}"/>
                </a:ext>
              </a:extLst>
            </p:cNvPr>
            <p:cNvSpPr>
              <a:spLocks/>
            </p:cNvSpPr>
            <p:nvPr/>
          </p:nvSpPr>
          <p:spPr bwMode="auto">
            <a:xfrm>
              <a:off x="9777413" y="344488"/>
              <a:ext cx="919163" cy="496888"/>
            </a:xfrm>
            <a:custGeom>
              <a:avLst/>
              <a:gdLst>
                <a:gd name="T0" fmla="*/ 1175 w 1211"/>
                <a:gd name="T1" fmla="*/ 654 h 654"/>
                <a:gd name="T2" fmla="*/ 14 w 1211"/>
                <a:gd name="T3" fmla="*/ 654 h 654"/>
                <a:gd name="T4" fmla="*/ 145 w 1211"/>
                <a:gd name="T5" fmla="*/ 583 h 654"/>
                <a:gd name="T6" fmla="*/ 0 w 1211"/>
                <a:gd name="T7" fmla="*/ 593 h 654"/>
                <a:gd name="T8" fmla="*/ 145 w 1211"/>
                <a:gd name="T9" fmla="*/ 507 h 654"/>
                <a:gd name="T10" fmla="*/ 0 w 1211"/>
                <a:gd name="T11" fmla="*/ 460 h 654"/>
                <a:gd name="T12" fmla="*/ 125 w 1211"/>
                <a:gd name="T13" fmla="*/ 450 h 654"/>
                <a:gd name="T14" fmla="*/ 11 w 1211"/>
                <a:gd name="T15" fmla="*/ 399 h 654"/>
                <a:gd name="T16" fmla="*/ 173 w 1211"/>
                <a:gd name="T17" fmla="*/ 372 h 654"/>
                <a:gd name="T18" fmla="*/ 74 w 1211"/>
                <a:gd name="T19" fmla="*/ 305 h 654"/>
                <a:gd name="T20" fmla="*/ 205 w 1211"/>
                <a:gd name="T21" fmla="*/ 290 h 654"/>
                <a:gd name="T22" fmla="*/ 137 w 1211"/>
                <a:gd name="T23" fmla="*/ 231 h 654"/>
                <a:gd name="T24" fmla="*/ 261 w 1211"/>
                <a:gd name="T25" fmla="*/ 209 h 654"/>
                <a:gd name="T26" fmla="*/ 193 w 1211"/>
                <a:gd name="T27" fmla="*/ 140 h 654"/>
                <a:gd name="T28" fmla="*/ 326 w 1211"/>
                <a:gd name="T29" fmla="*/ 136 h 654"/>
                <a:gd name="T30" fmla="*/ 279 w 1211"/>
                <a:gd name="T31" fmla="*/ 62 h 654"/>
                <a:gd name="T32" fmla="*/ 463 w 1211"/>
                <a:gd name="T33" fmla="*/ 110 h 654"/>
                <a:gd name="T34" fmla="*/ 415 w 1211"/>
                <a:gd name="T35" fmla="*/ 17 h 654"/>
                <a:gd name="T36" fmla="*/ 552 w 1211"/>
                <a:gd name="T37" fmla="*/ 96 h 654"/>
                <a:gd name="T38" fmla="*/ 557 w 1211"/>
                <a:gd name="T39" fmla="*/ 17 h 654"/>
                <a:gd name="T40" fmla="*/ 634 w 1211"/>
                <a:gd name="T41" fmla="*/ 84 h 654"/>
                <a:gd name="T42" fmla="*/ 699 w 1211"/>
                <a:gd name="T43" fmla="*/ 0 h 654"/>
                <a:gd name="T44" fmla="*/ 696 w 1211"/>
                <a:gd name="T45" fmla="*/ 96 h 654"/>
                <a:gd name="T46" fmla="*/ 814 w 1211"/>
                <a:gd name="T47" fmla="*/ 40 h 654"/>
                <a:gd name="T48" fmla="*/ 770 w 1211"/>
                <a:gd name="T49" fmla="*/ 123 h 654"/>
                <a:gd name="T50" fmla="*/ 879 w 1211"/>
                <a:gd name="T51" fmla="*/ 62 h 654"/>
                <a:gd name="T52" fmla="*/ 856 w 1211"/>
                <a:gd name="T53" fmla="*/ 155 h 654"/>
                <a:gd name="T54" fmla="*/ 972 w 1211"/>
                <a:gd name="T55" fmla="*/ 122 h 654"/>
                <a:gd name="T56" fmla="*/ 948 w 1211"/>
                <a:gd name="T57" fmla="*/ 195 h 654"/>
                <a:gd name="T58" fmla="*/ 1066 w 1211"/>
                <a:gd name="T59" fmla="*/ 184 h 654"/>
                <a:gd name="T60" fmla="*/ 1004 w 1211"/>
                <a:gd name="T61" fmla="*/ 260 h 654"/>
                <a:gd name="T62" fmla="*/ 1140 w 1211"/>
                <a:gd name="T63" fmla="*/ 266 h 654"/>
                <a:gd name="T64" fmla="*/ 1068 w 1211"/>
                <a:gd name="T65" fmla="*/ 337 h 654"/>
                <a:gd name="T66" fmla="*/ 1175 w 1211"/>
                <a:gd name="T67" fmla="*/ 357 h 654"/>
                <a:gd name="T68" fmla="*/ 1093 w 1211"/>
                <a:gd name="T69" fmla="*/ 399 h 654"/>
                <a:gd name="T70" fmla="*/ 1181 w 1211"/>
                <a:gd name="T71" fmla="*/ 448 h 654"/>
                <a:gd name="T72" fmla="*/ 1095 w 1211"/>
                <a:gd name="T73" fmla="*/ 500 h 654"/>
                <a:gd name="T74" fmla="*/ 1211 w 1211"/>
                <a:gd name="T75" fmla="*/ 561 h 654"/>
                <a:gd name="T76" fmla="*/ 1104 w 1211"/>
                <a:gd name="T77" fmla="*/ 591 h 654"/>
                <a:gd name="T78" fmla="*/ 1175 w 1211"/>
                <a:gd name="T79" fmla="*/ 654 h 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11" h="654">
                  <a:moveTo>
                    <a:pt x="1175" y="654"/>
                  </a:moveTo>
                  <a:lnTo>
                    <a:pt x="14" y="654"/>
                  </a:lnTo>
                  <a:cubicBezTo>
                    <a:pt x="14" y="654"/>
                    <a:pt x="37" y="596"/>
                    <a:pt x="145" y="583"/>
                  </a:cubicBezTo>
                  <a:cubicBezTo>
                    <a:pt x="145" y="583"/>
                    <a:pt x="86" y="561"/>
                    <a:pt x="0" y="593"/>
                  </a:cubicBezTo>
                  <a:cubicBezTo>
                    <a:pt x="0" y="593"/>
                    <a:pt x="15" y="539"/>
                    <a:pt x="145" y="507"/>
                  </a:cubicBezTo>
                  <a:cubicBezTo>
                    <a:pt x="145" y="507"/>
                    <a:pt x="35" y="503"/>
                    <a:pt x="0" y="460"/>
                  </a:cubicBezTo>
                  <a:cubicBezTo>
                    <a:pt x="0" y="460"/>
                    <a:pt x="69" y="480"/>
                    <a:pt x="125" y="450"/>
                  </a:cubicBezTo>
                  <a:cubicBezTo>
                    <a:pt x="125" y="450"/>
                    <a:pt x="62" y="389"/>
                    <a:pt x="11" y="399"/>
                  </a:cubicBezTo>
                  <a:cubicBezTo>
                    <a:pt x="11" y="399"/>
                    <a:pt x="61" y="355"/>
                    <a:pt x="173" y="372"/>
                  </a:cubicBezTo>
                  <a:cubicBezTo>
                    <a:pt x="173" y="372"/>
                    <a:pt x="113" y="300"/>
                    <a:pt x="74" y="305"/>
                  </a:cubicBezTo>
                  <a:cubicBezTo>
                    <a:pt x="74" y="305"/>
                    <a:pt x="110" y="271"/>
                    <a:pt x="205" y="290"/>
                  </a:cubicBezTo>
                  <a:cubicBezTo>
                    <a:pt x="205" y="290"/>
                    <a:pt x="174" y="237"/>
                    <a:pt x="137" y="231"/>
                  </a:cubicBezTo>
                  <a:cubicBezTo>
                    <a:pt x="137" y="231"/>
                    <a:pt x="154" y="184"/>
                    <a:pt x="261" y="209"/>
                  </a:cubicBezTo>
                  <a:cubicBezTo>
                    <a:pt x="261" y="209"/>
                    <a:pt x="244" y="143"/>
                    <a:pt x="193" y="140"/>
                  </a:cubicBezTo>
                  <a:cubicBezTo>
                    <a:pt x="193" y="140"/>
                    <a:pt x="253" y="102"/>
                    <a:pt x="326" y="136"/>
                  </a:cubicBezTo>
                  <a:cubicBezTo>
                    <a:pt x="326" y="136"/>
                    <a:pt x="308" y="67"/>
                    <a:pt x="279" y="62"/>
                  </a:cubicBezTo>
                  <a:cubicBezTo>
                    <a:pt x="279" y="62"/>
                    <a:pt x="418" y="62"/>
                    <a:pt x="463" y="110"/>
                  </a:cubicBezTo>
                  <a:cubicBezTo>
                    <a:pt x="463" y="110"/>
                    <a:pt x="444" y="47"/>
                    <a:pt x="415" y="17"/>
                  </a:cubicBezTo>
                  <a:cubicBezTo>
                    <a:pt x="415" y="17"/>
                    <a:pt x="548" y="43"/>
                    <a:pt x="552" y="96"/>
                  </a:cubicBezTo>
                  <a:cubicBezTo>
                    <a:pt x="552" y="96"/>
                    <a:pt x="569" y="57"/>
                    <a:pt x="557" y="17"/>
                  </a:cubicBezTo>
                  <a:cubicBezTo>
                    <a:pt x="557" y="17"/>
                    <a:pt x="626" y="35"/>
                    <a:pt x="634" y="84"/>
                  </a:cubicBezTo>
                  <a:cubicBezTo>
                    <a:pt x="634" y="84"/>
                    <a:pt x="660" y="12"/>
                    <a:pt x="699" y="0"/>
                  </a:cubicBezTo>
                  <a:cubicBezTo>
                    <a:pt x="699" y="0"/>
                    <a:pt x="684" y="68"/>
                    <a:pt x="696" y="96"/>
                  </a:cubicBezTo>
                  <a:cubicBezTo>
                    <a:pt x="696" y="96"/>
                    <a:pt x="757" y="59"/>
                    <a:pt x="814" y="40"/>
                  </a:cubicBezTo>
                  <a:cubicBezTo>
                    <a:pt x="814" y="40"/>
                    <a:pt x="770" y="85"/>
                    <a:pt x="770" y="123"/>
                  </a:cubicBezTo>
                  <a:cubicBezTo>
                    <a:pt x="770" y="123"/>
                    <a:pt x="827" y="66"/>
                    <a:pt x="879" y="62"/>
                  </a:cubicBezTo>
                  <a:cubicBezTo>
                    <a:pt x="879" y="62"/>
                    <a:pt x="811" y="136"/>
                    <a:pt x="856" y="155"/>
                  </a:cubicBezTo>
                  <a:cubicBezTo>
                    <a:pt x="856" y="155"/>
                    <a:pt x="913" y="116"/>
                    <a:pt x="972" y="122"/>
                  </a:cubicBezTo>
                  <a:cubicBezTo>
                    <a:pt x="972" y="122"/>
                    <a:pt x="930" y="170"/>
                    <a:pt x="948" y="195"/>
                  </a:cubicBezTo>
                  <a:cubicBezTo>
                    <a:pt x="948" y="195"/>
                    <a:pt x="1001" y="170"/>
                    <a:pt x="1066" y="184"/>
                  </a:cubicBezTo>
                  <a:cubicBezTo>
                    <a:pt x="1066" y="184"/>
                    <a:pt x="977" y="231"/>
                    <a:pt x="1004" y="260"/>
                  </a:cubicBezTo>
                  <a:cubicBezTo>
                    <a:pt x="1004" y="260"/>
                    <a:pt x="1072" y="244"/>
                    <a:pt x="1140" y="266"/>
                  </a:cubicBezTo>
                  <a:cubicBezTo>
                    <a:pt x="1140" y="266"/>
                    <a:pt x="1057" y="310"/>
                    <a:pt x="1068" y="337"/>
                  </a:cubicBezTo>
                  <a:cubicBezTo>
                    <a:pt x="1068" y="337"/>
                    <a:pt x="1113" y="342"/>
                    <a:pt x="1175" y="357"/>
                  </a:cubicBezTo>
                  <a:cubicBezTo>
                    <a:pt x="1175" y="357"/>
                    <a:pt x="1114" y="367"/>
                    <a:pt x="1093" y="399"/>
                  </a:cubicBezTo>
                  <a:cubicBezTo>
                    <a:pt x="1093" y="399"/>
                    <a:pt x="1131" y="399"/>
                    <a:pt x="1181" y="448"/>
                  </a:cubicBezTo>
                  <a:cubicBezTo>
                    <a:pt x="1181" y="448"/>
                    <a:pt x="1101" y="453"/>
                    <a:pt x="1095" y="500"/>
                  </a:cubicBezTo>
                  <a:cubicBezTo>
                    <a:pt x="1095" y="500"/>
                    <a:pt x="1155" y="496"/>
                    <a:pt x="1211" y="561"/>
                  </a:cubicBezTo>
                  <a:cubicBezTo>
                    <a:pt x="1211" y="561"/>
                    <a:pt x="1110" y="541"/>
                    <a:pt x="1104" y="591"/>
                  </a:cubicBezTo>
                  <a:cubicBezTo>
                    <a:pt x="1158" y="591"/>
                    <a:pt x="1174" y="643"/>
                    <a:pt x="1175" y="6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48" name="Freeform 28">
              <a:extLst>
                <a:ext uri="{FF2B5EF4-FFF2-40B4-BE49-F238E27FC236}">
                  <a16:creationId xmlns:a16="http://schemas.microsoft.com/office/drawing/2014/main" id="{3115AA68-7816-4932-BAF8-49990CE15FB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8700" y="441326"/>
              <a:ext cx="660400" cy="357188"/>
            </a:xfrm>
            <a:custGeom>
              <a:avLst/>
              <a:gdLst>
                <a:gd name="T0" fmla="*/ 844 w 870"/>
                <a:gd name="T1" fmla="*/ 470 h 470"/>
                <a:gd name="T2" fmla="*/ 11 w 870"/>
                <a:gd name="T3" fmla="*/ 470 h 470"/>
                <a:gd name="T4" fmla="*/ 105 w 870"/>
                <a:gd name="T5" fmla="*/ 419 h 470"/>
                <a:gd name="T6" fmla="*/ 0 w 870"/>
                <a:gd name="T7" fmla="*/ 426 h 470"/>
                <a:gd name="T8" fmla="*/ 105 w 870"/>
                <a:gd name="T9" fmla="*/ 364 h 470"/>
                <a:gd name="T10" fmla="*/ 0 w 870"/>
                <a:gd name="T11" fmla="*/ 330 h 470"/>
                <a:gd name="T12" fmla="*/ 90 w 870"/>
                <a:gd name="T13" fmla="*/ 323 h 470"/>
                <a:gd name="T14" fmla="*/ 8 w 870"/>
                <a:gd name="T15" fmla="*/ 287 h 470"/>
                <a:gd name="T16" fmla="*/ 125 w 870"/>
                <a:gd name="T17" fmla="*/ 267 h 470"/>
                <a:gd name="T18" fmla="*/ 54 w 870"/>
                <a:gd name="T19" fmla="*/ 219 h 470"/>
                <a:gd name="T20" fmla="*/ 147 w 870"/>
                <a:gd name="T21" fmla="*/ 208 h 470"/>
                <a:gd name="T22" fmla="*/ 99 w 870"/>
                <a:gd name="T23" fmla="*/ 166 h 470"/>
                <a:gd name="T24" fmla="*/ 188 w 870"/>
                <a:gd name="T25" fmla="*/ 150 h 470"/>
                <a:gd name="T26" fmla="*/ 139 w 870"/>
                <a:gd name="T27" fmla="*/ 101 h 470"/>
                <a:gd name="T28" fmla="*/ 235 w 870"/>
                <a:gd name="T29" fmla="*/ 97 h 470"/>
                <a:gd name="T30" fmla="*/ 201 w 870"/>
                <a:gd name="T31" fmla="*/ 44 h 470"/>
                <a:gd name="T32" fmla="*/ 333 w 870"/>
                <a:gd name="T33" fmla="*/ 79 h 470"/>
                <a:gd name="T34" fmla="*/ 298 w 870"/>
                <a:gd name="T35" fmla="*/ 13 h 470"/>
                <a:gd name="T36" fmla="*/ 397 w 870"/>
                <a:gd name="T37" fmla="*/ 69 h 470"/>
                <a:gd name="T38" fmla="*/ 400 w 870"/>
                <a:gd name="T39" fmla="*/ 13 h 470"/>
                <a:gd name="T40" fmla="*/ 456 w 870"/>
                <a:gd name="T41" fmla="*/ 60 h 470"/>
                <a:gd name="T42" fmla="*/ 502 w 870"/>
                <a:gd name="T43" fmla="*/ 0 h 470"/>
                <a:gd name="T44" fmla="*/ 500 w 870"/>
                <a:gd name="T45" fmla="*/ 69 h 470"/>
                <a:gd name="T46" fmla="*/ 585 w 870"/>
                <a:gd name="T47" fmla="*/ 28 h 470"/>
                <a:gd name="T48" fmla="*/ 553 w 870"/>
                <a:gd name="T49" fmla="*/ 88 h 470"/>
                <a:gd name="T50" fmla="*/ 632 w 870"/>
                <a:gd name="T51" fmla="*/ 44 h 470"/>
                <a:gd name="T52" fmla="*/ 615 w 870"/>
                <a:gd name="T53" fmla="*/ 111 h 470"/>
                <a:gd name="T54" fmla="*/ 698 w 870"/>
                <a:gd name="T55" fmla="*/ 88 h 470"/>
                <a:gd name="T56" fmla="*/ 681 w 870"/>
                <a:gd name="T57" fmla="*/ 140 h 470"/>
                <a:gd name="T58" fmla="*/ 766 w 870"/>
                <a:gd name="T59" fmla="*/ 132 h 470"/>
                <a:gd name="T60" fmla="*/ 721 w 870"/>
                <a:gd name="T61" fmla="*/ 187 h 470"/>
                <a:gd name="T62" fmla="*/ 819 w 870"/>
                <a:gd name="T63" fmla="*/ 191 h 470"/>
                <a:gd name="T64" fmla="*/ 768 w 870"/>
                <a:gd name="T65" fmla="*/ 242 h 470"/>
                <a:gd name="T66" fmla="*/ 844 w 870"/>
                <a:gd name="T67" fmla="*/ 256 h 470"/>
                <a:gd name="T68" fmla="*/ 785 w 870"/>
                <a:gd name="T69" fmla="*/ 286 h 470"/>
                <a:gd name="T70" fmla="*/ 849 w 870"/>
                <a:gd name="T71" fmla="*/ 322 h 470"/>
                <a:gd name="T72" fmla="*/ 786 w 870"/>
                <a:gd name="T73" fmla="*/ 359 h 470"/>
                <a:gd name="T74" fmla="*/ 870 w 870"/>
                <a:gd name="T75" fmla="*/ 403 h 470"/>
                <a:gd name="T76" fmla="*/ 793 w 870"/>
                <a:gd name="T77" fmla="*/ 424 h 470"/>
                <a:gd name="T78" fmla="*/ 844 w 870"/>
                <a:gd name="T79" fmla="*/ 47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70" h="470">
                  <a:moveTo>
                    <a:pt x="844" y="470"/>
                  </a:moveTo>
                  <a:lnTo>
                    <a:pt x="11" y="470"/>
                  </a:lnTo>
                  <a:cubicBezTo>
                    <a:pt x="11" y="470"/>
                    <a:pt x="27" y="428"/>
                    <a:pt x="105" y="419"/>
                  </a:cubicBezTo>
                  <a:cubicBezTo>
                    <a:pt x="105" y="419"/>
                    <a:pt x="62" y="403"/>
                    <a:pt x="0" y="426"/>
                  </a:cubicBezTo>
                  <a:cubicBezTo>
                    <a:pt x="0" y="426"/>
                    <a:pt x="11" y="387"/>
                    <a:pt x="105" y="364"/>
                  </a:cubicBezTo>
                  <a:cubicBezTo>
                    <a:pt x="105" y="364"/>
                    <a:pt x="25" y="361"/>
                    <a:pt x="0" y="330"/>
                  </a:cubicBezTo>
                  <a:cubicBezTo>
                    <a:pt x="0" y="330"/>
                    <a:pt x="50" y="344"/>
                    <a:pt x="90" y="323"/>
                  </a:cubicBezTo>
                  <a:cubicBezTo>
                    <a:pt x="90" y="323"/>
                    <a:pt x="45" y="279"/>
                    <a:pt x="8" y="287"/>
                  </a:cubicBezTo>
                  <a:cubicBezTo>
                    <a:pt x="8" y="287"/>
                    <a:pt x="44" y="255"/>
                    <a:pt x="125" y="267"/>
                  </a:cubicBezTo>
                  <a:cubicBezTo>
                    <a:pt x="125" y="267"/>
                    <a:pt x="82" y="216"/>
                    <a:pt x="54" y="219"/>
                  </a:cubicBezTo>
                  <a:cubicBezTo>
                    <a:pt x="54" y="219"/>
                    <a:pt x="79" y="194"/>
                    <a:pt x="147" y="208"/>
                  </a:cubicBezTo>
                  <a:cubicBezTo>
                    <a:pt x="147" y="208"/>
                    <a:pt x="125" y="170"/>
                    <a:pt x="99" y="166"/>
                  </a:cubicBezTo>
                  <a:cubicBezTo>
                    <a:pt x="99" y="166"/>
                    <a:pt x="111" y="132"/>
                    <a:pt x="188" y="150"/>
                  </a:cubicBezTo>
                  <a:cubicBezTo>
                    <a:pt x="188" y="150"/>
                    <a:pt x="176" y="103"/>
                    <a:pt x="139" y="101"/>
                  </a:cubicBezTo>
                  <a:cubicBezTo>
                    <a:pt x="139" y="101"/>
                    <a:pt x="182" y="73"/>
                    <a:pt x="235" y="97"/>
                  </a:cubicBezTo>
                  <a:cubicBezTo>
                    <a:pt x="235" y="97"/>
                    <a:pt x="222" y="48"/>
                    <a:pt x="201" y="44"/>
                  </a:cubicBezTo>
                  <a:cubicBezTo>
                    <a:pt x="201" y="44"/>
                    <a:pt x="300" y="44"/>
                    <a:pt x="333" y="79"/>
                  </a:cubicBezTo>
                  <a:cubicBezTo>
                    <a:pt x="333" y="79"/>
                    <a:pt x="319" y="34"/>
                    <a:pt x="298" y="13"/>
                  </a:cubicBezTo>
                  <a:cubicBezTo>
                    <a:pt x="298" y="13"/>
                    <a:pt x="394" y="31"/>
                    <a:pt x="397" y="69"/>
                  </a:cubicBezTo>
                  <a:cubicBezTo>
                    <a:pt x="397" y="69"/>
                    <a:pt x="409" y="41"/>
                    <a:pt x="400" y="13"/>
                  </a:cubicBezTo>
                  <a:cubicBezTo>
                    <a:pt x="400" y="13"/>
                    <a:pt x="450" y="25"/>
                    <a:pt x="456" y="60"/>
                  </a:cubicBezTo>
                  <a:cubicBezTo>
                    <a:pt x="456" y="60"/>
                    <a:pt x="475" y="8"/>
                    <a:pt x="502" y="0"/>
                  </a:cubicBezTo>
                  <a:cubicBezTo>
                    <a:pt x="502" y="0"/>
                    <a:pt x="491" y="49"/>
                    <a:pt x="500" y="69"/>
                  </a:cubicBezTo>
                  <a:cubicBezTo>
                    <a:pt x="500" y="69"/>
                    <a:pt x="544" y="42"/>
                    <a:pt x="585" y="28"/>
                  </a:cubicBezTo>
                  <a:cubicBezTo>
                    <a:pt x="585" y="28"/>
                    <a:pt x="553" y="61"/>
                    <a:pt x="553" y="88"/>
                  </a:cubicBezTo>
                  <a:cubicBezTo>
                    <a:pt x="553" y="88"/>
                    <a:pt x="594" y="47"/>
                    <a:pt x="632" y="44"/>
                  </a:cubicBezTo>
                  <a:cubicBezTo>
                    <a:pt x="632" y="44"/>
                    <a:pt x="583" y="97"/>
                    <a:pt x="615" y="111"/>
                  </a:cubicBezTo>
                  <a:cubicBezTo>
                    <a:pt x="615" y="111"/>
                    <a:pt x="656" y="83"/>
                    <a:pt x="698" y="88"/>
                  </a:cubicBezTo>
                  <a:cubicBezTo>
                    <a:pt x="698" y="88"/>
                    <a:pt x="668" y="122"/>
                    <a:pt x="681" y="140"/>
                  </a:cubicBezTo>
                  <a:cubicBezTo>
                    <a:pt x="681" y="140"/>
                    <a:pt x="719" y="122"/>
                    <a:pt x="766" y="132"/>
                  </a:cubicBezTo>
                  <a:cubicBezTo>
                    <a:pt x="766" y="132"/>
                    <a:pt x="702" y="166"/>
                    <a:pt x="721" y="187"/>
                  </a:cubicBezTo>
                  <a:cubicBezTo>
                    <a:pt x="721" y="187"/>
                    <a:pt x="770" y="175"/>
                    <a:pt x="819" y="191"/>
                  </a:cubicBezTo>
                  <a:cubicBezTo>
                    <a:pt x="819" y="191"/>
                    <a:pt x="759" y="223"/>
                    <a:pt x="768" y="242"/>
                  </a:cubicBezTo>
                  <a:cubicBezTo>
                    <a:pt x="768" y="242"/>
                    <a:pt x="800" y="246"/>
                    <a:pt x="844" y="256"/>
                  </a:cubicBezTo>
                  <a:cubicBezTo>
                    <a:pt x="844" y="256"/>
                    <a:pt x="800" y="263"/>
                    <a:pt x="785" y="286"/>
                  </a:cubicBezTo>
                  <a:cubicBezTo>
                    <a:pt x="785" y="286"/>
                    <a:pt x="813" y="286"/>
                    <a:pt x="849" y="322"/>
                  </a:cubicBezTo>
                  <a:cubicBezTo>
                    <a:pt x="849" y="322"/>
                    <a:pt x="791" y="325"/>
                    <a:pt x="786" y="359"/>
                  </a:cubicBezTo>
                  <a:cubicBezTo>
                    <a:pt x="786" y="359"/>
                    <a:pt x="830" y="356"/>
                    <a:pt x="870" y="403"/>
                  </a:cubicBezTo>
                  <a:cubicBezTo>
                    <a:pt x="870" y="403"/>
                    <a:pt x="798" y="389"/>
                    <a:pt x="793" y="424"/>
                  </a:cubicBezTo>
                  <a:cubicBezTo>
                    <a:pt x="832" y="424"/>
                    <a:pt x="844" y="462"/>
                    <a:pt x="844" y="470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sp>
        <p:nvSpPr>
          <p:cNvPr id="46" name="직사각형 14">
            <a:extLst>
              <a:ext uri="{FF2B5EF4-FFF2-40B4-BE49-F238E27FC236}">
                <a16:creationId xmlns:a16="http://schemas.microsoft.com/office/drawing/2014/main" id="{03855FCE-9E02-49C9-BFF1-E3D6DDF9821A}"/>
              </a:ext>
            </a:extLst>
          </p:cNvPr>
          <p:cNvSpPr/>
          <p:nvPr/>
        </p:nvSpPr>
        <p:spPr>
          <a:xfrm flipH="1">
            <a:off x="-1748" y="6105103"/>
            <a:ext cx="10383838" cy="1147497"/>
          </a:xfrm>
          <a:custGeom>
            <a:avLst/>
            <a:gdLst>
              <a:gd name="connsiteX0" fmla="*/ 0 w 12192000"/>
              <a:gd name="connsiteY0" fmla="*/ 0 h 1136469"/>
              <a:gd name="connsiteX1" fmla="*/ 12192000 w 12192000"/>
              <a:gd name="connsiteY1" fmla="*/ 0 h 1136469"/>
              <a:gd name="connsiteX2" fmla="*/ 12192000 w 12192000"/>
              <a:gd name="connsiteY2" fmla="*/ 1136469 h 1136469"/>
              <a:gd name="connsiteX3" fmla="*/ 0 w 12192000"/>
              <a:gd name="connsiteY3" fmla="*/ 1136469 h 1136469"/>
              <a:gd name="connsiteX4" fmla="*/ 0 w 12192000"/>
              <a:gd name="connsiteY4" fmla="*/ 0 h 1136469"/>
              <a:gd name="connsiteX0" fmla="*/ 0 w 12192000"/>
              <a:gd name="connsiteY0" fmla="*/ 200395 h 1336864"/>
              <a:gd name="connsiteX1" fmla="*/ 1488332 w 12192000"/>
              <a:gd name="connsiteY1" fmla="*/ 6 h 1336864"/>
              <a:gd name="connsiteX2" fmla="*/ 12192000 w 12192000"/>
              <a:gd name="connsiteY2" fmla="*/ 200395 h 1336864"/>
              <a:gd name="connsiteX3" fmla="*/ 12192000 w 12192000"/>
              <a:gd name="connsiteY3" fmla="*/ 1336864 h 1336864"/>
              <a:gd name="connsiteX4" fmla="*/ 0 w 12192000"/>
              <a:gd name="connsiteY4" fmla="*/ 1336864 h 1336864"/>
              <a:gd name="connsiteX5" fmla="*/ 0 w 12192000"/>
              <a:gd name="connsiteY5" fmla="*/ 200395 h 1336864"/>
              <a:gd name="connsiteX0" fmla="*/ 0 w 12192000"/>
              <a:gd name="connsiteY0" fmla="*/ 794367 h 1930836"/>
              <a:gd name="connsiteX1" fmla="*/ 1488332 w 12192000"/>
              <a:gd name="connsiteY1" fmla="*/ 593978 h 1930836"/>
              <a:gd name="connsiteX2" fmla="*/ 5184843 w 12192000"/>
              <a:gd name="connsiteY2" fmla="*/ 591 h 1930836"/>
              <a:gd name="connsiteX3" fmla="*/ 12192000 w 12192000"/>
              <a:gd name="connsiteY3" fmla="*/ 794367 h 1930836"/>
              <a:gd name="connsiteX4" fmla="*/ 12192000 w 12192000"/>
              <a:gd name="connsiteY4" fmla="*/ 1930836 h 1930836"/>
              <a:gd name="connsiteX5" fmla="*/ 0 w 12192000"/>
              <a:gd name="connsiteY5" fmla="*/ 1930836 h 1930836"/>
              <a:gd name="connsiteX6" fmla="*/ 0 w 12192000"/>
              <a:gd name="connsiteY6" fmla="*/ 794367 h 1930836"/>
              <a:gd name="connsiteX0" fmla="*/ 0 w 12192000"/>
              <a:gd name="connsiteY0" fmla="*/ 794367 h 1930836"/>
              <a:gd name="connsiteX1" fmla="*/ 1488332 w 12192000"/>
              <a:gd name="connsiteY1" fmla="*/ 593978 h 1930836"/>
              <a:gd name="connsiteX2" fmla="*/ 5184843 w 12192000"/>
              <a:gd name="connsiteY2" fmla="*/ 591 h 1930836"/>
              <a:gd name="connsiteX3" fmla="*/ 8365787 w 12192000"/>
              <a:gd name="connsiteY3" fmla="*/ 623161 h 1930836"/>
              <a:gd name="connsiteX4" fmla="*/ 12192000 w 12192000"/>
              <a:gd name="connsiteY4" fmla="*/ 794367 h 1930836"/>
              <a:gd name="connsiteX5" fmla="*/ 12192000 w 12192000"/>
              <a:gd name="connsiteY5" fmla="*/ 1930836 h 1930836"/>
              <a:gd name="connsiteX6" fmla="*/ 0 w 12192000"/>
              <a:gd name="connsiteY6" fmla="*/ 1930836 h 1930836"/>
              <a:gd name="connsiteX7" fmla="*/ 0 w 12192000"/>
              <a:gd name="connsiteY7" fmla="*/ 794367 h 1930836"/>
              <a:gd name="connsiteX0" fmla="*/ 0 w 12192000"/>
              <a:gd name="connsiteY0" fmla="*/ 794367 h 1930836"/>
              <a:gd name="connsiteX1" fmla="*/ 1488332 w 12192000"/>
              <a:gd name="connsiteY1" fmla="*/ 593978 h 1930836"/>
              <a:gd name="connsiteX2" fmla="*/ 5184843 w 12192000"/>
              <a:gd name="connsiteY2" fmla="*/ 591 h 1930836"/>
              <a:gd name="connsiteX3" fmla="*/ 8365787 w 12192000"/>
              <a:gd name="connsiteY3" fmla="*/ 623161 h 1930836"/>
              <a:gd name="connsiteX4" fmla="*/ 10758791 w 12192000"/>
              <a:gd name="connsiteY4" fmla="*/ 272965 h 1930836"/>
              <a:gd name="connsiteX5" fmla="*/ 12192000 w 12192000"/>
              <a:gd name="connsiteY5" fmla="*/ 794367 h 1930836"/>
              <a:gd name="connsiteX6" fmla="*/ 12192000 w 12192000"/>
              <a:gd name="connsiteY6" fmla="*/ 1930836 h 1930836"/>
              <a:gd name="connsiteX7" fmla="*/ 0 w 12192000"/>
              <a:gd name="connsiteY7" fmla="*/ 1930836 h 1930836"/>
              <a:gd name="connsiteX8" fmla="*/ 0 w 12192000"/>
              <a:gd name="connsiteY8" fmla="*/ 794367 h 1930836"/>
              <a:gd name="connsiteX0" fmla="*/ 0 w 12192000"/>
              <a:gd name="connsiteY0" fmla="*/ 794284 h 1930753"/>
              <a:gd name="connsiteX1" fmla="*/ 1527243 w 12192000"/>
              <a:gd name="connsiteY1" fmla="*/ 700899 h 1930753"/>
              <a:gd name="connsiteX2" fmla="*/ 5184843 w 12192000"/>
              <a:gd name="connsiteY2" fmla="*/ 508 h 1930753"/>
              <a:gd name="connsiteX3" fmla="*/ 8365787 w 12192000"/>
              <a:gd name="connsiteY3" fmla="*/ 623078 h 1930753"/>
              <a:gd name="connsiteX4" fmla="*/ 10758791 w 12192000"/>
              <a:gd name="connsiteY4" fmla="*/ 272882 h 1930753"/>
              <a:gd name="connsiteX5" fmla="*/ 12192000 w 12192000"/>
              <a:gd name="connsiteY5" fmla="*/ 794284 h 1930753"/>
              <a:gd name="connsiteX6" fmla="*/ 12192000 w 12192000"/>
              <a:gd name="connsiteY6" fmla="*/ 1930753 h 1930753"/>
              <a:gd name="connsiteX7" fmla="*/ 0 w 12192000"/>
              <a:gd name="connsiteY7" fmla="*/ 1930753 h 1930753"/>
              <a:gd name="connsiteX8" fmla="*/ 0 w 12192000"/>
              <a:gd name="connsiteY8" fmla="*/ 794284 h 1930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1930753">
                <a:moveTo>
                  <a:pt x="0" y="794284"/>
                </a:moveTo>
                <a:cubicBezTo>
                  <a:pt x="418289" y="795581"/>
                  <a:pt x="1108954" y="699602"/>
                  <a:pt x="1527243" y="700899"/>
                </a:cubicBezTo>
                <a:cubicBezTo>
                  <a:pt x="2778869" y="723597"/>
                  <a:pt x="3933217" y="-22190"/>
                  <a:pt x="5184843" y="508"/>
                </a:cubicBezTo>
                <a:cubicBezTo>
                  <a:pt x="6222460" y="117240"/>
                  <a:pt x="7328170" y="506346"/>
                  <a:pt x="8365787" y="623078"/>
                </a:cubicBezTo>
                <a:cubicBezTo>
                  <a:pt x="9247762" y="668474"/>
                  <a:pt x="9876816" y="227486"/>
                  <a:pt x="10758791" y="272882"/>
                </a:cubicBezTo>
                <a:lnTo>
                  <a:pt x="12192000" y="794284"/>
                </a:lnTo>
                <a:lnTo>
                  <a:pt x="12192000" y="1930753"/>
                </a:lnTo>
                <a:lnTo>
                  <a:pt x="0" y="1930753"/>
                </a:lnTo>
                <a:lnTo>
                  <a:pt x="0" y="794284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8775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727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15" name="그룹 14"/>
          <p:cNvGrpSpPr/>
          <p:nvPr userDrawn="1"/>
        </p:nvGrpSpPr>
        <p:grpSpPr>
          <a:xfrm>
            <a:off x="402558" y="90347"/>
            <a:ext cx="3584445" cy="2912340"/>
            <a:chOff x="1836497" y="718754"/>
            <a:chExt cx="6917955" cy="5349463"/>
          </a:xfrm>
        </p:grpSpPr>
        <p:pic>
          <p:nvPicPr>
            <p:cNvPr id="16" name="Picture 10"/>
            <p:cNvPicPr>
              <a:picLocks noChangeAspect="1"/>
            </p:cNvPicPr>
            <p:nvPr userDrawn="1"/>
          </p:nvPicPr>
          <p:blipFill>
            <a:blip r:embed="rId2" cstate="screen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345906">
              <a:off x="6030057" y="718754"/>
              <a:ext cx="904791" cy="1016382"/>
            </a:xfrm>
            <a:prstGeom prst="rect">
              <a:avLst/>
            </a:prstGeom>
          </p:spPr>
        </p:pic>
        <p:grpSp>
          <p:nvGrpSpPr>
            <p:cNvPr id="17" name="그룹 16"/>
            <p:cNvGrpSpPr/>
            <p:nvPr userDrawn="1"/>
          </p:nvGrpSpPr>
          <p:grpSpPr>
            <a:xfrm>
              <a:off x="1836497" y="1008451"/>
              <a:ext cx="6917955" cy="5059766"/>
              <a:chOff x="1836497" y="1008451"/>
              <a:chExt cx="6917955" cy="5059766"/>
            </a:xfrm>
          </p:grpSpPr>
          <p:sp>
            <p:nvSpPr>
              <p:cNvPr id="18" name="Oval 1"/>
              <p:cNvSpPr/>
              <p:nvPr userDrawn="1"/>
            </p:nvSpPr>
            <p:spPr>
              <a:xfrm>
                <a:off x="2650440" y="1096774"/>
                <a:ext cx="5380074" cy="4971443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87752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27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19" name="Picture 7"/>
              <p:cNvPicPr>
                <a:picLocks noChangeAspect="1"/>
              </p:cNvPicPr>
              <p:nvPr userDrawn="1"/>
            </p:nvPicPr>
            <p:blipFill>
              <a:blip r:embed="rId3" cstate="screen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632787" y="1256262"/>
                <a:ext cx="1610659" cy="1809307"/>
              </a:xfrm>
              <a:prstGeom prst="rect">
                <a:avLst/>
              </a:prstGeom>
            </p:spPr>
          </p:pic>
          <p:pic>
            <p:nvPicPr>
              <p:cNvPr id="20" name="Picture 8"/>
              <p:cNvPicPr>
                <a:picLocks noChangeAspect="1"/>
              </p:cNvPicPr>
              <p:nvPr userDrawn="1"/>
            </p:nvPicPr>
            <p:blipFill>
              <a:blip r:embed="rId4" cstate="screen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065933" y="2962534"/>
                <a:ext cx="1252880" cy="1407400"/>
              </a:xfrm>
              <a:prstGeom prst="rect">
                <a:avLst/>
              </a:prstGeom>
            </p:spPr>
          </p:pic>
          <p:pic>
            <p:nvPicPr>
              <p:cNvPr id="21" name="Picture 9"/>
              <p:cNvPicPr>
                <a:picLocks noChangeAspect="1"/>
              </p:cNvPicPr>
              <p:nvPr userDrawn="1"/>
            </p:nvPicPr>
            <p:blipFill>
              <a:blip r:embed="rId2" cstate="screen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1345906">
                <a:off x="2012161" y="2003484"/>
                <a:ext cx="904791" cy="1016382"/>
              </a:xfrm>
              <a:prstGeom prst="rect">
                <a:avLst/>
              </a:prstGeom>
            </p:spPr>
          </p:pic>
          <p:pic>
            <p:nvPicPr>
              <p:cNvPr id="22" name="Picture 26"/>
              <p:cNvPicPr>
                <a:picLocks noChangeAspect="1"/>
              </p:cNvPicPr>
              <p:nvPr userDrawn="1"/>
            </p:nvPicPr>
            <p:blipFill>
              <a:blip r:embed="rId5" cstate="screen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863372" y="1256262"/>
                <a:ext cx="1297615" cy="1457654"/>
              </a:xfrm>
              <a:prstGeom prst="rect">
                <a:avLst/>
              </a:prstGeom>
            </p:spPr>
          </p:pic>
          <p:pic>
            <p:nvPicPr>
              <p:cNvPr id="23" name="Picture 12"/>
              <p:cNvPicPr>
                <a:picLocks noChangeAspect="1"/>
              </p:cNvPicPr>
              <p:nvPr userDrawn="1"/>
            </p:nvPicPr>
            <p:blipFill>
              <a:blip r:embed="rId6" cstate="screen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20061987">
                <a:off x="8148025" y="2446186"/>
                <a:ext cx="606427" cy="681220"/>
              </a:xfrm>
              <a:prstGeom prst="rect">
                <a:avLst/>
              </a:prstGeom>
            </p:spPr>
          </p:pic>
          <p:pic>
            <p:nvPicPr>
              <p:cNvPr id="24" name="Picture 14"/>
              <p:cNvPicPr>
                <a:picLocks noChangeAspect="1"/>
              </p:cNvPicPr>
              <p:nvPr userDrawn="1"/>
            </p:nvPicPr>
            <p:blipFill>
              <a:blip r:embed="rId7" cstate="screen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20061987">
                <a:off x="1836497" y="1008451"/>
                <a:ext cx="517665" cy="581511"/>
              </a:xfrm>
              <a:prstGeom prst="rect">
                <a:avLst/>
              </a:prstGeom>
            </p:spPr>
          </p:pic>
          <p:pic>
            <p:nvPicPr>
              <p:cNvPr id="25" name="Picture 15"/>
              <p:cNvPicPr>
                <a:picLocks noChangeAspect="1"/>
              </p:cNvPicPr>
              <p:nvPr userDrawn="1"/>
            </p:nvPicPr>
            <p:blipFill>
              <a:blip r:embed="rId8" cstate="screen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20061987">
                <a:off x="4376515" y="4792131"/>
                <a:ext cx="1003670" cy="1127456"/>
              </a:xfrm>
              <a:prstGeom prst="rect">
                <a:avLst/>
              </a:prstGeom>
            </p:spPr>
          </p:pic>
          <p:pic>
            <p:nvPicPr>
              <p:cNvPr id="26" name="Picture 16"/>
              <p:cNvPicPr>
                <a:picLocks noChangeAspect="1"/>
              </p:cNvPicPr>
              <p:nvPr userDrawn="1"/>
            </p:nvPicPr>
            <p:blipFill>
              <a:blip r:embed="rId9" cstate="screen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546326" y="1433386"/>
                <a:ext cx="776127" cy="871848"/>
              </a:xfrm>
              <a:prstGeom prst="rect">
                <a:avLst/>
              </a:prstGeom>
            </p:spPr>
          </p:pic>
          <p:pic>
            <p:nvPicPr>
              <p:cNvPr id="27" name="Picture 17"/>
              <p:cNvPicPr>
                <a:picLocks noChangeAspect="1"/>
              </p:cNvPicPr>
              <p:nvPr userDrawn="1"/>
            </p:nvPicPr>
            <p:blipFill>
              <a:blip r:embed="rId10" cstate="screen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169252" y="4157841"/>
                <a:ext cx="1243348" cy="1396692"/>
              </a:xfrm>
              <a:prstGeom prst="rect">
                <a:avLst/>
              </a:prstGeom>
            </p:spPr>
          </p:pic>
        </p:grpSp>
      </p:grpSp>
      <p:sp>
        <p:nvSpPr>
          <p:cNvPr id="10" name="TextBox 9"/>
          <p:cNvSpPr txBox="1"/>
          <p:nvPr userDrawn="1"/>
        </p:nvSpPr>
        <p:spPr>
          <a:xfrm>
            <a:off x="88153" y="6985351"/>
            <a:ext cx="6777856" cy="2400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5471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※ </a:t>
            </a:r>
            <a:r>
              <a:rPr kumimoji="0" lang="ko-KR" altLang="en-US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본 자료는 컨설턴트 교육용으로 </a:t>
            </a:r>
            <a:r>
              <a:rPr kumimoji="0" lang="ko-KR" altLang="en-US" sz="960" b="1" i="0" u="none" strike="noStrike" kern="1200" cap="none" spc="0" normalizeH="0" baseline="0" noProof="0" dirty="0" err="1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환급금</a:t>
            </a:r>
            <a:r>
              <a:rPr kumimoji="0" lang="ko-KR" altLang="en-US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 및 보험금 지급의 근거가 될 수 없으며 고객안내자료로 활용할 수 없습니다</a:t>
            </a:r>
            <a:r>
              <a:rPr kumimoji="0" lang="en-US" altLang="ko-KR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.</a:t>
            </a:r>
            <a:endParaRPr kumimoji="0" lang="ko-KR" altLang="en-US" sz="960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교보서체 Bold" panose="020B0600000101010101" pitchFamily="50" charset="-127"/>
              <a:ea typeface="교보서체 Bold" panose="020B0600000101010101" pitchFamily="50" charset="-127"/>
              <a:cs typeface="+mn-cs"/>
            </a:endParaRPr>
          </a:p>
        </p:txBody>
      </p:sp>
      <p:sp>
        <p:nvSpPr>
          <p:cNvPr id="93" name="슬라이드 번호 개체 틀 2"/>
          <p:cNvSpPr txBox="1">
            <a:spLocks/>
          </p:cNvSpPr>
          <p:nvPr userDrawn="1"/>
        </p:nvSpPr>
        <p:spPr>
          <a:xfrm>
            <a:off x="9691481" y="6967999"/>
            <a:ext cx="631527" cy="322319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91202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0" lang="en-US" altLang="ko-KR" sz="1200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912025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  <p:sp>
        <p:nvSpPr>
          <p:cNvPr id="94" name="직사각형 93"/>
          <p:cNvSpPr/>
          <p:nvPr userDrawn="1"/>
        </p:nvSpPr>
        <p:spPr>
          <a:xfrm>
            <a:off x="8936335" y="243061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4966124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2"/>
          <p:cNvSpPr txBox="1">
            <a:spLocks/>
          </p:cNvSpPr>
          <p:nvPr userDrawn="1"/>
        </p:nvSpPr>
        <p:spPr>
          <a:xfrm>
            <a:off x="9691481" y="6967999"/>
            <a:ext cx="631527" cy="322319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91202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0" lang="en-US" altLang="ko-KR" sz="1200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912025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  <p:sp>
        <p:nvSpPr>
          <p:cNvPr id="5" name="직사각형 4"/>
          <p:cNvSpPr/>
          <p:nvPr userDrawn="1"/>
        </p:nvSpPr>
        <p:spPr>
          <a:xfrm>
            <a:off x="8936335" y="243061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3044682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4" y="2"/>
            <a:ext cx="10387751" cy="7257341"/>
          </a:xfrm>
          <a:prstGeom prst="rect">
            <a:avLst/>
          </a:prstGeom>
        </p:spPr>
      </p:pic>
      <p:sp>
        <p:nvSpPr>
          <p:cNvPr id="6" name="슬라이드 번호 개체 틀 2"/>
          <p:cNvSpPr txBox="1">
            <a:spLocks/>
          </p:cNvSpPr>
          <p:nvPr userDrawn="1"/>
        </p:nvSpPr>
        <p:spPr>
          <a:xfrm>
            <a:off x="9691481" y="6967999"/>
            <a:ext cx="631527" cy="322319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91202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0" lang="en-US" altLang="ko-KR" sz="1200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912025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  <p:sp>
        <p:nvSpPr>
          <p:cNvPr id="4" name="직사각형 3"/>
          <p:cNvSpPr/>
          <p:nvPr userDrawn="1"/>
        </p:nvSpPr>
        <p:spPr>
          <a:xfrm>
            <a:off x="8936335" y="243061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085554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68" y="483556"/>
            <a:ext cx="10387752" cy="7257341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209344" y="6780849"/>
            <a:ext cx="4717823" cy="2234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7873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5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※ </a:t>
            </a:r>
            <a:r>
              <a:rPr kumimoji="0" lang="ko-KR" altLang="en-US" sz="85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본 교육자료는 컨설턴트 교육용으로 고객안내자료로 활용할 수 없습니다</a:t>
            </a:r>
            <a:r>
              <a:rPr kumimoji="0" lang="en-US" altLang="ko-KR" sz="85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852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9604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1" y="3"/>
            <a:ext cx="10387751" cy="7257339"/>
          </a:xfrm>
          <a:prstGeom prst="rect">
            <a:avLst/>
          </a:prstGeom>
        </p:spPr>
      </p:pic>
      <p:sp>
        <p:nvSpPr>
          <p:cNvPr id="17" name="슬라이드 번호 개체 틀 2"/>
          <p:cNvSpPr txBox="1">
            <a:spLocks/>
          </p:cNvSpPr>
          <p:nvPr userDrawn="1"/>
        </p:nvSpPr>
        <p:spPr>
          <a:xfrm>
            <a:off x="9691481" y="6967999"/>
            <a:ext cx="631527" cy="322319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91202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0" lang="en-US" altLang="ko-KR" sz="1200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912025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  <p:sp>
        <p:nvSpPr>
          <p:cNvPr id="18" name="직사각형 17"/>
          <p:cNvSpPr/>
          <p:nvPr userDrawn="1"/>
        </p:nvSpPr>
        <p:spPr>
          <a:xfrm>
            <a:off x="8936335" y="243061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5843007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직사각형 14">
            <a:extLst>
              <a:ext uri="{FF2B5EF4-FFF2-40B4-BE49-F238E27FC236}">
                <a16:creationId xmlns:a16="http://schemas.microsoft.com/office/drawing/2014/main" id="{E67D0374-5C8F-4494-AC2E-787C5D1907CF}"/>
              </a:ext>
            </a:extLst>
          </p:cNvPr>
          <p:cNvSpPr/>
          <p:nvPr/>
        </p:nvSpPr>
        <p:spPr>
          <a:xfrm flipH="1">
            <a:off x="-1748" y="3427702"/>
            <a:ext cx="10383838" cy="3824894"/>
          </a:xfrm>
          <a:custGeom>
            <a:avLst/>
            <a:gdLst>
              <a:gd name="connsiteX0" fmla="*/ 0 w 12192000"/>
              <a:gd name="connsiteY0" fmla="*/ 0 h 1136469"/>
              <a:gd name="connsiteX1" fmla="*/ 12192000 w 12192000"/>
              <a:gd name="connsiteY1" fmla="*/ 0 h 1136469"/>
              <a:gd name="connsiteX2" fmla="*/ 12192000 w 12192000"/>
              <a:gd name="connsiteY2" fmla="*/ 1136469 h 1136469"/>
              <a:gd name="connsiteX3" fmla="*/ 0 w 12192000"/>
              <a:gd name="connsiteY3" fmla="*/ 1136469 h 1136469"/>
              <a:gd name="connsiteX4" fmla="*/ 0 w 12192000"/>
              <a:gd name="connsiteY4" fmla="*/ 0 h 1136469"/>
              <a:gd name="connsiteX0" fmla="*/ 0 w 12192000"/>
              <a:gd name="connsiteY0" fmla="*/ 200395 h 1336864"/>
              <a:gd name="connsiteX1" fmla="*/ 1488332 w 12192000"/>
              <a:gd name="connsiteY1" fmla="*/ 6 h 1336864"/>
              <a:gd name="connsiteX2" fmla="*/ 12192000 w 12192000"/>
              <a:gd name="connsiteY2" fmla="*/ 200395 h 1336864"/>
              <a:gd name="connsiteX3" fmla="*/ 12192000 w 12192000"/>
              <a:gd name="connsiteY3" fmla="*/ 1336864 h 1336864"/>
              <a:gd name="connsiteX4" fmla="*/ 0 w 12192000"/>
              <a:gd name="connsiteY4" fmla="*/ 1336864 h 1336864"/>
              <a:gd name="connsiteX5" fmla="*/ 0 w 12192000"/>
              <a:gd name="connsiteY5" fmla="*/ 200395 h 1336864"/>
              <a:gd name="connsiteX0" fmla="*/ 0 w 12192000"/>
              <a:gd name="connsiteY0" fmla="*/ 794367 h 1930836"/>
              <a:gd name="connsiteX1" fmla="*/ 1488332 w 12192000"/>
              <a:gd name="connsiteY1" fmla="*/ 593978 h 1930836"/>
              <a:gd name="connsiteX2" fmla="*/ 5184843 w 12192000"/>
              <a:gd name="connsiteY2" fmla="*/ 591 h 1930836"/>
              <a:gd name="connsiteX3" fmla="*/ 12192000 w 12192000"/>
              <a:gd name="connsiteY3" fmla="*/ 794367 h 1930836"/>
              <a:gd name="connsiteX4" fmla="*/ 12192000 w 12192000"/>
              <a:gd name="connsiteY4" fmla="*/ 1930836 h 1930836"/>
              <a:gd name="connsiteX5" fmla="*/ 0 w 12192000"/>
              <a:gd name="connsiteY5" fmla="*/ 1930836 h 1930836"/>
              <a:gd name="connsiteX6" fmla="*/ 0 w 12192000"/>
              <a:gd name="connsiteY6" fmla="*/ 794367 h 1930836"/>
              <a:gd name="connsiteX0" fmla="*/ 0 w 12192000"/>
              <a:gd name="connsiteY0" fmla="*/ 794367 h 1930836"/>
              <a:gd name="connsiteX1" fmla="*/ 1488332 w 12192000"/>
              <a:gd name="connsiteY1" fmla="*/ 593978 h 1930836"/>
              <a:gd name="connsiteX2" fmla="*/ 5184843 w 12192000"/>
              <a:gd name="connsiteY2" fmla="*/ 591 h 1930836"/>
              <a:gd name="connsiteX3" fmla="*/ 8365787 w 12192000"/>
              <a:gd name="connsiteY3" fmla="*/ 623161 h 1930836"/>
              <a:gd name="connsiteX4" fmla="*/ 12192000 w 12192000"/>
              <a:gd name="connsiteY4" fmla="*/ 794367 h 1930836"/>
              <a:gd name="connsiteX5" fmla="*/ 12192000 w 12192000"/>
              <a:gd name="connsiteY5" fmla="*/ 1930836 h 1930836"/>
              <a:gd name="connsiteX6" fmla="*/ 0 w 12192000"/>
              <a:gd name="connsiteY6" fmla="*/ 1930836 h 1930836"/>
              <a:gd name="connsiteX7" fmla="*/ 0 w 12192000"/>
              <a:gd name="connsiteY7" fmla="*/ 794367 h 1930836"/>
              <a:gd name="connsiteX0" fmla="*/ 0 w 12192000"/>
              <a:gd name="connsiteY0" fmla="*/ 794367 h 1930836"/>
              <a:gd name="connsiteX1" fmla="*/ 1488332 w 12192000"/>
              <a:gd name="connsiteY1" fmla="*/ 593978 h 1930836"/>
              <a:gd name="connsiteX2" fmla="*/ 5184843 w 12192000"/>
              <a:gd name="connsiteY2" fmla="*/ 591 h 1930836"/>
              <a:gd name="connsiteX3" fmla="*/ 8365787 w 12192000"/>
              <a:gd name="connsiteY3" fmla="*/ 623161 h 1930836"/>
              <a:gd name="connsiteX4" fmla="*/ 10758791 w 12192000"/>
              <a:gd name="connsiteY4" fmla="*/ 272965 h 1930836"/>
              <a:gd name="connsiteX5" fmla="*/ 12192000 w 12192000"/>
              <a:gd name="connsiteY5" fmla="*/ 794367 h 1930836"/>
              <a:gd name="connsiteX6" fmla="*/ 12192000 w 12192000"/>
              <a:gd name="connsiteY6" fmla="*/ 1930836 h 1930836"/>
              <a:gd name="connsiteX7" fmla="*/ 0 w 12192000"/>
              <a:gd name="connsiteY7" fmla="*/ 1930836 h 1930836"/>
              <a:gd name="connsiteX8" fmla="*/ 0 w 12192000"/>
              <a:gd name="connsiteY8" fmla="*/ 794367 h 1930836"/>
              <a:gd name="connsiteX0" fmla="*/ 0 w 12192000"/>
              <a:gd name="connsiteY0" fmla="*/ 794284 h 1930753"/>
              <a:gd name="connsiteX1" fmla="*/ 1527243 w 12192000"/>
              <a:gd name="connsiteY1" fmla="*/ 700899 h 1930753"/>
              <a:gd name="connsiteX2" fmla="*/ 5184843 w 12192000"/>
              <a:gd name="connsiteY2" fmla="*/ 508 h 1930753"/>
              <a:gd name="connsiteX3" fmla="*/ 8365787 w 12192000"/>
              <a:gd name="connsiteY3" fmla="*/ 623078 h 1930753"/>
              <a:gd name="connsiteX4" fmla="*/ 10758791 w 12192000"/>
              <a:gd name="connsiteY4" fmla="*/ 272882 h 1930753"/>
              <a:gd name="connsiteX5" fmla="*/ 12192000 w 12192000"/>
              <a:gd name="connsiteY5" fmla="*/ 794284 h 1930753"/>
              <a:gd name="connsiteX6" fmla="*/ 12192000 w 12192000"/>
              <a:gd name="connsiteY6" fmla="*/ 1930753 h 1930753"/>
              <a:gd name="connsiteX7" fmla="*/ 0 w 12192000"/>
              <a:gd name="connsiteY7" fmla="*/ 1930753 h 1930753"/>
              <a:gd name="connsiteX8" fmla="*/ 0 w 12192000"/>
              <a:gd name="connsiteY8" fmla="*/ 794284 h 1930753"/>
              <a:gd name="connsiteX0" fmla="*/ 0 w 12192000"/>
              <a:gd name="connsiteY0" fmla="*/ 794475 h 1930944"/>
              <a:gd name="connsiteX1" fmla="*/ 1478605 w 12192000"/>
              <a:gd name="connsiteY1" fmla="*/ 492831 h 1930944"/>
              <a:gd name="connsiteX2" fmla="*/ 5184843 w 12192000"/>
              <a:gd name="connsiteY2" fmla="*/ 699 h 1930944"/>
              <a:gd name="connsiteX3" fmla="*/ 8365787 w 12192000"/>
              <a:gd name="connsiteY3" fmla="*/ 623269 h 1930944"/>
              <a:gd name="connsiteX4" fmla="*/ 10758791 w 12192000"/>
              <a:gd name="connsiteY4" fmla="*/ 273073 h 1930944"/>
              <a:gd name="connsiteX5" fmla="*/ 12192000 w 12192000"/>
              <a:gd name="connsiteY5" fmla="*/ 794475 h 1930944"/>
              <a:gd name="connsiteX6" fmla="*/ 12192000 w 12192000"/>
              <a:gd name="connsiteY6" fmla="*/ 1930944 h 1930944"/>
              <a:gd name="connsiteX7" fmla="*/ 0 w 12192000"/>
              <a:gd name="connsiteY7" fmla="*/ 1930944 h 1930944"/>
              <a:gd name="connsiteX8" fmla="*/ 0 w 12192000"/>
              <a:gd name="connsiteY8" fmla="*/ 794475 h 1930944"/>
              <a:gd name="connsiteX0" fmla="*/ 0 w 12192000"/>
              <a:gd name="connsiteY0" fmla="*/ 816962 h 1953431"/>
              <a:gd name="connsiteX1" fmla="*/ 1478605 w 12192000"/>
              <a:gd name="connsiteY1" fmla="*/ 515318 h 1953431"/>
              <a:gd name="connsiteX2" fmla="*/ 3871609 w 12192000"/>
              <a:gd name="connsiteY2" fmla="*/ 671 h 1953431"/>
              <a:gd name="connsiteX3" fmla="*/ 8365787 w 12192000"/>
              <a:gd name="connsiteY3" fmla="*/ 645756 h 1953431"/>
              <a:gd name="connsiteX4" fmla="*/ 10758791 w 12192000"/>
              <a:gd name="connsiteY4" fmla="*/ 295560 h 1953431"/>
              <a:gd name="connsiteX5" fmla="*/ 12192000 w 12192000"/>
              <a:gd name="connsiteY5" fmla="*/ 816962 h 1953431"/>
              <a:gd name="connsiteX6" fmla="*/ 12192000 w 12192000"/>
              <a:gd name="connsiteY6" fmla="*/ 1953431 h 1953431"/>
              <a:gd name="connsiteX7" fmla="*/ 0 w 12192000"/>
              <a:gd name="connsiteY7" fmla="*/ 1953431 h 1953431"/>
              <a:gd name="connsiteX8" fmla="*/ 0 w 12192000"/>
              <a:gd name="connsiteY8" fmla="*/ 816962 h 1953431"/>
              <a:gd name="connsiteX0" fmla="*/ 0 w 12192000"/>
              <a:gd name="connsiteY0" fmla="*/ 816962 h 1953431"/>
              <a:gd name="connsiteX1" fmla="*/ 1478605 w 12192000"/>
              <a:gd name="connsiteY1" fmla="*/ 515318 h 1953431"/>
              <a:gd name="connsiteX2" fmla="*/ 3871609 w 12192000"/>
              <a:gd name="connsiteY2" fmla="*/ 671 h 1953431"/>
              <a:gd name="connsiteX3" fmla="*/ 8365787 w 12192000"/>
              <a:gd name="connsiteY3" fmla="*/ 645756 h 1953431"/>
              <a:gd name="connsiteX4" fmla="*/ 10758791 w 12192000"/>
              <a:gd name="connsiteY4" fmla="*/ 295560 h 1953431"/>
              <a:gd name="connsiteX5" fmla="*/ 12192000 w 12192000"/>
              <a:gd name="connsiteY5" fmla="*/ 816962 h 1953431"/>
              <a:gd name="connsiteX6" fmla="*/ 12192000 w 12192000"/>
              <a:gd name="connsiteY6" fmla="*/ 1953431 h 1953431"/>
              <a:gd name="connsiteX7" fmla="*/ 0 w 12192000"/>
              <a:gd name="connsiteY7" fmla="*/ 1953431 h 1953431"/>
              <a:gd name="connsiteX8" fmla="*/ 0 w 12192000"/>
              <a:gd name="connsiteY8" fmla="*/ 816962 h 1953431"/>
              <a:gd name="connsiteX0" fmla="*/ 0 w 12192000"/>
              <a:gd name="connsiteY0" fmla="*/ 816962 h 1953431"/>
              <a:gd name="connsiteX1" fmla="*/ 1478605 w 12192000"/>
              <a:gd name="connsiteY1" fmla="*/ 515318 h 1953431"/>
              <a:gd name="connsiteX2" fmla="*/ 3871609 w 12192000"/>
              <a:gd name="connsiteY2" fmla="*/ 671 h 1953431"/>
              <a:gd name="connsiteX3" fmla="*/ 6770451 w 12192000"/>
              <a:gd name="connsiteY3" fmla="*/ 702042 h 1953431"/>
              <a:gd name="connsiteX4" fmla="*/ 10758791 w 12192000"/>
              <a:gd name="connsiteY4" fmla="*/ 295560 h 1953431"/>
              <a:gd name="connsiteX5" fmla="*/ 12192000 w 12192000"/>
              <a:gd name="connsiteY5" fmla="*/ 816962 h 1953431"/>
              <a:gd name="connsiteX6" fmla="*/ 12192000 w 12192000"/>
              <a:gd name="connsiteY6" fmla="*/ 1953431 h 1953431"/>
              <a:gd name="connsiteX7" fmla="*/ 0 w 12192000"/>
              <a:gd name="connsiteY7" fmla="*/ 1953431 h 1953431"/>
              <a:gd name="connsiteX8" fmla="*/ 0 w 12192000"/>
              <a:gd name="connsiteY8" fmla="*/ 816962 h 1953431"/>
              <a:gd name="connsiteX0" fmla="*/ 0 w 12192000"/>
              <a:gd name="connsiteY0" fmla="*/ 816962 h 1953431"/>
              <a:gd name="connsiteX1" fmla="*/ 1478605 w 12192000"/>
              <a:gd name="connsiteY1" fmla="*/ 515318 h 1953431"/>
              <a:gd name="connsiteX2" fmla="*/ 3871609 w 12192000"/>
              <a:gd name="connsiteY2" fmla="*/ 671 h 1953431"/>
              <a:gd name="connsiteX3" fmla="*/ 6770451 w 12192000"/>
              <a:gd name="connsiteY3" fmla="*/ 702042 h 1953431"/>
              <a:gd name="connsiteX4" fmla="*/ 10204315 w 12192000"/>
              <a:gd name="connsiteY4" fmla="*/ 1083565 h 1953431"/>
              <a:gd name="connsiteX5" fmla="*/ 12192000 w 12192000"/>
              <a:gd name="connsiteY5" fmla="*/ 816962 h 1953431"/>
              <a:gd name="connsiteX6" fmla="*/ 12192000 w 12192000"/>
              <a:gd name="connsiteY6" fmla="*/ 1953431 h 1953431"/>
              <a:gd name="connsiteX7" fmla="*/ 0 w 12192000"/>
              <a:gd name="connsiteY7" fmla="*/ 1953431 h 1953431"/>
              <a:gd name="connsiteX8" fmla="*/ 0 w 12192000"/>
              <a:gd name="connsiteY8" fmla="*/ 816962 h 1953431"/>
              <a:gd name="connsiteX0" fmla="*/ 0 w 12192000"/>
              <a:gd name="connsiteY0" fmla="*/ 816962 h 1953431"/>
              <a:gd name="connsiteX1" fmla="*/ 1478605 w 12192000"/>
              <a:gd name="connsiteY1" fmla="*/ 515318 h 1953431"/>
              <a:gd name="connsiteX2" fmla="*/ 3871609 w 12192000"/>
              <a:gd name="connsiteY2" fmla="*/ 671 h 1953431"/>
              <a:gd name="connsiteX3" fmla="*/ 6770451 w 12192000"/>
              <a:gd name="connsiteY3" fmla="*/ 702042 h 1953431"/>
              <a:gd name="connsiteX4" fmla="*/ 10204315 w 12192000"/>
              <a:gd name="connsiteY4" fmla="*/ 1083565 h 1953431"/>
              <a:gd name="connsiteX5" fmla="*/ 12182273 w 12192000"/>
              <a:gd name="connsiteY5" fmla="*/ 1503652 h 1953431"/>
              <a:gd name="connsiteX6" fmla="*/ 12192000 w 12192000"/>
              <a:gd name="connsiteY6" fmla="*/ 1953431 h 1953431"/>
              <a:gd name="connsiteX7" fmla="*/ 0 w 12192000"/>
              <a:gd name="connsiteY7" fmla="*/ 1953431 h 1953431"/>
              <a:gd name="connsiteX8" fmla="*/ 0 w 12192000"/>
              <a:gd name="connsiteY8" fmla="*/ 816962 h 1953431"/>
              <a:gd name="connsiteX0" fmla="*/ 0 w 12192000"/>
              <a:gd name="connsiteY0" fmla="*/ 1098010 h 2234479"/>
              <a:gd name="connsiteX1" fmla="*/ 1478605 w 12192000"/>
              <a:gd name="connsiteY1" fmla="*/ 796366 h 2234479"/>
              <a:gd name="connsiteX2" fmla="*/ 3547759 w 12192000"/>
              <a:gd name="connsiteY2" fmla="*/ 592 h 2234479"/>
              <a:gd name="connsiteX3" fmla="*/ 6770451 w 12192000"/>
              <a:gd name="connsiteY3" fmla="*/ 983090 h 2234479"/>
              <a:gd name="connsiteX4" fmla="*/ 10204315 w 12192000"/>
              <a:gd name="connsiteY4" fmla="*/ 1364613 h 2234479"/>
              <a:gd name="connsiteX5" fmla="*/ 12182273 w 12192000"/>
              <a:gd name="connsiteY5" fmla="*/ 1784700 h 2234479"/>
              <a:gd name="connsiteX6" fmla="*/ 12192000 w 12192000"/>
              <a:gd name="connsiteY6" fmla="*/ 2234479 h 2234479"/>
              <a:gd name="connsiteX7" fmla="*/ 0 w 12192000"/>
              <a:gd name="connsiteY7" fmla="*/ 2234479 h 2234479"/>
              <a:gd name="connsiteX8" fmla="*/ 0 w 12192000"/>
              <a:gd name="connsiteY8" fmla="*/ 1098010 h 2234479"/>
              <a:gd name="connsiteX0" fmla="*/ 0 w 12192000"/>
              <a:gd name="connsiteY0" fmla="*/ 1098019 h 2234488"/>
              <a:gd name="connsiteX1" fmla="*/ 1373830 w 12192000"/>
              <a:gd name="connsiteY1" fmla="*/ 787158 h 2234488"/>
              <a:gd name="connsiteX2" fmla="*/ 3547759 w 12192000"/>
              <a:gd name="connsiteY2" fmla="*/ 601 h 2234488"/>
              <a:gd name="connsiteX3" fmla="*/ 6770451 w 12192000"/>
              <a:gd name="connsiteY3" fmla="*/ 983099 h 2234488"/>
              <a:gd name="connsiteX4" fmla="*/ 10204315 w 12192000"/>
              <a:gd name="connsiteY4" fmla="*/ 1364622 h 2234488"/>
              <a:gd name="connsiteX5" fmla="*/ 12182273 w 12192000"/>
              <a:gd name="connsiteY5" fmla="*/ 1784709 h 2234488"/>
              <a:gd name="connsiteX6" fmla="*/ 12192000 w 12192000"/>
              <a:gd name="connsiteY6" fmla="*/ 2234488 h 2234488"/>
              <a:gd name="connsiteX7" fmla="*/ 0 w 12192000"/>
              <a:gd name="connsiteY7" fmla="*/ 2234488 h 2234488"/>
              <a:gd name="connsiteX8" fmla="*/ 0 w 12192000"/>
              <a:gd name="connsiteY8" fmla="*/ 1098019 h 2234488"/>
              <a:gd name="connsiteX0" fmla="*/ 0 w 12192000"/>
              <a:gd name="connsiteY0" fmla="*/ 1098036 h 2234505"/>
              <a:gd name="connsiteX1" fmla="*/ 1373830 w 12192000"/>
              <a:gd name="connsiteY1" fmla="*/ 787175 h 2234505"/>
              <a:gd name="connsiteX2" fmla="*/ 3547759 w 12192000"/>
              <a:gd name="connsiteY2" fmla="*/ 618 h 2234505"/>
              <a:gd name="connsiteX3" fmla="*/ 6770451 w 12192000"/>
              <a:gd name="connsiteY3" fmla="*/ 983116 h 2234505"/>
              <a:gd name="connsiteX4" fmla="*/ 10204315 w 12192000"/>
              <a:gd name="connsiteY4" fmla="*/ 1364639 h 2234505"/>
              <a:gd name="connsiteX5" fmla="*/ 12182273 w 12192000"/>
              <a:gd name="connsiteY5" fmla="*/ 1784726 h 2234505"/>
              <a:gd name="connsiteX6" fmla="*/ 12192000 w 12192000"/>
              <a:gd name="connsiteY6" fmla="*/ 2234505 h 2234505"/>
              <a:gd name="connsiteX7" fmla="*/ 0 w 12192000"/>
              <a:gd name="connsiteY7" fmla="*/ 2234505 h 2234505"/>
              <a:gd name="connsiteX8" fmla="*/ 0 w 12192000"/>
              <a:gd name="connsiteY8" fmla="*/ 1098036 h 2234505"/>
              <a:gd name="connsiteX0" fmla="*/ 0 w 12192000"/>
              <a:gd name="connsiteY0" fmla="*/ 1098036 h 2234505"/>
              <a:gd name="connsiteX1" fmla="*/ 1373830 w 12192000"/>
              <a:gd name="connsiteY1" fmla="*/ 787175 h 2234505"/>
              <a:gd name="connsiteX2" fmla="*/ 3547759 w 12192000"/>
              <a:gd name="connsiteY2" fmla="*/ 618 h 2234505"/>
              <a:gd name="connsiteX3" fmla="*/ 6770451 w 12192000"/>
              <a:gd name="connsiteY3" fmla="*/ 983116 h 2234505"/>
              <a:gd name="connsiteX4" fmla="*/ 10204315 w 12192000"/>
              <a:gd name="connsiteY4" fmla="*/ 1364639 h 2234505"/>
              <a:gd name="connsiteX5" fmla="*/ 12182273 w 12192000"/>
              <a:gd name="connsiteY5" fmla="*/ 1784726 h 2234505"/>
              <a:gd name="connsiteX6" fmla="*/ 12192000 w 12192000"/>
              <a:gd name="connsiteY6" fmla="*/ 2234505 h 2234505"/>
              <a:gd name="connsiteX7" fmla="*/ 0 w 12192000"/>
              <a:gd name="connsiteY7" fmla="*/ 2234505 h 2234505"/>
              <a:gd name="connsiteX8" fmla="*/ 0 w 12192000"/>
              <a:gd name="connsiteY8" fmla="*/ 1098036 h 2234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234505">
                <a:moveTo>
                  <a:pt x="0" y="1098036"/>
                </a:moveTo>
                <a:cubicBezTo>
                  <a:pt x="418289" y="1099333"/>
                  <a:pt x="786969" y="983835"/>
                  <a:pt x="1373830" y="787175"/>
                </a:cubicBezTo>
                <a:cubicBezTo>
                  <a:pt x="1974648" y="585838"/>
                  <a:pt x="2296133" y="-22080"/>
                  <a:pt x="3547759" y="618"/>
                </a:cubicBezTo>
                <a:cubicBezTo>
                  <a:pt x="4604831" y="55435"/>
                  <a:pt x="5542334" y="926296"/>
                  <a:pt x="6770451" y="983116"/>
                </a:cubicBezTo>
                <a:cubicBezTo>
                  <a:pt x="7652426" y="1028512"/>
                  <a:pt x="9322340" y="1319243"/>
                  <a:pt x="10204315" y="1364639"/>
                </a:cubicBezTo>
                <a:lnTo>
                  <a:pt x="12182273" y="1784726"/>
                </a:lnTo>
                <a:lnTo>
                  <a:pt x="12192000" y="2234505"/>
                </a:lnTo>
                <a:lnTo>
                  <a:pt x="0" y="2234505"/>
                </a:lnTo>
                <a:lnTo>
                  <a:pt x="0" y="1098036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8775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727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0" name="직사각형 14">
            <a:extLst>
              <a:ext uri="{FF2B5EF4-FFF2-40B4-BE49-F238E27FC236}">
                <a16:creationId xmlns:a16="http://schemas.microsoft.com/office/drawing/2014/main" id="{60E22826-EFB7-4B04-AF0C-757A816E759C}"/>
              </a:ext>
            </a:extLst>
          </p:cNvPr>
          <p:cNvSpPr/>
          <p:nvPr/>
        </p:nvSpPr>
        <p:spPr>
          <a:xfrm flipH="1">
            <a:off x="-1748" y="5144514"/>
            <a:ext cx="10383838" cy="2108084"/>
          </a:xfrm>
          <a:custGeom>
            <a:avLst/>
            <a:gdLst>
              <a:gd name="connsiteX0" fmla="*/ 0 w 12192000"/>
              <a:gd name="connsiteY0" fmla="*/ 0 h 1136469"/>
              <a:gd name="connsiteX1" fmla="*/ 12192000 w 12192000"/>
              <a:gd name="connsiteY1" fmla="*/ 0 h 1136469"/>
              <a:gd name="connsiteX2" fmla="*/ 12192000 w 12192000"/>
              <a:gd name="connsiteY2" fmla="*/ 1136469 h 1136469"/>
              <a:gd name="connsiteX3" fmla="*/ 0 w 12192000"/>
              <a:gd name="connsiteY3" fmla="*/ 1136469 h 1136469"/>
              <a:gd name="connsiteX4" fmla="*/ 0 w 12192000"/>
              <a:gd name="connsiteY4" fmla="*/ 0 h 1136469"/>
              <a:gd name="connsiteX0" fmla="*/ 0 w 12192000"/>
              <a:gd name="connsiteY0" fmla="*/ 200395 h 1336864"/>
              <a:gd name="connsiteX1" fmla="*/ 1488332 w 12192000"/>
              <a:gd name="connsiteY1" fmla="*/ 6 h 1336864"/>
              <a:gd name="connsiteX2" fmla="*/ 12192000 w 12192000"/>
              <a:gd name="connsiteY2" fmla="*/ 200395 h 1336864"/>
              <a:gd name="connsiteX3" fmla="*/ 12192000 w 12192000"/>
              <a:gd name="connsiteY3" fmla="*/ 1336864 h 1336864"/>
              <a:gd name="connsiteX4" fmla="*/ 0 w 12192000"/>
              <a:gd name="connsiteY4" fmla="*/ 1336864 h 1336864"/>
              <a:gd name="connsiteX5" fmla="*/ 0 w 12192000"/>
              <a:gd name="connsiteY5" fmla="*/ 200395 h 1336864"/>
              <a:gd name="connsiteX0" fmla="*/ 0 w 12192000"/>
              <a:gd name="connsiteY0" fmla="*/ 794367 h 1930836"/>
              <a:gd name="connsiteX1" fmla="*/ 1488332 w 12192000"/>
              <a:gd name="connsiteY1" fmla="*/ 593978 h 1930836"/>
              <a:gd name="connsiteX2" fmla="*/ 5184843 w 12192000"/>
              <a:gd name="connsiteY2" fmla="*/ 591 h 1930836"/>
              <a:gd name="connsiteX3" fmla="*/ 12192000 w 12192000"/>
              <a:gd name="connsiteY3" fmla="*/ 794367 h 1930836"/>
              <a:gd name="connsiteX4" fmla="*/ 12192000 w 12192000"/>
              <a:gd name="connsiteY4" fmla="*/ 1930836 h 1930836"/>
              <a:gd name="connsiteX5" fmla="*/ 0 w 12192000"/>
              <a:gd name="connsiteY5" fmla="*/ 1930836 h 1930836"/>
              <a:gd name="connsiteX6" fmla="*/ 0 w 12192000"/>
              <a:gd name="connsiteY6" fmla="*/ 794367 h 1930836"/>
              <a:gd name="connsiteX0" fmla="*/ 0 w 12192000"/>
              <a:gd name="connsiteY0" fmla="*/ 794367 h 1930836"/>
              <a:gd name="connsiteX1" fmla="*/ 1488332 w 12192000"/>
              <a:gd name="connsiteY1" fmla="*/ 593978 h 1930836"/>
              <a:gd name="connsiteX2" fmla="*/ 5184843 w 12192000"/>
              <a:gd name="connsiteY2" fmla="*/ 591 h 1930836"/>
              <a:gd name="connsiteX3" fmla="*/ 8365787 w 12192000"/>
              <a:gd name="connsiteY3" fmla="*/ 623161 h 1930836"/>
              <a:gd name="connsiteX4" fmla="*/ 12192000 w 12192000"/>
              <a:gd name="connsiteY4" fmla="*/ 794367 h 1930836"/>
              <a:gd name="connsiteX5" fmla="*/ 12192000 w 12192000"/>
              <a:gd name="connsiteY5" fmla="*/ 1930836 h 1930836"/>
              <a:gd name="connsiteX6" fmla="*/ 0 w 12192000"/>
              <a:gd name="connsiteY6" fmla="*/ 1930836 h 1930836"/>
              <a:gd name="connsiteX7" fmla="*/ 0 w 12192000"/>
              <a:gd name="connsiteY7" fmla="*/ 794367 h 1930836"/>
              <a:gd name="connsiteX0" fmla="*/ 0 w 12192000"/>
              <a:gd name="connsiteY0" fmla="*/ 794367 h 1930836"/>
              <a:gd name="connsiteX1" fmla="*/ 1488332 w 12192000"/>
              <a:gd name="connsiteY1" fmla="*/ 593978 h 1930836"/>
              <a:gd name="connsiteX2" fmla="*/ 5184843 w 12192000"/>
              <a:gd name="connsiteY2" fmla="*/ 591 h 1930836"/>
              <a:gd name="connsiteX3" fmla="*/ 8365787 w 12192000"/>
              <a:gd name="connsiteY3" fmla="*/ 623161 h 1930836"/>
              <a:gd name="connsiteX4" fmla="*/ 10758791 w 12192000"/>
              <a:gd name="connsiteY4" fmla="*/ 272965 h 1930836"/>
              <a:gd name="connsiteX5" fmla="*/ 12192000 w 12192000"/>
              <a:gd name="connsiteY5" fmla="*/ 794367 h 1930836"/>
              <a:gd name="connsiteX6" fmla="*/ 12192000 w 12192000"/>
              <a:gd name="connsiteY6" fmla="*/ 1930836 h 1930836"/>
              <a:gd name="connsiteX7" fmla="*/ 0 w 12192000"/>
              <a:gd name="connsiteY7" fmla="*/ 1930836 h 1930836"/>
              <a:gd name="connsiteX8" fmla="*/ 0 w 12192000"/>
              <a:gd name="connsiteY8" fmla="*/ 794367 h 1930836"/>
              <a:gd name="connsiteX0" fmla="*/ 0 w 12192000"/>
              <a:gd name="connsiteY0" fmla="*/ 794284 h 1930753"/>
              <a:gd name="connsiteX1" fmla="*/ 1527243 w 12192000"/>
              <a:gd name="connsiteY1" fmla="*/ 700899 h 1930753"/>
              <a:gd name="connsiteX2" fmla="*/ 5184843 w 12192000"/>
              <a:gd name="connsiteY2" fmla="*/ 508 h 1930753"/>
              <a:gd name="connsiteX3" fmla="*/ 8365787 w 12192000"/>
              <a:gd name="connsiteY3" fmla="*/ 623078 h 1930753"/>
              <a:gd name="connsiteX4" fmla="*/ 10758791 w 12192000"/>
              <a:gd name="connsiteY4" fmla="*/ 272882 h 1930753"/>
              <a:gd name="connsiteX5" fmla="*/ 12192000 w 12192000"/>
              <a:gd name="connsiteY5" fmla="*/ 794284 h 1930753"/>
              <a:gd name="connsiteX6" fmla="*/ 12192000 w 12192000"/>
              <a:gd name="connsiteY6" fmla="*/ 1930753 h 1930753"/>
              <a:gd name="connsiteX7" fmla="*/ 0 w 12192000"/>
              <a:gd name="connsiteY7" fmla="*/ 1930753 h 1930753"/>
              <a:gd name="connsiteX8" fmla="*/ 0 w 12192000"/>
              <a:gd name="connsiteY8" fmla="*/ 794284 h 1930753"/>
              <a:gd name="connsiteX0" fmla="*/ 0 w 12192000"/>
              <a:gd name="connsiteY0" fmla="*/ 794312 h 1930781"/>
              <a:gd name="connsiteX1" fmla="*/ 2587557 w 12192000"/>
              <a:gd name="connsiteY1" fmla="*/ 660911 h 1930781"/>
              <a:gd name="connsiteX2" fmla="*/ 5184843 w 12192000"/>
              <a:gd name="connsiteY2" fmla="*/ 536 h 1930781"/>
              <a:gd name="connsiteX3" fmla="*/ 8365787 w 12192000"/>
              <a:gd name="connsiteY3" fmla="*/ 623106 h 1930781"/>
              <a:gd name="connsiteX4" fmla="*/ 10758791 w 12192000"/>
              <a:gd name="connsiteY4" fmla="*/ 272910 h 1930781"/>
              <a:gd name="connsiteX5" fmla="*/ 12192000 w 12192000"/>
              <a:gd name="connsiteY5" fmla="*/ 794312 h 1930781"/>
              <a:gd name="connsiteX6" fmla="*/ 12192000 w 12192000"/>
              <a:gd name="connsiteY6" fmla="*/ 1930781 h 1930781"/>
              <a:gd name="connsiteX7" fmla="*/ 0 w 12192000"/>
              <a:gd name="connsiteY7" fmla="*/ 1930781 h 1930781"/>
              <a:gd name="connsiteX8" fmla="*/ 0 w 12192000"/>
              <a:gd name="connsiteY8" fmla="*/ 794312 h 1930781"/>
              <a:gd name="connsiteX0" fmla="*/ 0 w 12192000"/>
              <a:gd name="connsiteY0" fmla="*/ 866290 h 2002759"/>
              <a:gd name="connsiteX1" fmla="*/ 2587557 w 12192000"/>
              <a:gd name="connsiteY1" fmla="*/ 732889 h 2002759"/>
              <a:gd name="connsiteX2" fmla="*/ 5710136 w 12192000"/>
              <a:gd name="connsiteY2" fmla="*/ 487 h 2002759"/>
              <a:gd name="connsiteX3" fmla="*/ 8365787 w 12192000"/>
              <a:gd name="connsiteY3" fmla="*/ 695084 h 2002759"/>
              <a:gd name="connsiteX4" fmla="*/ 10758791 w 12192000"/>
              <a:gd name="connsiteY4" fmla="*/ 344888 h 2002759"/>
              <a:gd name="connsiteX5" fmla="*/ 12192000 w 12192000"/>
              <a:gd name="connsiteY5" fmla="*/ 866290 h 2002759"/>
              <a:gd name="connsiteX6" fmla="*/ 12192000 w 12192000"/>
              <a:gd name="connsiteY6" fmla="*/ 2002759 h 2002759"/>
              <a:gd name="connsiteX7" fmla="*/ 0 w 12192000"/>
              <a:gd name="connsiteY7" fmla="*/ 2002759 h 2002759"/>
              <a:gd name="connsiteX8" fmla="*/ 0 w 12192000"/>
              <a:gd name="connsiteY8" fmla="*/ 866290 h 2002759"/>
              <a:gd name="connsiteX0" fmla="*/ 0 w 12192000"/>
              <a:gd name="connsiteY0" fmla="*/ 866290 h 2002759"/>
              <a:gd name="connsiteX1" fmla="*/ 2587557 w 12192000"/>
              <a:gd name="connsiteY1" fmla="*/ 732889 h 2002759"/>
              <a:gd name="connsiteX2" fmla="*/ 5710136 w 12192000"/>
              <a:gd name="connsiteY2" fmla="*/ 487 h 2002759"/>
              <a:gd name="connsiteX3" fmla="*/ 7500025 w 12192000"/>
              <a:gd name="connsiteY3" fmla="*/ 286927 h 2002759"/>
              <a:gd name="connsiteX4" fmla="*/ 10758791 w 12192000"/>
              <a:gd name="connsiteY4" fmla="*/ 344888 h 2002759"/>
              <a:gd name="connsiteX5" fmla="*/ 12192000 w 12192000"/>
              <a:gd name="connsiteY5" fmla="*/ 866290 h 2002759"/>
              <a:gd name="connsiteX6" fmla="*/ 12192000 w 12192000"/>
              <a:gd name="connsiteY6" fmla="*/ 2002759 h 2002759"/>
              <a:gd name="connsiteX7" fmla="*/ 0 w 12192000"/>
              <a:gd name="connsiteY7" fmla="*/ 2002759 h 2002759"/>
              <a:gd name="connsiteX8" fmla="*/ 0 w 12192000"/>
              <a:gd name="connsiteY8" fmla="*/ 866290 h 2002759"/>
              <a:gd name="connsiteX0" fmla="*/ 0 w 12192000"/>
              <a:gd name="connsiteY0" fmla="*/ 1052221 h 2188690"/>
              <a:gd name="connsiteX1" fmla="*/ 2587557 w 12192000"/>
              <a:gd name="connsiteY1" fmla="*/ 918820 h 2188690"/>
              <a:gd name="connsiteX2" fmla="*/ 5710136 w 12192000"/>
              <a:gd name="connsiteY2" fmla="*/ 186418 h 2188690"/>
              <a:gd name="connsiteX3" fmla="*/ 7500025 w 12192000"/>
              <a:gd name="connsiteY3" fmla="*/ 472858 h 2188690"/>
              <a:gd name="connsiteX4" fmla="*/ 10593421 w 12192000"/>
              <a:gd name="connsiteY4" fmla="*/ 2616 h 2188690"/>
              <a:gd name="connsiteX5" fmla="*/ 12192000 w 12192000"/>
              <a:gd name="connsiteY5" fmla="*/ 1052221 h 2188690"/>
              <a:gd name="connsiteX6" fmla="*/ 12192000 w 12192000"/>
              <a:gd name="connsiteY6" fmla="*/ 2188690 h 2188690"/>
              <a:gd name="connsiteX7" fmla="*/ 0 w 12192000"/>
              <a:gd name="connsiteY7" fmla="*/ 2188690 h 2188690"/>
              <a:gd name="connsiteX8" fmla="*/ 0 w 12192000"/>
              <a:gd name="connsiteY8" fmla="*/ 1052221 h 2188690"/>
              <a:gd name="connsiteX0" fmla="*/ 0 w 12192000"/>
              <a:gd name="connsiteY0" fmla="*/ 1052221 h 2188690"/>
              <a:gd name="connsiteX1" fmla="*/ 2587557 w 12192000"/>
              <a:gd name="connsiteY1" fmla="*/ 918820 h 2188690"/>
              <a:gd name="connsiteX2" fmla="*/ 5710136 w 12192000"/>
              <a:gd name="connsiteY2" fmla="*/ 186418 h 2188690"/>
              <a:gd name="connsiteX3" fmla="*/ 7500025 w 12192000"/>
              <a:gd name="connsiteY3" fmla="*/ 472858 h 2188690"/>
              <a:gd name="connsiteX4" fmla="*/ 10593421 w 12192000"/>
              <a:gd name="connsiteY4" fmla="*/ 2616 h 2188690"/>
              <a:gd name="connsiteX5" fmla="*/ 12192000 w 12192000"/>
              <a:gd name="connsiteY5" fmla="*/ 1052221 h 2188690"/>
              <a:gd name="connsiteX6" fmla="*/ 12192000 w 12192000"/>
              <a:gd name="connsiteY6" fmla="*/ 2188690 h 2188690"/>
              <a:gd name="connsiteX7" fmla="*/ 0 w 12192000"/>
              <a:gd name="connsiteY7" fmla="*/ 2188690 h 2188690"/>
              <a:gd name="connsiteX8" fmla="*/ 0 w 12192000"/>
              <a:gd name="connsiteY8" fmla="*/ 1052221 h 2188690"/>
              <a:gd name="connsiteX0" fmla="*/ 0 w 12192000"/>
              <a:gd name="connsiteY0" fmla="*/ 1171825 h 2308294"/>
              <a:gd name="connsiteX1" fmla="*/ 2587557 w 12192000"/>
              <a:gd name="connsiteY1" fmla="*/ 1038424 h 2308294"/>
              <a:gd name="connsiteX2" fmla="*/ 5710136 w 12192000"/>
              <a:gd name="connsiteY2" fmla="*/ 306022 h 2308294"/>
              <a:gd name="connsiteX3" fmla="*/ 7500025 w 12192000"/>
              <a:gd name="connsiteY3" fmla="*/ 592462 h 2308294"/>
              <a:gd name="connsiteX4" fmla="*/ 10398867 w 12192000"/>
              <a:gd name="connsiteY4" fmla="*/ 2174 h 2308294"/>
              <a:gd name="connsiteX5" fmla="*/ 12192000 w 12192000"/>
              <a:gd name="connsiteY5" fmla="*/ 1171825 h 2308294"/>
              <a:gd name="connsiteX6" fmla="*/ 12192000 w 12192000"/>
              <a:gd name="connsiteY6" fmla="*/ 2308294 h 2308294"/>
              <a:gd name="connsiteX7" fmla="*/ 0 w 12192000"/>
              <a:gd name="connsiteY7" fmla="*/ 2308294 h 2308294"/>
              <a:gd name="connsiteX8" fmla="*/ 0 w 12192000"/>
              <a:gd name="connsiteY8" fmla="*/ 1171825 h 2308294"/>
              <a:gd name="connsiteX0" fmla="*/ 0 w 12192000"/>
              <a:gd name="connsiteY0" fmla="*/ 1171825 h 2308294"/>
              <a:gd name="connsiteX1" fmla="*/ 2587557 w 12192000"/>
              <a:gd name="connsiteY1" fmla="*/ 1038424 h 2308294"/>
              <a:gd name="connsiteX2" fmla="*/ 5710136 w 12192000"/>
              <a:gd name="connsiteY2" fmla="*/ 306022 h 2308294"/>
              <a:gd name="connsiteX3" fmla="*/ 7500025 w 12192000"/>
              <a:gd name="connsiteY3" fmla="*/ 592462 h 2308294"/>
              <a:gd name="connsiteX4" fmla="*/ 10398867 w 12192000"/>
              <a:gd name="connsiteY4" fmla="*/ 2174 h 2308294"/>
              <a:gd name="connsiteX5" fmla="*/ 12192000 w 12192000"/>
              <a:gd name="connsiteY5" fmla="*/ 1171825 h 2308294"/>
              <a:gd name="connsiteX6" fmla="*/ 12192000 w 12192000"/>
              <a:gd name="connsiteY6" fmla="*/ 2308294 h 2308294"/>
              <a:gd name="connsiteX7" fmla="*/ 0 w 12192000"/>
              <a:gd name="connsiteY7" fmla="*/ 2308294 h 2308294"/>
              <a:gd name="connsiteX8" fmla="*/ 0 w 12192000"/>
              <a:gd name="connsiteY8" fmla="*/ 1171825 h 2308294"/>
              <a:gd name="connsiteX0" fmla="*/ 0 w 12192000"/>
              <a:gd name="connsiteY0" fmla="*/ 1169651 h 2306120"/>
              <a:gd name="connsiteX1" fmla="*/ 2587557 w 12192000"/>
              <a:gd name="connsiteY1" fmla="*/ 1036250 h 2306120"/>
              <a:gd name="connsiteX2" fmla="*/ 5710136 w 12192000"/>
              <a:gd name="connsiteY2" fmla="*/ 303848 h 2306120"/>
              <a:gd name="connsiteX3" fmla="*/ 7500025 w 12192000"/>
              <a:gd name="connsiteY3" fmla="*/ 590288 h 2306120"/>
              <a:gd name="connsiteX4" fmla="*/ 10398867 w 12192000"/>
              <a:gd name="connsiteY4" fmla="*/ 0 h 2306120"/>
              <a:gd name="connsiteX5" fmla="*/ 12192000 w 12192000"/>
              <a:gd name="connsiteY5" fmla="*/ 1169651 h 2306120"/>
              <a:gd name="connsiteX6" fmla="*/ 12192000 w 12192000"/>
              <a:gd name="connsiteY6" fmla="*/ 2306120 h 2306120"/>
              <a:gd name="connsiteX7" fmla="*/ 0 w 12192000"/>
              <a:gd name="connsiteY7" fmla="*/ 2306120 h 2306120"/>
              <a:gd name="connsiteX8" fmla="*/ 0 w 12192000"/>
              <a:gd name="connsiteY8" fmla="*/ 1169651 h 2306120"/>
              <a:gd name="connsiteX0" fmla="*/ 0 w 12192000"/>
              <a:gd name="connsiteY0" fmla="*/ 1169651 h 2306120"/>
              <a:gd name="connsiteX1" fmla="*/ 2354093 w 12192000"/>
              <a:gd name="connsiteY1" fmla="*/ 1108278 h 2306120"/>
              <a:gd name="connsiteX2" fmla="*/ 5710136 w 12192000"/>
              <a:gd name="connsiteY2" fmla="*/ 303848 h 2306120"/>
              <a:gd name="connsiteX3" fmla="*/ 7500025 w 12192000"/>
              <a:gd name="connsiteY3" fmla="*/ 590288 h 2306120"/>
              <a:gd name="connsiteX4" fmla="*/ 10398867 w 12192000"/>
              <a:gd name="connsiteY4" fmla="*/ 0 h 2306120"/>
              <a:gd name="connsiteX5" fmla="*/ 12192000 w 12192000"/>
              <a:gd name="connsiteY5" fmla="*/ 1169651 h 2306120"/>
              <a:gd name="connsiteX6" fmla="*/ 12192000 w 12192000"/>
              <a:gd name="connsiteY6" fmla="*/ 2306120 h 2306120"/>
              <a:gd name="connsiteX7" fmla="*/ 0 w 12192000"/>
              <a:gd name="connsiteY7" fmla="*/ 2306120 h 2306120"/>
              <a:gd name="connsiteX8" fmla="*/ 0 w 12192000"/>
              <a:gd name="connsiteY8" fmla="*/ 1169651 h 2306120"/>
              <a:gd name="connsiteX0" fmla="*/ 0 w 12192000"/>
              <a:gd name="connsiteY0" fmla="*/ 1385734 h 2306120"/>
              <a:gd name="connsiteX1" fmla="*/ 2354093 w 12192000"/>
              <a:gd name="connsiteY1" fmla="*/ 1108278 h 2306120"/>
              <a:gd name="connsiteX2" fmla="*/ 5710136 w 12192000"/>
              <a:gd name="connsiteY2" fmla="*/ 303848 h 2306120"/>
              <a:gd name="connsiteX3" fmla="*/ 7500025 w 12192000"/>
              <a:gd name="connsiteY3" fmla="*/ 590288 h 2306120"/>
              <a:gd name="connsiteX4" fmla="*/ 10398867 w 12192000"/>
              <a:gd name="connsiteY4" fmla="*/ 0 h 2306120"/>
              <a:gd name="connsiteX5" fmla="*/ 12192000 w 12192000"/>
              <a:gd name="connsiteY5" fmla="*/ 1169651 h 2306120"/>
              <a:gd name="connsiteX6" fmla="*/ 12192000 w 12192000"/>
              <a:gd name="connsiteY6" fmla="*/ 2306120 h 2306120"/>
              <a:gd name="connsiteX7" fmla="*/ 0 w 12192000"/>
              <a:gd name="connsiteY7" fmla="*/ 2306120 h 2306120"/>
              <a:gd name="connsiteX8" fmla="*/ 0 w 12192000"/>
              <a:gd name="connsiteY8" fmla="*/ 1385734 h 2306120"/>
              <a:gd name="connsiteX0" fmla="*/ 0 w 12192000"/>
              <a:gd name="connsiteY0" fmla="*/ 1294558 h 2214944"/>
              <a:gd name="connsiteX1" fmla="*/ 2354093 w 12192000"/>
              <a:gd name="connsiteY1" fmla="*/ 1017102 h 2214944"/>
              <a:gd name="connsiteX2" fmla="*/ 5710136 w 12192000"/>
              <a:gd name="connsiteY2" fmla="*/ 212672 h 2214944"/>
              <a:gd name="connsiteX3" fmla="*/ 7500025 w 12192000"/>
              <a:gd name="connsiteY3" fmla="*/ 499112 h 2214944"/>
              <a:gd name="connsiteX4" fmla="*/ 9751167 w 12192000"/>
              <a:gd name="connsiteY4" fmla="*/ 0 h 2214944"/>
              <a:gd name="connsiteX5" fmla="*/ 12192000 w 12192000"/>
              <a:gd name="connsiteY5" fmla="*/ 1078475 h 2214944"/>
              <a:gd name="connsiteX6" fmla="*/ 12192000 w 12192000"/>
              <a:gd name="connsiteY6" fmla="*/ 2214944 h 2214944"/>
              <a:gd name="connsiteX7" fmla="*/ 0 w 12192000"/>
              <a:gd name="connsiteY7" fmla="*/ 2214944 h 2214944"/>
              <a:gd name="connsiteX8" fmla="*/ 0 w 12192000"/>
              <a:gd name="connsiteY8" fmla="*/ 1294558 h 2214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214944">
                <a:moveTo>
                  <a:pt x="0" y="1294558"/>
                </a:moveTo>
                <a:cubicBezTo>
                  <a:pt x="418289" y="1295855"/>
                  <a:pt x="1935804" y="1015805"/>
                  <a:pt x="2354093" y="1017102"/>
                </a:cubicBezTo>
                <a:cubicBezTo>
                  <a:pt x="3605719" y="1039800"/>
                  <a:pt x="4458510" y="189974"/>
                  <a:pt x="5710136" y="212672"/>
                </a:cubicBezTo>
                <a:cubicBezTo>
                  <a:pt x="6747753" y="329404"/>
                  <a:pt x="6462408" y="382380"/>
                  <a:pt x="7500025" y="499112"/>
                </a:cubicBezTo>
                <a:cubicBezTo>
                  <a:pt x="8382000" y="544508"/>
                  <a:pt x="8888647" y="26632"/>
                  <a:pt x="9751167" y="0"/>
                </a:cubicBezTo>
                <a:cubicBezTo>
                  <a:pt x="10498035" y="21741"/>
                  <a:pt x="11659140" y="728607"/>
                  <a:pt x="12192000" y="1078475"/>
                </a:cubicBezTo>
                <a:lnTo>
                  <a:pt x="12192000" y="2214944"/>
                </a:lnTo>
                <a:lnTo>
                  <a:pt x="0" y="2214944"/>
                </a:lnTo>
                <a:lnTo>
                  <a:pt x="0" y="1294558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8775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72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31" name="그룹 53">
            <a:extLst>
              <a:ext uri="{FF2B5EF4-FFF2-40B4-BE49-F238E27FC236}">
                <a16:creationId xmlns:a16="http://schemas.microsoft.com/office/drawing/2014/main" id="{C8B8C67E-D154-474C-B166-841BC5B05F79}"/>
              </a:ext>
            </a:extLst>
          </p:cNvPr>
          <p:cNvGrpSpPr/>
          <p:nvPr/>
        </p:nvGrpSpPr>
        <p:grpSpPr>
          <a:xfrm>
            <a:off x="5192151" y="5079779"/>
            <a:ext cx="572573" cy="1090061"/>
            <a:chOff x="4070350" y="60326"/>
            <a:chExt cx="450850" cy="882650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90" name="Rectangle 19">
              <a:extLst>
                <a:ext uri="{FF2B5EF4-FFF2-40B4-BE49-F238E27FC236}">
                  <a16:creationId xmlns:a16="http://schemas.microsoft.com/office/drawing/2014/main" id="{0C08423D-6570-4641-9567-44AF600245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9900" y="642938"/>
              <a:ext cx="31750" cy="300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91" name="Freeform 20">
              <a:extLst>
                <a:ext uri="{FF2B5EF4-FFF2-40B4-BE49-F238E27FC236}">
                  <a16:creationId xmlns:a16="http://schemas.microsoft.com/office/drawing/2014/main" id="{6D994477-CD55-47F9-8577-FB713276A9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0350" y="60326"/>
              <a:ext cx="450850" cy="655638"/>
            </a:xfrm>
            <a:custGeom>
              <a:avLst/>
              <a:gdLst>
                <a:gd name="T0" fmla="*/ 0 w 593"/>
                <a:gd name="T1" fmla="*/ 862 h 862"/>
                <a:gd name="T2" fmla="*/ 297 w 593"/>
                <a:gd name="T3" fmla="*/ 0 h 862"/>
                <a:gd name="T4" fmla="*/ 593 w 593"/>
                <a:gd name="T5" fmla="*/ 862 h 862"/>
                <a:gd name="T6" fmla="*/ 0 w 593"/>
                <a:gd name="T7" fmla="*/ 862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93" h="862">
                  <a:moveTo>
                    <a:pt x="0" y="862"/>
                  </a:moveTo>
                  <a:lnTo>
                    <a:pt x="297" y="0"/>
                  </a:lnTo>
                  <a:lnTo>
                    <a:pt x="593" y="862"/>
                  </a:lnTo>
                  <a:lnTo>
                    <a:pt x="0" y="8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92" name="Freeform 21">
              <a:extLst>
                <a:ext uri="{FF2B5EF4-FFF2-40B4-BE49-F238E27FC236}">
                  <a16:creationId xmlns:a16="http://schemas.microsoft.com/office/drawing/2014/main" id="{3A2338B4-B5CF-456E-9458-3769DDB36A0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5775" y="60326"/>
              <a:ext cx="225425" cy="655638"/>
            </a:xfrm>
            <a:custGeom>
              <a:avLst/>
              <a:gdLst>
                <a:gd name="T0" fmla="*/ 296 w 296"/>
                <a:gd name="T1" fmla="*/ 863 h 863"/>
                <a:gd name="T2" fmla="*/ 0 w 296"/>
                <a:gd name="T3" fmla="*/ 863 h 863"/>
                <a:gd name="T4" fmla="*/ 0 w 296"/>
                <a:gd name="T5" fmla="*/ 0 h 863"/>
                <a:gd name="T6" fmla="*/ 296 w 296"/>
                <a:gd name="T7" fmla="*/ 863 h 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6" h="863">
                  <a:moveTo>
                    <a:pt x="296" y="863"/>
                  </a:moveTo>
                  <a:lnTo>
                    <a:pt x="0" y="863"/>
                  </a:lnTo>
                  <a:lnTo>
                    <a:pt x="0" y="0"/>
                  </a:lnTo>
                  <a:lnTo>
                    <a:pt x="296" y="8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grpSp>
        <p:nvGrpSpPr>
          <p:cNvPr id="32" name="그룹 57">
            <a:extLst>
              <a:ext uri="{FF2B5EF4-FFF2-40B4-BE49-F238E27FC236}">
                <a16:creationId xmlns:a16="http://schemas.microsoft.com/office/drawing/2014/main" id="{AE068FB1-4E69-47A0-AEC3-B5B85B80E752}"/>
              </a:ext>
            </a:extLst>
          </p:cNvPr>
          <p:cNvGrpSpPr/>
          <p:nvPr/>
        </p:nvGrpSpPr>
        <p:grpSpPr>
          <a:xfrm>
            <a:off x="9181597" y="5436860"/>
            <a:ext cx="1046358" cy="1105747"/>
            <a:chOff x="7986713" y="1112838"/>
            <a:chExt cx="823913" cy="895351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85" name="Freeform 22">
              <a:extLst>
                <a:ext uri="{FF2B5EF4-FFF2-40B4-BE49-F238E27FC236}">
                  <a16:creationId xmlns:a16="http://schemas.microsoft.com/office/drawing/2014/main" id="{02B8D344-B1C1-45F5-A782-5F3E1E9B7AE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2775" y="1501776"/>
              <a:ext cx="333375" cy="506413"/>
            </a:xfrm>
            <a:custGeom>
              <a:avLst/>
              <a:gdLst>
                <a:gd name="T0" fmla="*/ 439 w 439"/>
                <a:gd name="T1" fmla="*/ 71 h 667"/>
                <a:gd name="T2" fmla="*/ 405 w 439"/>
                <a:gd name="T3" fmla="*/ 45 h 667"/>
                <a:gd name="T4" fmla="*/ 243 w 439"/>
                <a:gd name="T5" fmla="*/ 178 h 667"/>
                <a:gd name="T6" fmla="*/ 243 w 439"/>
                <a:gd name="T7" fmla="*/ 0 h 667"/>
                <a:gd name="T8" fmla="*/ 189 w 439"/>
                <a:gd name="T9" fmla="*/ 0 h 667"/>
                <a:gd name="T10" fmla="*/ 189 w 439"/>
                <a:gd name="T11" fmla="*/ 178 h 667"/>
                <a:gd name="T12" fmla="*/ 35 w 439"/>
                <a:gd name="T13" fmla="*/ 31 h 667"/>
                <a:gd name="T14" fmla="*/ 0 w 439"/>
                <a:gd name="T15" fmla="*/ 57 h 667"/>
                <a:gd name="T16" fmla="*/ 189 w 439"/>
                <a:gd name="T17" fmla="*/ 231 h 667"/>
                <a:gd name="T18" fmla="*/ 189 w 439"/>
                <a:gd name="T19" fmla="*/ 667 h 667"/>
                <a:gd name="T20" fmla="*/ 243 w 439"/>
                <a:gd name="T21" fmla="*/ 667 h 667"/>
                <a:gd name="T22" fmla="*/ 243 w 439"/>
                <a:gd name="T23" fmla="*/ 231 h 667"/>
                <a:gd name="T24" fmla="*/ 439 w 439"/>
                <a:gd name="T25" fmla="*/ 71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9" h="667">
                  <a:moveTo>
                    <a:pt x="439" y="71"/>
                  </a:moveTo>
                  <a:lnTo>
                    <a:pt x="405" y="45"/>
                  </a:lnTo>
                  <a:lnTo>
                    <a:pt x="243" y="178"/>
                  </a:lnTo>
                  <a:lnTo>
                    <a:pt x="243" y="0"/>
                  </a:lnTo>
                  <a:lnTo>
                    <a:pt x="189" y="0"/>
                  </a:lnTo>
                  <a:lnTo>
                    <a:pt x="189" y="178"/>
                  </a:lnTo>
                  <a:lnTo>
                    <a:pt x="35" y="31"/>
                  </a:lnTo>
                  <a:lnTo>
                    <a:pt x="0" y="57"/>
                  </a:lnTo>
                  <a:lnTo>
                    <a:pt x="189" y="231"/>
                  </a:lnTo>
                  <a:lnTo>
                    <a:pt x="189" y="667"/>
                  </a:lnTo>
                  <a:lnTo>
                    <a:pt x="243" y="667"/>
                  </a:lnTo>
                  <a:lnTo>
                    <a:pt x="243" y="231"/>
                  </a:lnTo>
                  <a:lnTo>
                    <a:pt x="439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86" name="Oval 23">
              <a:extLst>
                <a:ext uri="{FF2B5EF4-FFF2-40B4-BE49-F238E27FC236}">
                  <a16:creationId xmlns:a16="http://schemas.microsoft.com/office/drawing/2014/main" id="{CEB5DB48-9EBF-4F16-8F32-121EA2B6B2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04200" y="1112838"/>
              <a:ext cx="388938" cy="388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87" name="Freeform 24">
              <a:extLst>
                <a:ext uri="{FF2B5EF4-FFF2-40B4-BE49-F238E27FC236}">
                  <a16:creationId xmlns:a16="http://schemas.microsoft.com/office/drawing/2014/main" id="{BDF8B885-3D44-4D6C-B4F6-E1C3E1FA60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9463" y="1112838"/>
              <a:ext cx="193675" cy="388938"/>
            </a:xfrm>
            <a:custGeom>
              <a:avLst/>
              <a:gdLst>
                <a:gd name="T0" fmla="*/ 0 w 255"/>
                <a:gd name="T1" fmla="*/ 0 h 512"/>
                <a:gd name="T2" fmla="*/ 0 w 255"/>
                <a:gd name="T3" fmla="*/ 512 h 512"/>
                <a:gd name="T4" fmla="*/ 255 w 255"/>
                <a:gd name="T5" fmla="*/ 256 h 512"/>
                <a:gd name="T6" fmla="*/ 0 w 255"/>
                <a:gd name="T7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5" h="512">
                  <a:moveTo>
                    <a:pt x="0" y="0"/>
                  </a:moveTo>
                  <a:lnTo>
                    <a:pt x="0" y="512"/>
                  </a:lnTo>
                  <a:cubicBezTo>
                    <a:pt x="141" y="511"/>
                    <a:pt x="255" y="397"/>
                    <a:pt x="255" y="256"/>
                  </a:cubicBezTo>
                  <a:cubicBezTo>
                    <a:pt x="255" y="115"/>
                    <a:pt x="14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88" name="Oval 25">
              <a:extLst>
                <a:ext uri="{FF2B5EF4-FFF2-40B4-BE49-F238E27FC236}">
                  <a16:creationId xmlns:a16="http://schemas.microsoft.com/office/drawing/2014/main" id="{DC306C64-3FA0-4E07-B574-FC41CCDA76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86713" y="1176338"/>
              <a:ext cx="390525" cy="388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89" name="Oval 26">
              <a:extLst>
                <a:ext uri="{FF2B5EF4-FFF2-40B4-BE49-F238E27FC236}">
                  <a16:creationId xmlns:a16="http://schemas.microsoft.com/office/drawing/2014/main" id="{8BDC8C93-EB04-4BE8-A0BD-2B1C9AF91A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21688" y="1176338"/>
              <a:ext cx="388938" cy="388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grpSp>
        <p:nvGrpSpPr>
          <p:cNvPr id="33" name="그룹 63">
            <a:extLst>
              <a:ext uri="{FF2B5EF4-FFF2-40B4-BE49-F238E27FC236}">
                <a16:creationId xmlns:a16="http://schemas.microsoft.com/office/drawing/2014/main" id="{2A6C82EA-F420-4199-8202-A9E005E1D774}"/>
              </a:ext>
            </a:extLst>
          </p:cNvPr>
          <p:cNvGrpSpPr/>
          <p:nvPr/>
        </p:nvGrpSpPr>
        <p:grpSpPr>
          <a:xfrm rot="20923597">
            <a:off x="3784719" y="6187732"/>
            <a:ext cx="413797" cy="217529"/>
            <a:chOff x="9777413" y="344488"/>
            <a:chExt cx="919163" cy="496888"/>
          </a:xfrm>
          <a:solidFill>
            <a:srgbClr val="3A876B">
              <a:lumMod val="40000"/>
              <a:lumOff val="60000"/>
            </a:srgbClr>
          </a:solidFill>
        </p:grpSpPr>
        <p:sp>
          <p:nvSpPr>
            <p:cNvPr id="83" name="Freeform 27">
              <a:extLst>
                <a:ext uri="{FF2B5EF4-FFF2-40B4-BE49-F238E27FC236}">
                  <a16:creationId xmlns:a16="http://schemas.microsoft.com/office/drawing/2014/main" id="{40D74967-2CDD-4FB1-89F0-D42B04DDF8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777413" y="344488"/>
              <a:ext cx="919163" cy="496888"/>
            </a:xfrm>
            <a:custGeom>
              <a:avLst/>
              <a:gdLst>
                <a:gd name="T0" fmla="*/ 1175 w 1211"/>
                <a:gd name="T1" fmla="*/ 654 h 654"/>
                <a:gd name="T2" fmla="*/ 14 w 1211"/>
                <a:gd name="T3" fmla="*/ 654 h 654"/>
                <a:gd name="T4" fmla="*/ 145 w 1211"/>
                <a:gd name="T5" fmla="*/ 583 h 654"/>
                <a:gd name="T6" fmla="*/ 0 w 1211"/>
                <a:gd name="T7" fmla="*/ 593 h 654"/>
                <a:gd name="T8" fmla="*/ 145 w 1211"/>
                <a:gd name="T9" fmla="*/ 507 h 654"/>
                <a:gd name="T10" fmla="*/ 0 w 1211"/>
                <a:gd name="T11" fmla="*/ 460 h 654"/>
                <a:gd name="T12" fmla="*/ 125 w 1211"/>
                <a:gd name="T13" fmla="*/ 450 h 654"/>
                <a:gd name="T14" fmla="*/ 11 w 1211"/>
                <a:gd name="T15" fmla="*/ 399 h 654"/>
                <a:gd name="T16" fmla="*/ 173 w 1211"/>
                <a:gd name="T17" fmla="*/ 372 h 654"/>
                <a:gd name="T18" fmla="*/ 74 w 1211"/>
                <a:gd name="T19" fmla="*/ 305 h 654"/>
                <a:gd name="T20" fmla="*/ 205 w 1211"/>
                <a:gd name="T21" fmla="*/ 290 h 654"/>
                <a:gd name="T22" fmla="*/ 137 w 1211"/>
                <a:gd name="T23" fmla="*/ 231 h 654"/>
                <a:gd name="T24" fmla="*/ 261 w 1211"/>
                <a:gd name="T25" fmla="*/ 209 h 654"/>
                <a:gd name="T26" fmla="*/ 193 w 1211"/>
                <a:gd name="T27" fmla="*/ 140 h 654"/>
                <a:gd name="T28" fmla="*/ 326 w 1211"/>
                <a:gd name="T29" fmla="*/ 136 h 654"/>
                <a:gd name="T30" fmla="*/ 279 w 1211"/>
                <a:gd name="T31" fmla="*/ 62 h 654"/>
                <a:gd name="T32" fmla="*/ 463 w 1211"/>
                <a:gd name="T33" fmla="*/ 110 h 654"/>
                <a:gd name="T34" fmla="*/ 415 w 1211"/>
                <a:gd name="T35" fmla="*/ 17 h 654"/>
                <a:gd name="T36" fmla="*/ 552 w 1211"/>
                <a:gd name="T37" fmla="*/ 96 h 654"/>
                <a:gd name="T38" fmla="*/ 557 w 1211"/>
                <a:gd name="T39" fmla="*/ 17 h 654"/>
                <a:gd name="T40" fmla="*/ 634 w 1211"/>
                <a:gd name="T41" fmla="*/ 84 h 654"/>
                <a:gd name="T42" fmla="*/ 699 w 1211"/>
                <a:gd name="T43" fmla="*/ 0 h 654"/>
                <a:gd name="T44" fmla="*/ 696 w 1211"/>
                <a:gd name="T45" fmla="*/ 96 h 654"/>
                <a:gd name="T46" fmla="*/ 814 w 1211"/>
                <a:gd name="T47" fmla="*/ 40 h 654"/>
                <a:gd name="T48" fmla="*/ 770 w 1211"/>
                <a:gd name="T49" fmla="*/ 123 h 654"/>
                <a:gd name="T50" fmla="*/ 879 w 1211"/>
                <a:gd name="T51" fmla="*/ 62 h 654"/>
                <a:gd name="T52" fmla="*/ 856 w 1211"/>
                <a:gd name="T53" fmla="*/ 155 h 654"/>
                <a:gd name="T54" fmla="*/ 972 w 1211"/>
                <a:gd name="T55" fmla="*/ 122 h 654"/>
                <a:gd name="T56" fmla="*/ 948 w 1211"/>
                <a:gd name="T57" fmla="*/ 195 h 654"/>
                <a:gd name="T58" fmla="*/ 1066 w 1211"/>
                <a:gd name="T59" fmla="*/ 184 h 654"/>
                <a:gd name="T60" fmla="*/ 1004 w 1211"/>
                <a:gd name="T61" fmla="*/ 260 h 654"/>
                <a:gd name="T62" fmla="*/ 1140 w 1211"/>
                <a:gd name="T63" fmla="*/ 266 h 654"/>
                <a:gd name="T64" fmla="*/ 1068 w 1211"/>
                <a:gd name="T65" fmla="*/ 337 h 654"/>
                <a:gd name="T66" fmla="*/ 1175 w 1211"/>
                <a:gd name="T67" fmla="*/ 357 h 654"/>
                <a:gd name="T68" fmla="*/ 1093 w 1211"/>
                <a:gd name="T69" fmla="*/ 399 h 654"/>
                <a:gd name="T70" fmla="*/ 1181 w 1211"/>
                <a:gd name="T71" fmla="*/ 448 h 654"/>
                <a:gd name="T72" fmla="*/ 1095 w 1211"/>
                <a:gd name="T73" fmla="*/ 500 h 654"/>
                <a:gd name="T74" fmla="*/ 1211 w 1211"/>
                <a:gd name="T75" fmla="*/ 561 h 654"/>
                <a:gd name="T76" fmla="*/ 1104 w 1211"/>
                <a:gd name="T77" fmla="*/ 591 h 654"/>
                <a:gd name="T78" fmla="*/ 1175 w 1211"/>
                <a:gd name="T79" fmla="*/ 654 h 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11" h="654">
                  <a:moveTo>
                    <a:pt x="1175" y="654"/>
                  </a:moveTo>
                  <a:lnTo>
                    <a:pt x="14" y="654"/>
                  </a:lnTo>
                  <a:cubicBezTo>
                    <a:pt x="14" y="654"/>
                    <a:pt x="37" y="596"/>
                    <a:pt x="145" y="583"/>
                  </a:cubicBezTo>
                  <a:cubicBezTo>
                    <a:pt x="145" y="583"/>
                    <a:pt x="86" y="561"/>
                    <a:pt x="0" y="593"/>
                  </a:cubicBezTo>
                  <a:cubicBezTo>
                    <a:pt x="0" y="593"/>
                    <a:pt x="15" y="539"/>
                    <a:pt x="145" y="507"/>
                  </a:cubicBezTo>
                  <a:cubicBezTo>
                    <a:pt x="145" y="507"/>
                    <a:pt x="35" y="503"/>
                    <a:pt x="0" y="460"/>
                  </a:cubicBezTo>
                  <a:cubicBezTo>
                    <a:pt x="0" y="460"/>
                    <a:pt x="69" y="480"/>
                    <a:pt x="125" y="450"/>
                  </a:cubicBezTo>
                  <a:cubicBezTo>
                    <a:pt x="125" y="450"/>
                    <a:pt x="62" y="389"/>
                    <a:pt x="11" y="399"/>
                  </a:cubicBezTo>
                  <a:cubicBezTo>
                    <a:pt x="11" y="399"/>
                    <a:pt x="61" y="355"/>
                    <a:pt x="173" y="372"/>
                  </a:cubicBezTo>
                  <a:cubicBezTo>
                    <a:pt x="173" y="372"/>
                    <a:pt x="113" y="300"/>
                    <a:pt x="74" y="305"/>
                  </a:cubicBezTo>
                  <a:cubicBezTo>
                    <a:pt x="74" y="305"/>
                    <a:pt x="110" y="271"/>
                    <a:pt x="205" y="290"/>
                  </a:cubicBezTo>
                  <a:cubicBezTo>
                    <a:pt x="205" y="290"/>
                    <a:pt x="174" y="237"/>
                    <a:pt x="137" y="231"/>
                  </a:cubicBezTo>
                  <a:cubicBezTo>
                    <a:pt x="137" y="231"/>
                    <a:pt x="154" y="184"/>
                    <a:pt x="261" y="209"/>
                  </a:cubicBezTo>
                  <a:cubicBezTo>
                    <a:pt x="261" y="209"/>
                    <a:pt x="244" y="143"/>
                    <a:pt x="193" y="140"/>
                  </a:cubicBezTo>
                  <a:cubicBezTo>
                    <a:pt x="193" y="140"/>
                    <a:pt x="253" y="102"/>
                    <a:pt x="326" y="136"/>
                  </a:cubicBezTo>
                  <a:cubicBezTo>
                    <a:pt x="326" y="136"/>
                    <a:pt x="308" y="67"/>
                    <a:pt x="279" y="62"/>
                  </a:cubicBezTo>
                  <a:cubicBezTo>
                    <a:pt x="279" y="62"/>
                    <a:pt x="418" y="62"/>
                    <a:pt x="463" y="110"/>
                  </a:cubicBezTo>
                  <a:cubicBezTo>
                    <a:pt x="463" y="110"/>
                    <a:pt x="444" y="47"/>
                    <a:pt x="415" y="17"/>
                  </a:cubicBezTo>
                  <a:cubicBezTo>
                    <a:pt x="415" y="17"/>
                    <a:pt x="548" y="43"/>
                    <a:pt x="552" y="96"/>
                  </a:cubicBezTo>
                  <a:cubicBezTo>
                    <a:pt x="552" y="96"/>
                    <a:pt x="569" y="57"/>
                    <a:pt x="557" y="17"/>
                  </a:cubicBezTo>
                  <a:cubicBezTo>
                    <a:pt x="557" y="17"/>
                    <a:pt x="626" y="35"/>
                    <a:pt x="634" y="84"/>
                  </a:cubicBezTo>
                  <a:cubicBezTo>
                    <a:pt x="634" y="84"/>
                    <a:pt x="660" y="12"/>
                    <a:pt x="699" y="0"/>
                  </a:cubicBezTo>
                  <a:cubicBezTo>
                    <a:pt x="699" y="0"/>
                    <a:pt x="684" y="68"/>
                    <a:pt x="696" y="96"/>
                  </a:cubicBezTo>
                  <a:cubicBezTo>
                    <a:pt x="696" y="96"/>
                    <a:pt x="757" y="59"/>
                    <a:pt x="814" y="40"/>
                  </a:cubicBezTo>
                  <a:cubicBezTo>
                    <a:pt x="814" y="40"/>
                    <a:pt x="770" y="85"/>
                    <a:pt x="770" y="123"/>
                  </a:cubicBezTo>
                  <a:cubicBezTo>
                    <a:pt x="770" y="123"/>
                    <a:pt x="827" y="66"/>
                    <a:pt x="879" y="62"/>
                  </a:cubicBezTo>
                  <a:cubicBezTo>
                    <a:pt x="879" y="62"/>
                    <a:pt x="811" y="136"/>
                    <a:pt x="856" y="155"/>
                  </a:cubicBezTo>
                  <a:cubicBezTo>
                    <a:pt x="856" y="155"/>
                    <a:pt x="913" y="116"/>
                    <a:pt x="972" y="122"/>
                  </a:cubicBezTo>
                  <a:cubicBezTo>
                    <a:pt x="972" y="122"/>
                    <a:pt x="930" y="170"/>
                    <a:pt x="948" y="195"/>
                  </a:cubicBezTo>
                  <a:cubicBezTo>
                    <a:pt x="948" y="195"/>
                    <a:pt x="1001" y="170"/>
                    <a:pt x="1066" y="184"/>
                  </a:cubicBezTo>
                  <a:cubicBezTo>
                    <a:pt x="1066" y="184"/>
                    <a:pt x="977" y="231"/>
                    <a:pt x="1004" y="260"/>
                  </a:cubicBezTo>
                  <a:cubicBezTo>
                    <a:pt x="1004" y="260"/>
                    <a:pt x="1072" y="244"/>
                    <a:pt x="1140" y="266"/>
                  </a:cubicBezTo>
                  <a:cubicBezTo>
                    <a:pt x="1140" y="266"/>
                    <a:pt x="1057" y="310"/>
                    <a:pt x="1068" y="337"/>
                  </a:cubicBezTo>
                  <a:cubicBezTo>
                    <a:pt x="1068" y="337"/>
                    <a:pt x="1113" y="342"/>
                    <a:pt x="1175" y="357"/>
                  </a:cubicBezTo>
                  <a:cubicBezTo>
                    <a:pt x="1175" y="357"/>
                    <a:pt x="1114" y="367"/>
                    <a:pt x="1093" y="399"/>
                  </a:cubicBezTo>
                  <a:cubicBezTo>
                    <a:pt x="1093" y="399"/>
                    <a:pt x="1131" y="399"/>
                    <a:pt x="1181" y="448"/>
                  </a:cubicBezTo>
                  <a:cubicBezTo>
                    <a:pt x="1181" y="448"/>
                    <a:pt x="1101" y="453"/>
                    <a:pt x="1095" y="500"/>
                  </a:cubicBezTo>
                  <a:cubicBezTo>
                    <a:pt x="1095" y="500"/>
                    <a:pt x="1155" y="496"/>
                    <a:pt x="1211" y="561"/>
                  </a:cubicBezTo>
                  <a:cubicBezTo>
                    <a:pt x="1211" y="561"/>
                    <a:pt x="1110" y="541"/>
                    <a:pt x="1104" y="591"/>
                  </a:cubicBezTo>
                  <a:cubicBezTo>
                    <a:pt x="1158" y="591"/>
                    <a:pt x="1174" y="643"/>
                    <a:pt x="1175" y="6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84" name="Freeform 28">
              <a:extLst>
                <a:ext uri="{FF2B5EF4-FFF2-40B4-BE49-F238E27FC236}">
                  <a16:creationId xmlns:a16="http://schemas.microsoft.com/office/drawing/2014/main" id="{CDF98136-08D2-4B67-8211-92F2781E6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8700" y="441326"/>
              <a:ext cx="660400" cy="357188"/>
            </a:xfrm>
            <a:custGeom>
              <a:avLst/>
              <a:gdLst>
                <a:gd name="T0" fmla="*/ 844 w 870"/>
                <a:gd name="T1" fmla="*/ 470 h 470"/>
                <a:gd name="T2" fmla="*/ 11 w 870"/>
                <a:gd name="T3" fmla="*/ 470 h 470"/>
                <a:gd name="T4" fmla="*/ 105 w 870"/>
                <a:gd name="T5" fmla="*/ 419 h 470"/>
                <a:gd name="T6" fmla="*/ 0 w 870"/>
                <a:gd name="T7" fmla="*/ 426 h 470"/>
                <a:gd name="T8" fmla="*/ 105 w 870"/>
                <a:gd name="T9" fmla="*/ 364 h 470"/>
                <a:gd name="T10" fmla="*/ 0 w 870"/>
                <a:gd name="T11" fmla="*/ 330 h 470"/>
                <a:gd name="T12" fmla="*/ 90 w 870"/>
                <a:gd name="T13" fmla="*/ 323 h 470"/>
                <a:gd name="T14" fmla="*/ 8 w 870"/>
                <a:gd name="T15" fmla="*/ 287 h 470"/>
                <a:gd name="T16" fmla="*/ 125 w 870"/>
                <a:gd name="T17" fmla="*/ 267 h 470"/>
                <a:gd name="T18" fmla="*/ 54 w 870"/>
                <a:gd name="T19" fmla="*/ 219 h 470"/>
                <a:gd name="T20" fmla="*/ 147 w 870"/>
                <a:gd name="T21" fmla="*/ 208 h 470"/>
                <a:gd name="T22" fmla="*/ 99 w 870"/>
                <a:gd name="T23" fmla="*/ 166 h 470"/>
                <a:gd name="T24" fmla="*/ 188 w 870"/>
                <a:gd name="T25" fmla="*/ 150 h 470"/>
                <a:gd name="T26" fmla="*/ 139 w 870"/>
                <a:gd name="T27" fmla="*/ 101 h 470"/>
                <a:gd name="T28" fmla="*/ 235 w 870"/>
                <a:gd name="T29" fmla="*/ 97 h 470"/>
                <a:gd name="T30" fmla="*/ 201 w 870"/>
                <a:gd name="T31" fmla="*/ 44 h 470"/>
                <a:gd name="T32" fmla="*/ 333 w 870"/>
                <a:gd name="T33" fmla="*/ 79 h 470"/>
                <a:gd name="T34" fmla="*/ 298 w 870"/>
                <a:gd name="T35" fmla="*/ 13 h 470"/>
                <a:gd name="T36" fmla="*/ 397 w 870"/>
                <a:gd name="T37" fmla="*/ 69 h 470"/>
                <a:gd name="T38" fmla="*/ 400 w 870"/>
                <a:gd name="T39" fmla="*/ 13 h 470"/>
                <a:gd name="T40" fmla="*/ 456 w 870"/>
                <a:gd name="T41" fmla="*/ 60 h 470"/>
                <a:gd name="T42" fmla="*/ 502 w 870"/>
                <a:gd name="T43" fmla="*/ 0 h 470"/>
                <a:gd name="T44" fmla="*/ 500 w 870"/>
                <a:gd name="T45" fmla="*/ 69 h 470"/>
                <a:gd name="T46" fmla="*/ 585 w 870"/>
                <a:gd name="T47" fmla="*/ 28 h 470"/>
                <a:gd name="T48" fmla="*/ 553 w 870"/>
                <a:gd name="T49" fmla="*/ 88 h 470"/>
                <a:gd name="T50" fmla="*/ 632 w 870"/>
                <a:gd name="T51" fmla="*/ 44 h 470"/>
                <a:gd name="T52" fmla="*/ 615 w 870"/>
                <a:gd name="T53" fmla="*/ 111 h 470"/>
                <a:gd name="T54" fmla="*/ 698 w 870"/>
                <a:gd name="T55" fmla="*/ 88 h 470"/>
                <a:gd name="T56" fmla="*/ 681 w 870"/>
                <a:gd name="T57" fmla="*/ 140 h 470"/>
                <a:gd name="T58" fmla="*/ 766 w 870"/>
                <a:gd name="T59" fmla="*/ 132 h 470"/>
                <a:gd name="T60" fmla="*/ 721 w 870"/>
                <a:gd name="T61" fmla="*/ 187 h 470"/>
                <a:gd name="T62" fmla="*/ 819 w 870"/>
                <a:gd name="T63" fmla="*/ 191 h 470"/>
                <a:gd name="T64" fmla="*/ 768 w 870"/>
                <a:gd name="T65" fmla="*/ 242 h 470"/>
                <a:gd name="T66" fmla="*/ 844 w 870"/>
                <a:gd name="T67" fmla="*/ 256 h 470"/>
                <a:gd name="T68" fmla="*/ 785 w 870"/>
                <a:gd name="T69" fmla="*/ 286 h 470"/>
                <a:gd name="T70" fmla="*/ 849 w 870"/>
                <a:gd name="T71" fmla="*/ 322 h 470"/>
                <a:gd name="T72" fmla="*/ 786 w 870"/>
                <a:gd name="T73" fmla="*/ 359 h 470"/>
                <a:gd name="T74" fmla="*/ 870 w 870"/>
                <a:gd name="T75" fmla="*/ 403 h 470"/>
                <a:gd name="T76" fmla="*/ 793 w 870"/>
                <a:gd name="T77" fmla="*/ 424 h 470"/>
                <a:gd name="T78" fmla="*/ 844 w 870"/>
                <a:gd name="T79" fmla="*/ 47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70" h="470">
                  <a:moveTo>
                    <a:pt x="844" y="470"/>
                  </a:moveTo>
                  <a:lnTo>
                    <a:pt x="11" y="470"/>
                  </a:lnTo>
                  <a:cubicBezTo>
                    <a:pt x="11" y="470"/>
                    <a:pt x="27" y="428"/>
                    <a:pt x="105" y="419"/>
                  </a:cubicBezTo>
                  <a:cubicBezTo>
                    <a:pt x="105" y="419"/>
                    <a:pt x="62" y="403"/>
                    <a:pt x="0" y="426"/>
                  </a:cubicBezTo>
                  <a:cubicBezTo>
                    <a:pt x="0" y="426"/>
                    <a:pt x="11" y="387"/>
                    <a:pt x="105" y="364"/>
                  </a:cubicBezTo>
                  <a:cubicBezTo>
                    <a:pt x="105" y="364"/>
                    <a:pt x="25" y="361"/>
                    <a:pt x="0" y="330"/>
                  </a:cubicBezTo>
                  <a:cubicBezTo>
                    <a:pt x="0" y="330"/>
                    <a:pt x="50" y="344"/>
                    <a:pt x="90" y="323"/>
                  </a:cubicBezTo>
                  <a:cubicBezTo>
                    <a:pt x="90" y="323"/>
                    <a:pt x="45" y="279"/>
                    <a:pt x="8" y="287"/>
                  </a:cubicBezTo>
                  <a:cubicBezTo>
                    <a:pt x="8" y="287"/>
                    <a:pt x="44" y="255"/>
                    <a:pt x="125" y="267"/>
                  </a:cubicBezTo>
                  <a:cubicBezTo>
                    <a:pt x="125" y="267"/>
                    <a:pt x="82" y="216"/>
                    <a:pt x="54" y="219"/>
                  </a:cubicBezTo>
                  <a:cubicBezTo>
                    <a:pt x="54" y="219"/>
                    <a:pt x="79" y="194"/>
                    <a:pt x="147" y="208"/>
                  </a:cubicBezTo>
                  <a:cubicBezTo>
                    <a:pt x="147" y="208"/>
                    <a:pt x="125" y="170"/>
                    <a:pt x="99" y="166"/>
                  </a:cubicBezTo>
                  <a:cubicBezTo>
                    <a:pt x="99" y="166"/>
                    <a:pt x="111" y="132"/>
                    <a:pt x="188" y="150"/>
                  </a:cubicBezTo>
                  <a:cubicBezTo>
                    <a:pt x="188" y="150"/>
                    <a:pt x="176" y="103"/>
                    <a:pt x="139" y="101"/>
                  </a:cubicBezTo>
                  <a:cubicBezTo>
                    <a:pt x="139" y="101"/>
                    <a:pt x="182" y="73"/>
                    <a:pt x="235" y="97"/>
                  </a:cubicBezTo>
                  <a:cubicBezTo>
                    <a:pt x="235" y="97"/>
                    <a:pt x="222" y="48"/>
                    <a:pt x="201" y="44"/>
                  </a:cubicBezTo>
                  <a:cubicBezTo>
                    <a:pt x="201" y="44"/>
                    <a:pt x="300" y="44"/>
                    <a:pt x="333" y="79"/>
                  </a:cubicBezTo>
                  <a:cubicBezTo>
                    <a:pt x="333" y="79"/>
                    <a:pt x="319" y="34"/>
                    <a:pt x="298" y="13"/>
                  </a:cubicBezTo>
                  <a:cubicBezTo>
                    <a:pt x="298" y="13"/>
                    <a:pt x="394" y="31"/>
                    <a:pt x="397" y="69"/>
                  </a:cubicBezTo>
                  <a:cubicBezTo>
                    <a:pt x="397" y="69"/>
                    <a:pt x="409" y="41"/>
                    <a:pt x="400" y="13"/>
                  </a:cubicBezTo>
                  <a:cubicBezTo>
                    <a:pt x="400" y="13"/>
                    <a:pt x="450" y="25"/>
                    <a:pt x="456" y="60"/>
                  </a:cubicBezTo>
                  <a:cubicBezTo>
                    <a:pt x="456" y="60"/>
                    <a:pt x="475" y="8"/>
                    <a:pt x="502" y="0"/>
                  </a:cubicBezTo>
                  <a:cubicBezTo>
                    <a:pt x="502" y="0"/>
                    <a:pt x="491" y="49"/>
                    <a:pt x="500" y="69"/>
                  </a:cubicBezTo>
                  <a:cubicBezTo>
                    <a:pt x="500" y="69"/>
                    <a:pt x="544" y="42"/>
                    <a:pt x="585" y="28"/>
                  </a:cubicBezTo>
                  <a:cubicBezTo>
                    <a:pt x="585" y="28"/>
                    <a:pt x="553" y="61"/>
                    <a:pt x="553" y="88"/>
                  </a:cubicBezTo>
                  <a:cubicBezTo>
                    <a:pt x="553" y="88"/>
                    <a:pt x="594" y="47"/>
                    <a:pt x="632" y="44"/>
                  </a:cubicBezTo>
                  <a:cubicBezTo>
                    <a:pt x="632" y="44"/>
                    <a:pt x="583" y="97"/>
                    <a:pt x="615" y="111"/>
                  </a:cubicBezTo>
                  <a:cubicBezTo>
                    <a:pt x="615" y="111"/>
                    <a:pt x="656" y="83"/>
                    <a:pt x="698" y="88"/>
                  </a:cubicBezTo>
                  <a:cubicBezTo>
                    <a:pt x="698" y="88"/>
                    <a:pt x="668" y="122"/>
                    <a:pt x="681" y="140"/>
                  </a:cubicBezTo>
                  <a:cubicBezTo>
                    <a:pt x="681" y="140"/>
                    <a:pt x="719" y="122"/>
                    <a:pt x="766" y="132"/>
                  </a:cubicBezTo>
                  <a:cubicBezTo>
                    <a:pt x="766" y="132"/>
                    <a:pt x="702" y="166"/>
                    <a:pt x="721" y="187"/>
                  </a:cubicBezTo>
                  <a:cubicBezTo>
                    <a:pt x="721" y="187"/>
                    <a:pt x="770" y="175"/>
                    <a:pt x="819" y="191"/>
                  </a:cubicBezTo>
                  <a:cubicBezTo>
                    <a:pt x="819" y="191"/>
                    <a:pt x="759" y="223"/>
                    <a:pt x="768" y="242"/>
                  </a:cubicBezTo>
                  <a:cubicBezTo>
                    <a:pt x="768" y="242"/>
                    <a:pt x="800" y="246"/>
                    <a:pt x="844" y="256"/>
                  </a:cubicBezTo>
                  <a:cubicBezTo>
                    <a:pt x="844" y="256"/>
                    <a:pt x="800" y="263"/>
                    <a:pt x="785" y="286"/>
                  </a:cubicBezTo>
                  <a:cubicBezTo>
                    <a:pt x="785" y="286"/>
                    <a:pt x="813" y="286"/>
                    <a:pt x="849" y="322"/>
                  </a:cubicBezTo>
                  <a:cubicBezTo>
                    <a:pt x="849" y="322"/>
                    <a:pt x="791" y="325"/>
                    <a:pt x="786" y="359"/>
                  </a:cubicBezTo>
                  <a:cubicBezTo>
                    <a:pt x="786" y="359"/>
                    <a:pt x="830" y="356"/>
                    <a:pt x="870" y="403"/>
                  </a:cubicBezTo>
                  <a:cubicBezTo>
                    <a:pt x="870" y="403"/>
                    <a:pt x="798" y="389"/>
                    <a:pt x="793" y="424"/>
                  </a:cubicBezTo>
                  <a:cubicBezTo>
                    <a:pt x="832" y="424"/>
                    <a:pt x="844" y="462"/>
                    <a:pt x="844" y="470"/>
                  </a:cubicBezTo>
                  <a:close/>
                </a:path>
              </a:pathLst>
            </a:custGeom>
            <a:solidFill>
              <a:srgbClr val="3A876B">
                <a:lumMod val="20000"/>
                <a:lumOff val="8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grpSp>
        <p:nvGrpSpPr>
          <p:cNvPr id="34" name="그룹 66">
            <a:extLst>
              <a:ext uri="{FF2B5EF4-FFF2-40B4-BE49-F238E27FC236}">
                <a16:creationId xmlns:a16="http://schemas.microsoft.com/office/drawing/2014/main" id="{B0927F69-B6B9-4980-9E57-28AE7A49AED7}"/>
              </a:ext>
            </a:extLst>
          </p:cNvPr>
          <p:cNvGrpSpPr/>
          <p:nvPr/>
        </p:nvGrpSpPr>
        <p:grpSpPr>
          <a:xfrm>
            <a:off x="8089241" y="6243091"/>
            <a:ext cx="413309" cy="231192"/>
            <a:chOff x="7121525" y="190501"/>
            <a:chExt cx="896938" cy="515937"/>
          </a:xfrm>
          <a:solidFill>
            <a:srgbClr val="3A876B">
              <a:lumMod val="40000"/>
              <a:lumOff val="60000"/>
            </a:srgbClr>
          </a:solidFill>
        </p:grpSpPr>
        <p:sp>
          <p:nvSpPr>
            <p:cNvPr id="81" name="Freeform 41">
              <a:extLst>
                <a:ext uri="{FF2B5EF4-FFF2-40B4-BE49-F238E27FC236}">
                  <a16:creationId xmlns:a16="http://schemas.microsoft.com/office/drawing/2014/main" id="{7534BB6D-33CB-4E64-8FF3-3BD04B6D69B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1525" y="190501"/>
              <a:ext cx="896938" cy="481013"/>
            </a:xfrm>
            <a:custGeom>
              <a:avLst/>
              <a:gdLst>
                <a:gd name="T0" fmla="*/ 1180 w 1181"/>
                <a:gd name="T1" fmla="*/ 486 h 634"/>
                <a:gd name="T2" fmla="*/ 1024 w 1181"/>
                <a:gd name="T3" fmla="*/ 634 h 634"/>
                <a:gd name="T4" fmla="*/ 134 w 1181"/>
                <a:gd name="T5" fmla="*/ 634 h 634"/>
                <a:gd name="T6" fmla="*/ 0 w 1181"/>
                <a:gd name="T7" fmla="*/ 504 h 634"/>
                <a:gd name="T8" fmla="*/ 0 w 1181"/>
                <a:gd name="T9" fmla="*/ 503 h 634"/>
                <a:gd name="T10" fmla="*/ 23 w 1181"/>
                <a:gd name="T11" fmla="*/ 418 h 634"/>
                <a:gd name="T12" fmla="*/ 169 w 1181"/>
                <a:gd name="T13" fmla="*/ 334 h 634"/>
                <a:gd name="T14" fmla="*/ 214 w 1181"/>
                <a:gd name="T15" fmla="*/ 340 h 634"/>
                <a:gd name="T16" fmla="*/ 214 w 1181"/>
                <a:gd name="T17" fmla="*/ 334 h 634"/>
                <a:gd name="T18" fmla="*/ 383 w 1181"/>
                <a:gd name="T19" fmla="*/ 165 h 634"/>
                <a:gd name="T20" fmla="*/ 497 w 1181"/>
                <a:gd name="T21" fmla="*/ 210 h 634"/>
                <a:gd name="T22" fmla="*/ 977 w 1181"/>
                <a:gd name="T23" fmla="*/ 316 h 634"/>
                <a:gd name="T24" fmla="*/ 976 w 1181"/>
                <a:gd name="T25" fmla="*/ 337 h 634"/>
                <a:gd name="T26" fmla="*/ 1027 w 1181"/>
                <a:gd name="T27" fmla="*/ 328 h 634"/>
                <a:gd name="T28" fmla="*/ 1167 w 1181"/>
                <a:gd name="T29" fmla="*/ 418 h 634"/>
                <a:gd name="T30" fmla="*/ 1180 w 1181"/>
                <a:gd name="T31" fmla="*/ 486 h 6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1" h="634">
                  <a:moveTo>
                    <a:pt x="1180" y="486"/>
                  </a:moveTo>
                  <a:cubicBezTo>
                    <a:pt x="1178" y="569"/>
                    <a:pt x="1107" y="634"/>
                    <a:pt x="1024" y="634"/>
                  </a:cubicBezTo>
                  <a:lnTo>
                    <a:pt x="134" y="634"/>
                  </a:lnTo>
                  <a:cubicBezTo>
                    <a:pt x="62" y="634"/>
                    <a:pt x="1" y="577"/>
                    <a:pt x="0" y="504"/>
                  </a:cubicBezTo>
                  <a:cubicBezTo>
                    <a:pt x="0" y="504"/>
                    <a:pt x="0" y="503"/>
                    <a:pt x="0" y="503"/>
                  </a:cubicBezTo>
                  <a:cubicBezTo>
                    <a:pt x="0" y="472"/>
                    <a:pt x="8" y="443"/>
                    <a:pt x="23" y="418"/>
                  </a:cubicBezTo>
                  <a:cubicBezTo>
                    <a:pt x="52" y="368"/>
                    <a:pt x="107" y="334"/>
                    <a:pt x="169" y="334"/>
                  </a:cubicBezTo>
                  <a:cubicBezTo>
                    <a:pt x="185" y="334"/>
                    <a:pt x="200" y="336"/>
                    <a:pt x="214" y="340"/>
                  </a:cubicBezTo>
                  <a:cubicBezTo>
                    <a:pt x="214" y="338"/>
                    <a:pt x="214" y="336"/>
                    <a:pt x="214" y="334"/>
                  </a:cubicBezTo>
                  <a:cubicBezTo>
                    <a:pt x="214" y="241"/>
                    <a:pt x="289" y="165"/>
                    <a:pt x="383" y="165"/>
                  </a:cubicBezTo>
                  <a:cubicBezTo>
                    <a:pt x="427" y="165"/>
                    <a:pt x="467" y="182"/>
                    <a:pt x="497" y="210"/>
                  </a:cubicBezTo>
                  <a:cubicBezTo>
                    <a:pt x="594" y="0"/>
                    <a:pt x="977" y="31"/>
                    <a:pt x="977" y="316"/>
                  </a:cubicBezTo>
                  <a:cubicBezTo>
                    <a:pt x="977" y="323"/>
                    <a:pt x="977" y="330"/>
                    <a:pt x="976" y="337"/>
                  </a:cubicBezTo>
                  <a:cubicBezTo>
                    <a:pt x="992" y="331"/>
                    <a:pt x="1009" y="328"/>
                    <a:pt x="1027" y="328"/>
                  </a:cubicBezTo>
                  <a:cubicBezTo>
                    <a:pt x="1089" y="328"/>
                    <a:pt x="1143" y="365"/>
                    <a:pt x="1167" y="418"/>
                  </a:cubicBezTo>
                  <a:cubicBezTo>
                    <a:pt x="1176" y="439"/>
                    <a:pt x="1181" y="462"/>
                    <a:pt x="1180" y="4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82" name="Freeform 42">
              <a:extLst>
                <a:ext uri="{FF2B5EF4-FFF2-40B4-BE49-F238E27FC236}">
                  <a16:creationId xmlns:a16="http://schemas.microsoft.com/office/drawing/2014/main" id="{755F1794-FC2E-4911-8C25-C17EED55E4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9163" y="369888"/>
              <a:ext cx="625475" cy="336550"/>
            </a:xfrm>
            <a:custGeom>
              <a:avLst/>
              <a:gdLst>
                <a:gd name="T0" fmla="*/ 824 w 824"/>
                <a:gd name="T1" fmla="*/ 339 h 443"/>
                <a:gd name="T2" fmla="*/ 714 w 824"/>
                <a:gd name="T3" fmla="*/ 443 h 443"/>
                <a:gd name="T4" fmla="*/ 93 w 824"/>
                <a:gd name="T5" fmla="*/ 443 h 443"/>
                <a:gd name="T6" fmla="*/ 0 w 824"/>
                <a:gd name="T7" fmla="*/ 352 h 443"/>
                <a:gd name="T8" fmla="*/ 0 w 824"/>
                <a:gd name="T9" fmla="*/ 351 h 443"/>
                <a:gd name="T10" fmla="*/ 16 w 824"/>
                <a:gd name="T11" fmla="*/ 292 h 443"/>
                <a:gd name="T12" fmla="*/ 118 w 824"/>
                <a:gd name="T13" fmla="*/ 233 h 443"/>
                <a:gd name="T14" fmla="*/ 149 w 824"/>
                <a:gd name="T15" fmla="*/ 238 h 443"/>
                <a:gd name="T16" fmla="*/ 149 w 824"/>
                <a:gd name="T17" fmla="*/ 233 h 443"/>
                <a:gd name="T18" fmla="*/ 267 w 824"/>
                <a:gd name="T19" fmla="*/ 115 h 443"/>
                <a:gd name="T20" fmla="*/ 347 w 824"/>
                <a:gd name="T21" fmla="*/ 147 h 443"/>
                <a:gd name="T22" fmla="*/ 682 w 824"/>
                <a:gd name="T23" fmla="*/ 221 h 443"/>
                <a:gd name="T24" fmla="*/ 681 w 824"/>
                <a:gd name="T25" fmla="*/ 236 h 443"/>
                <a:gd name="T26" fmla="*/ 717 w 824"/>
                <a:gd name="T27" fmla="*/ 229 h 443"/>
                <a:gd name="T28" fmla="*/ 814 w 824"/>
                <a:gd name="T29" fmla="*/ 292 h 443"/>
                <a:gd name="T30" fmla="*/ 824 w 824"/>
                <a:gd name="T31" fmla="*/ 339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24" h="443">
                  <a:moveTo>
                    <a:pt x="824" y="339"/>
                  </a:moveTo>
                  <a:cubicBezTo>
                    <a:pt x="822" y="397"/>
                    <a:pt x="773" y="443"/>
                    <a:pt x="714" y="443"/>
                  </a:cubicBezTo>
                  <a:lnTo>
                    <a:pt x="93" y="443"/>
                  </a:lnTo>
                  <a:cubicBezTo>
                    <a:pt x="43" y="443"/>
                    <a:pt x="0" y="403"/>
                    <a:pt x="0" y="352"/>
                  </a:cubicBezTo>
                  <a:lnTo>
                    <a:pt x="0" y="351"/>
                  </a:lnTo>
                  <a:cubicBezTo>
                    <a:pt x="0" y="330"/>
                    <a:pt x="6" y="309"/>
                    <a:pt x="16" y="292"/>
                  </a:cubicBezTo>
                  <a:cubicBezTo>
                    <a:pt x="36" y="257"/>
                    <a:pt x="74" y="233"/>
                    <a:pt x="118" y="233"/>
                  </a:cubicBezTo>
                  <a:cubicBezTo>
                    <a:pt x="129" y="233"/>
                    <a:pt x="139" y="235"/>
                    <a:pt x="149" y="238"/>
                  </a:cubicBezTo>
                  <a:cubicBezTo>
                    <a:pt x="149" y="236"/>
                    <a:pt x="149" y="235"/>
                    <a:pt x="149" y="233"/>
                  </a:cubicBezTo>
                  <a:cubicBezTo>
                    <a:pt x="149" y="168"/>
                    <a:pt x="202" y="115"/>
                    <a:pt x="267" y="115"/>
                  </a:cubicBezTo>
                  <a:cubicBezTo>
                    <a:pt x="298" y="115"/>
                    <a:pt x="326" y="127"/>
                    <a:pt x="347" y="147"/>
                  </a:cubicBezTo>
                  <a:cubicBezTo>
                    <a:pt x="414" y="0"/>
                    <a:pt x="682" y="22"/>
                    <a:pt x="682" y="221"/>
                  </a:cubicBezTo>
                  <a:cubicBezTo>
                    <a:pt x="682" y="226"/>
                    <a:pt x="681" y="231"/>
                    <a:pt x="681" y="236"/>
                  </a:cubicBezTo>
                  <a:cubicBezTo>
                    <a:pt x="692" y="232"/>
                    <a:pt x="704" y="229"/>
                    <a:pt x="717" y="229"/>
                  </a:cubicBezTo>
                  <a:cubicBezTo>
                    <a:pt x="760" y="229"/>
                    <a:pt x="797" y="255"/>
                    <a:pt x="814" y="292"/>
                  </a:cubicBezTo>
                  <a:cubicBezTo>
                    <a:pt x="821" y="306"/>
                    <a:pt x="824" y="322"/>
                    <a:pt x="824" y="339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grpSp>
        <p:nvGrpSpPr>
          <p:cNvPr id="35" name="그룹 69">
            <a:extLst>
              <a:ext uri="{FF2B5EF4-FFF2-40B4-BE49-F238E27FC236}">
                <a16:creationId xmlns:a16="http://schemas.microsoft.com/office/drawing/2014/main" id="{B158859C-73C3-461B-92B2-0401777E13BF}"/>
              </a:ext>
            </a:extLst>
          </p:cNvPr>
          <p:cNvGrpSpPr/>
          <p:nvPr/>
        </p:nvGrpSpPr>
        <p:grpSpPr>
          <a:xfrm>
            <a:off x="8432832" y="5329341"/>
            <a:ext cx="785055" cy="1209896"/>
            <a:chOff x="4979988" y="223838"/>
            <a:chExt cx="439738" cy="696913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78" name="Rectangle 43">
              <a:extLst>
                <a:ext uri="{FF2B5EF4-FFF2-40B4-BE49-F238E27FC236}">
                  <a16:creationId xmlns:a16="http://schemas.microsoft.com/office/drawing/2014/main" id="{C6754083-994C-4C32-8433-44DEBA2987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92713" y="763588"/>
              <a:ext cx="15875" cy="157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79" name="Freeform 44">
              <a:extLst>
                <a:ext uri="{FF2B5EF4-FFF2-40B4-BE49-F238E27FC236}">
                  <a16:creationId xmlns:a16="http://schemas.microsoft.com/office/drawing/2014/main" id="{BD76D746-EDC2-4D57-82F6-9DBF65D9FA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79988" y="223838"/>
              <a:ext cx="439738" cy="555625"/>
            </a:xfrm>
            <a:custGeom>
              <a:avLst/>
              <a:gdLst>
                <a:gd name="T0" fmla="*/ 289 w 578"/>
                <a:gd name="T1" fmla="*/ 265 h 733"/>
                <a:gd name="T2" fmla="*/ 290 w 578"/>
                <a:gd name="T3" fmla="*/ 265 h 733"/>
                <a:gd name="T4" fmla="*/ 288 w 578"/>
                <a:gd name="T5" fmla="*/ 265 h 733"/>
                <a:gd name="T6" fmla="*/ 289 w 578"/>
                <a:gd name="T7" fmla="*/ 265 h 733"/>
                <a:gd name="T8" fmla="*/ 578 w 578"/>
                <a:gd name="T9" fmla="*/ 733 h 733"/>
                <a:gd name="T10" fmla="*/ 425 w 578"/>
                <a:gd name="T11" fmla="*/ 548 h 733"/>
                <a:gd name="T12" fmla="*/ 524 w 578"/>
                <a:gd name="T13" fmla="*/ 548 h 733"/>
                <a:gd name="T14" fmla="*/ 397 w 578"/>
                <a:gd name="T15" fmla="*/ 395 h 733"/>
                <a:gd name="T16" fmla="*/ 479 w 578"/>
                <a:gd name="T17" fmla="*/ 395 h 733"/>
                <a:gd name="T18" fmla="*/ 381 w 578"/>
                <a:gd name="T19" fmla="*/ 265 h 733"/>
                <a:gd name="T20" fmla="*/ 458 w 578"/>
                <a:gd name="T21" fmla="*/ 265 h 733"/>
                <a:gd name="T22" fmla="*/ 354 w 578"/>
                <a:gd name="T23" fmla="*/ 151 h 733"/>
                <a:gd name="T24" fmla="*/ 427 w 578"/>
                <a:gd name="T25" fmla="*/ 151 h 733"/>
                <a:gd name="T26" fmla="*/ 289 w 578"/>
                <a:gd name="T27" fmla="*/ 0 h 733"/>
                <a:gd name="T28" fmla="*/ 151 w 578"/>
                <a:gd name="T29" fmla="*/ 151 h 733"/>
                <a:gd name="T30" fmla="*/ 224 w 578"/>
                <a:gd name="T31" fmla="*/ 151 h 733"/>
                <a:gd name="T32" fmla="*/ 119 w 578"/>
                <a:gd name="T33" fmla="*/ 265 h 733"/>
                <a:gd name="T34" fmla="*/ 197 w 578"/>
                <a:gd name="T35" fmla="*/ 265 h 733"/>
                <a:gd name="T36" fmla="*/ 99 w 578"/>
                <a:gd name="T37" fmla="*/ 395 h 733"/>
                <a:gd name="T38" fmla="*/ 181 w 578"/>
                <a:gd name="T39" fmla="*/ 395 h 733"/>
                <a:gd name="T40" fmla="*/ 54 w 578"/>
                <a:gd name="T41" fmla="*/ 548 h 733"/>
                <a:gd name="T42" fmla="*/ 153 w 578"/>
                <a:gd name="T43" fmla="*/ 548 h 733"/>
                <a:gd name="T44" fmla="*/ 0 w 578"/>
                <a:gd name="T45" fmla="*/ 733 h 733"/>
                <a:gd name="T46" fmla="*/ 578 w 578"/>
                <a:gd name="T47" fmla="*/ 733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78" h="733">
                  <a:moveTo>
                    <a:pt x="289" y="265"/>
                  </a:moveTo>
                  <a:lnTo>
                    <a:pt x="290" y="265"/>
                  </a:lnTo>
                  <a:lnTo>
                    <a:pt x="288" y="265"/>
                  </a:lnTo>
                  <a:lnTo>
                    <a:pt x="289" y="265"/>
                  </a:lnTo>
                  <a:close/>
                  <a:moveTo>
                    <a:pt x="578" y="733"/>
                  </a:moveTo>
                  <a:lnTo>
                    <a:pt x="425" y="548"/>
                  </a:lnTo>
                  <a:lnTo>
                    <a:pt x="524" y="548"/>
                  </a:lnTo>
                  <a:lnTo>
                    <a:pt x="397" y="395"/>
                  </a:lnTo>
                  <a:lnTo>
                    <a:pt x="479" y="395"/>
                  </a:lnTo>
                  <a:lnTo>
                    <a:pt x="381" y="265"/>
                  </a:lnTo>
                  <a:lnTo>
                    <a:pt x="458" y="265"/>
                  </a:lnTo>
                  <a:lnTo>
                    <a:pt x="354" y="151"/>
                  </a:lnTo>
                  <a:lnTo>
                    <a:pt x="427" y="151"/>
                  </a:lnTo>
                  <a:lnTo>
                    <a:pt x="289" y="0"/>
                  </a:lnTo>
                  <a:lnTo>
                    <a:pt x="151" y="151"/>
                  </a:lnTo>
                  <a:lnTo>
                    <a:pt x="224" y="151"/>
                  </a:lnTo>
                  <a:lnTo>
                    <a:pt x="119" y="265"/>
                  </a:lnTo>
                  <a:lnTo>
                    <a:pt x="197" y="265"/>
                  </a:lnTo>
                  <a:lnTo>
                    <a:pt x="99" y="395"/>
                  </a:lnTo>
                  <a:lnTo>
                    <a:pt x="181" y="395"/>
                  </a:lnTo>
                  <a:lnTo>
                    <a:pt x="54" y="548"/>
                  </a:lnTo>
                  <a:lnTo>
                    <a:pt x="153" y="548"/>
                  </a:lnTo>
                  <a:lnTo>
                    <a:pt x="0" y="733"/>
                  </a:lnTo>
                  <a:lnTo>
                    <a:pt x="578" y="7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80" name="Freeform 45">
              <a:extLst>
                <a:ext uri="{FF2B5EF4-FFF2-40B4-BE49-F238E27FC236}">
                  <a16:creationId xmlns:a16="http://schemas.microsoft.com/office/drawing/2014/main" id="{FAE70D69-CAB9-4E21-BAFF-FEA3540EB86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00650" y="223838"/>
              <a:ext cx="219075" cy="555625"/>
            </a:xfrm>
            <a:custGeom>
              <a:avLst/>
              <a:gdLst>
                <a:gd name="T0" fmla="*/ 136 w 289"/>
                <a:gd name="T1" fmla="*/ 548 h 733"/>
                <a:gd name="T2" fmla="*/ 235 w 289"/>
                <a:gd name="T3" fmla="*/ 548 h 733"/>
                <a:gd name="T4" fmla="*/ 108 w 289"/>
                <a:gd name="T5" fmla="*/ 395 h 733"/>
                <a:gd name="T6" fmla="*/ 190 w 289"/>
                <a:gd name="T7" fmla="*/ 395 h 733"/>
                <a:gd name="T8" fmla="*/ 92 w 289"/>
                <a:gd name="T9" fmla="*/ 265 h 733"/>
                <a:gd name="T10" fmla="*/ 169 w 289"/>
                <a:gd name="T11" fmla="*/ 265 h 733"/>
                <a:gd name="T12" fmla="*/ 65 w 289"/>
                <a:gd name="T13" fmla="*/ 151 h 733"/>
                <a:gd name="T14" fmla="*/ 138 w 289"/>
                <a:gd name="T15" fmla="*/ 151 h 733"/>
                <a:gd name="T16" fmla="*/ 0 w 289"/>
                <a:gd name="T17" fmla="*/ 0 h 733"/>
                <a:gd name="T18" fmla="*/ 0 w 289"/>
                <a:gd name="T19" fmla="*/ 265 h 733"/>
                <a:gd name="T20" fmla="*/ 1 w 289"/>
                <a:gd name="T21" fmla="*/ 265 h 733"/>
                <a:gd name="T22" fmla="*/ 0 w 289"/>
                <a:gd name="T23" fmla="*/ 265 h 733"/>
                <a:gd name="T24" fmla="*/ 0 w 289"/>
                <a:gd name="T25" fmla="*/ 733 h 733"/>
                <a:gd name="T26" fmla="*/ 289 w 289"/>
                <a:gd name="T27" fmla="*/ 733 h 733"/>
                <a:gd name="T28" fmla="*/ 136 w 289"/>
                <a:gd name="T29" fmla="*/ 548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9" h="733">
                  <a:moveTo>
                    <a:pt x="136" y="548"/>
                  </a:moveTo>
                  <a:lnTo>
                    <a:pt x="235" y="548"/>
                  </a:lnTo>
                  <a:lnTo>
                    <a:pt x="108" y="395"/>
                  </a:lnTo>
                  <a:lnTo>
                    <a:pt x="190" y="395"/>
                  </a:lnTo>
                  <a:lnTo>
                    <a:pt x="92" y="265"/>
                  </a:lnTo>
                  <a:lnTo>
                    <a:pt x="169" y="265"/>
                  </a:lnTo>
                  <a:lnTo>
                    <a:pt x="65" y="151"/>
                  </a:lnTo>
                  <a:lnTo>
                    <a:pt x="138" y="151"/>
                  </a:lnTo>
                  <a:lnTo>
                    <a:pt x="0" y="0"/>
                  </a:lnTo>
                  <a:lnTo>
                    <a:pt x="0" y="265"/>
                  </a:lnTo>
                  <a:lnTo>
                    <a:pt x="1" y="265"/>
                  </a:lnTo>
                  <a:lnTo>
                    <a:pt x="0" y="265"/>
                  </a:lnTo>
                  <a:lnTo>
                    <a:pt x="0" y="733"/>
                  </a:lnTo>
                  <a:lnTo>
                    <a:pt x="289" y="733"/>
                  </a:lnTo>
                  <a:lnTo>
                    <a:pt x="136" y="5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grpSp>
        <p:nvGrpSpPr>
          <p:cNvPr id="36" name="그룹 73">
            <a:extLst>
              <a:ext uri="{FF2B5EF4-FFF2-40B4-BE49-F238E27FC236}">
                <a16:creationId xmlns:a16="http://schemas.microsoft.com/office/drawing/2014/main" id="{03A00E83-FC5E-4FCE-9D97-A86937A2D544}"/>
              </a:ext>
            </a:extLst>
          </p:cNvPr>
          <p:cNvGrpSpPr/>
          <p:nvPr/>
        </p:nvGrpSpPr>
        <p:grpSpPr>
          <a:xfrm>
            <a:off x="6394542" y="5358985"/>
            <a:ext cx="565517" cy="791510"/>
            <a:chOff x="5413375" y="214313"/>
            <a:chExt cx="444500" cy="639763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75" name="Rectangle 49">
              <a:extLst>
                <a:ext uri="{FF2B5EF4-FFF2-40B4-BE49-F238E27FC236}">
                  <a16:creationId xmlns:a16="http://schemas.microsoft.com/office/drawing/2014/main" id="{7048C9D9-6DF5-4D4D-B941-F32BFA77A1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22925" y="611188"/>
              <a:ext cx="25400" cy="242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76" name="Freeform 50">
              <a:extLst>
                <a:ext uri="{FF2B5EF4-FFF2-40B4-BE49-F238E27FC236}">
                  <a16:creationId xmlns:a16="http://schemas.microsoft.com/office/drawing/2014/main" id="{5ABB3584-B030-4120-AAD3-6B5F8CE822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3375" y="214313"/>
              <a:ext cx="444500" cy="461963"/>
            </a:xfrm>
            <a:custGeom>
              <a:avLst/>
              <a:gdLst>
                <a:gd name="T0" fmla="*/ 0 w 584"/>
                <a:gd name="T1" fmla="*/ 608 h 608"/>
                <a:gd name="T2" fmla="*/ 151 w 584"/>
                <a:gd name="T3" fmla="*/ 408 h 608"/>
                <a:gd name="T4" fmla="*/ 31 w 584"/>
                <a:gd name="T5" fmla="*/ 408 h 608"/>
                <a:gd name="T6" fmla="*/ 192 w 584"/>
                <a:gd name="T7" fmla="*/ 232 h 608"/>
                <a:gd name="T8" fmla="*/ 80 w 584"/>
                <a:gd name="T9" fmla="*/ 232 h 608"/>
                <a:gd name="T10" fmla="*/ 292 w 584"/>
                <a:gd name="T11" fmla="*/ 0 h 608"/>
                <a:gd name="T12" fmla="*/ 503 w 584"/>
                <a:gd name="T13" fmla="*/ 232 h 608"/>
                <a:gd name="T14" fmla="*/ 391 w 584"/>
                <a:gd name="T15" fmla="*/ 232 h 608"/>
                <a:gd name="T16" fmla="*/ 552 w 584"/>
                <a:gd name="T17" fmla="*/ 408 h 608"/>
                <a:gd name="T18" fmla="*/ 433 w 584"/>
                <a:gd name="T19" fmla="*/ 408 h 608"/>
                <a:gd name="T20" fmla="*/ 584 w 584"/>
                <a:gd name="T21" fmla="*/ 608 h 608"/>
                <a:gd name="T22" fmla="*/ 0 w 584"/>
                <a:gd name="T23" fmla="*/ 608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84" h="608">
                  <a:moveTo>
                    <a:pt x="0" y="608"/>
                  </a:moveTo>
                  <a:lnTo>
                    <a:pt x="151" y="408"/>
                  </a:lnTo>
                  <a:lnTo>
                    <a:pt x="31" y="408"/>
                  </a:lnTo>
                  <a:lnTo>
                    <a:pt x="192" y="232"/>
                  </a:lnTo>
                  <a:lnTo>
                    <a:pt x="80" y="232"/>
                  </a:lnTo>
                  <a:lnTo>
                    <a:pt x="292" y="0"/>
                  </a:lnTo>
                  <a:lnTo>
                    <a:pt x="503" y="232"/>
                  </a:lnTo>
                  <a:lnTo>
                    <a:pt x="391" y="232"/>
                  </a:lnTo>
                  <a:lnTo>
                    <a:pt x="552" y="408"/>
                  </a:lnTo>
                  <a:lnTo>
                    <a:pt x="433" y="408"/>
                  </a:lnTo>
                  <a:lnTo>
                    <a:pt x="584" y="608"/>
                  </a:lnTo>
                  <a:lnTo>
                    <a:pt x="0" y="6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77" name="Freeform 51">
              <a:extLst>
                <a:ext uri="{FF2B5EF4-FFF2-40B4-BE49-F238E27FC236}">
                  <a16:creationId xmlns:a16="http://schemas.microsoft.com/office/drawing/2014/main" id="{1FFF67AB-39FF-4995-9FE9-38317DB30B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5625" y="214313"/>
              <a:ext cx="222250" cy="461963"/>
            </a:xfrm>
            <a:custGeom>
              <a:avLst/>
              <a:gdLst>
                <a:gd name="T0" fmla="*/ 292 w 292"/>
                <a:gd name="T1" fmla="*/ 608 h 608"/>
                <a:gd name="T2" fmla="*/ 0 w 292"/>
                <a:gd name="T3" fmla="*/ 608 h 608"/>
                <a:gd name="T4" fmla="*/ 0 w 292"/>
                <a:gd name="T5" fmla="*/ 0 h 608"/>
                <a:gd name="T6" fmla="*/ 211 w 292"/>
                <a:gd name="T7" fmla="*/ 232 h 608"/>
                <a:gd name="T8" fmla="*/ 99 w 292"/>
                <a:gd name="T9" fmla="*/ 232 h 608"/>
                <a:gd name="T10" fmla="*/ 260 w 292"/>
                <a:gd name="T11" fmla="*/ 408 h 608"/>
                <a:gd name="T12" fmla="*/ 141 w 292"/>
                <a:gd name="T13" fmla="*/ 408 h 608"/>
                <a:gd name="T14" fmla="*/ 292 w 292"/>
                <a:gd name="T15" fmla="*/ 608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2" h="608">
                  <a:moveTo>
                    <a:pt x="292" y="608"/>
                  </a:moveTo>
                  <a:lnTo>
                    <a:pt x="0" y="608"/>
                  </a:lnTo>
                  <a:lnTo>
                    <a:pt x="0" y="0"/>
                  </a:lnTo>
                  <a:lnTo>
                    <a:pt x="211" y="232"/>
                  </a:lnTo>
                  <a:lnTo>
                    <a:pt x="99" y="232"/>
                  </a:lnTo>
                  <a:lnTo>
                    <a:pt x="260" y="408"/>
                  </a:lnTo>
                  <a:lnTo>
                    <a:pt x="141" y="408"/>
                  </a:lnTo>
                  <a:lnTo>
                    <a:pt x="292" y="6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grpSp>
        <p:nvGrpSpPr>
          <p:cNvPr id="37" name="그룹 77">
            <a:extLst>
              <a:ext uri="{FF2B5EF4-FFF2-40B4-BE49-F238E27FC236}">
                <a16:creationId xmlns:a16="http://schemas.microsoft.com/office/drawing/2014/main" id="{6BED55CA-20BE-4696-884C-61E8FE50A1C9}"/>
              </a:ext>
            </a:extLst>
          </p:cNvPr>
          <p:cNvGrpSpPr/>
          <p:nvPr/>
        </p:nvGrpSpPr>
        <p:grpSpPr>
          <a:xfrm>
            <a:off x="2814453" y="5203050"/>
            <a:ext cx="600800" cy="1284156"/>
            <a:chOff x="7313613" y="874713"/>
            <a:chExt cx="473075" cy="1039813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72" name="Rectangle 68">
              <a:extLst>
                <a:ext uri="{FF2B5EF4-FFF2-40B4-BE49-F238E27FC236}">
                  <a16:creationId xmlns:a16="http://schemas.microsoft.com/office/drawing/2014/main" id="{638FD28A-DD81-4034-ACF5-E7AD587B5E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31100" y="1560513"/>
              <a:ext cx="36513" cy="3540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73" name="Freeform 69">
              <a:extLst>
                <a:ext uri="{FF2B5EF4-FFF2-40B4-BE49-F238E27FC236}">
                  <a16:creationId xmlns:a16="http://schemas.microsoft.com/office/drawing/2014/main" id="{70B8F23E-274E-49FD-B318-1D2DD545A65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3613" y="874713"/>
              <a:ext cx="473075" cy="685800"/>
            </a:xfrm>
            <a:custGeom>
              <a:avLst/>
              <a:gdLst>
                <a:gd name="T0" fmla="*/ 39 w 623"/>
                <a:gd name="T1" fmla="*/ 674 h 903"/>
                <a:gd name="T2" fmla="*/ 251 w 623"/>
                <a:gd name="T3" fmla="*/ 58 h 903"/>
                <a:gd name="T4" fmla="*/ 373 w 623"/>
                <a:gd name="T5" fmla="*/ 58 h 903"/>
                <a:gd name="T6" fmla="*/ 584 w 623"/>
                <a:gd name="T7" fmla="*/ 674 h 903"/>
                <a:gd name="T8" fmla="*/ 421 w 623"/>
                <a:gd name="T9" fmla="*/ 903 h 903"/>
                <a:gd name="T10" fmla="*/ 202 w 623"/>
                <a:gd name="T11" fmla="*/ 903 h 903"/>
                <a:gd name="T12" fmla="*/ 39 w 623"/>
                <a:gd name="T13" fmla="*/ 674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3" h="903">
                  <a:moveTo>
                    <a:pt x="39" y="674"/>
                  </a:moveTo>
                  <a:lnTo>
                    <a:pt x="251" y="58"/>
                  </a:lnTo>
                  <a:cubicBezTo>
                    <a:pt x="271" y="0"/>
                    <a:pt x="353" y="0"/>
                    <a:pt x="373" y="58"/>
                  </a:cubicBezTo>
                  <a:lnTo>
                    <a:pt x="584" y="674"/>
                  </a:lnTo>
                  <a:cubicBezTo>
                    <a:pt x="623" y="786"/>
                    <a:pt x="540" y="903"/>
                    <a:pt x="421" y="903"/>
                  </a:cubicBezTo>
                  <a:lnTo>
                    <a:pt x="202" y="903"/>
                  </a:lnTo>
                  <a:cubicBezTo>
                    <a:pt x="84" y="903"/>
                    <a:pt x="0" y="786"/>
                    <a:pt x="39" y="6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74" name="Freeform 72">
              <a:extLst>
                <a:ext uri="{FF2B5EF4-FFF2-40B4-BE49-F238E27FC236}">
                  <a16:creationId xmlns:a16="http://schemas.microsoft.com/office/drawing/2014/main" id="{F132DFD9-3C41-4349-83E8-E92A61BE9596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0150" y="885826"/>
              <a:ext cx="236538" cy="674688"/>
            </a:xfrm>
            <a:custGeom>
              <a:avLst/>
              <a:gdLst>
                <a:gd name="T0" fmla="*/ 61 w 311"/>
                <a:gd name="T1" fmla="*/ 44 h 889"/>
                <a:gd name="T2" fmla="*/ 0 w 311"/>
                <a:gd name="T3" fmla="*/ 0 h 889"/>
                <a:gd name="T4" fmla="*/ 0 w 311"/>
                <a:gd name="T5" fmla="*/ 889 h 889"/>
                <a:gd name="T6" fmla="*/ 109 w 311"/>
                <a:gd name="T7" fmla="*/ 889 h 889"/>
                <a:gd name="T8" fmla="*/ 272 w 311"/>
                <a:gd name="T9" fmla="*/ 660 h 889"/>
                <a:gd name="T10" fmla="*/ 61 w 311"/>
                <a:gd name="T11" fmla="*/ 44 h 8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1" h="889">
                  <a:moveTo>
                    <a:pt x="61" y="44"/>
                  </a:moveTo>
                  <a:cubicBezTo>
                    <a:pt x="51" y="15"/>
                    <a:pt x="25" y="0"/>
                    <a:pt x="0" y="0"/>
                  </a:cubicBezTo>
                  <a:lnTo>
                    <a:pt x="0" y="889"/>
                  </a:lnTo>
                  <a:lnTo>
                    <a:pt x="109" y="889"/>
                  </a:lnTo>
                  <a:cubicBezTo>
                    <a:pt x="228" y="889"/>
                    <a:pt x="311" y="772"/>
                    <a:pt x="272" y="660"/>
                  </a:cubicBezTo>
                  <a:lnTo>
                    <a:pt x="6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grpSp>
        <p:nvGrpSpPr>
          <p:cNvPr id="38" name="그룹 81">
            <a:extLst>
              <a:ext uri="{FF2B5EF4-FFF2-40B4-BE49-F238E27FC236}">
                <a16:creationId xmlns:a16="http://schemas.microsoft.com/office/drawing/2014/main" id="{26E90B53-52E0-4C39-A54B-7ED874D0A4B8}"/>
              </a:ext>
            </a:extLst>
          </p:cNvPr>
          <p:cNvGrpSpPr/>
          <p:nvPr/>
        </p:nvGrpSpPr>
        <p:grpSpPr>
          <a:xfrm>
            <a:off x="2207475" y="5666974"/>
            <a:ext cx="544031" cy="761438"/>
            <a:chOff x="5413375" y="214313"/>
            <a:chExt cx="444500" cy="639763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69" name="Rectangle 49">
              <a:extLst>
                <a:ext uri="{FF2B5EF4-FFF2-40B4-BE49-F238E27FC236}">
                  <a16:creationId xmlns:a16="http://schemas.microsoft.com/office/drawing/2014/main" id="{A9B3948D-0986-4DFE-8234-5900647FF9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22925" y="611188"/>
              <a:ext cx="25400" cy="242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70" name="Freeform 50">
              <a:extLst>
                <a:ext uri="{FF2B5EF4-FFF2-40B4-BE49-F238E27FC236}">
                  <a16:creationId xmlns:a16="http://schemas.microsoft.com/office/drawing/2014/main" id="{B4A88EB7-F40D-4E14-9DF0-9B4FA4FFCE7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3375" y="214313"/>
              <a:ext cx="444500" cy="461963"/>
            </a:xfrm>
            <a:custGeom>
              <a:avLst/>
              <a:gdLst>
                <a:gd name="T0" fmla="*/ 0 w 584"/>
                <a:gd name="T1" fmla="*/ 608 h 608"/>
                <a:gd name="T2" fmla="*/ 151 w 584"/>
                <a:gd name="T3" fmla="*/ 408 h 608"/>
                <a:gd name="T4" fmla="*/ 31 w 584"/>
                <a:gd name="T5" fmla="*/ 408 h 608"/>
                <a:gd name="T6" fmla="*/ 192 w 584"/>
                <a:gd name="T7" fmla="*/ 232 h 608"/>
                <a:gd name="T8" fmla="*/ 80 w 584"/>
                <a:gd name="T9" fmla="*/ 232 h 608"/>
                <a:gd name="T10" fmla="*/ 292 w 584"/>
                <a:gd name="T11" fmla="*/ 0 h 608"/>
                <a:gd name="T12" fmla="*/ 503 w 584"/>
                <a:gd name="T13" fmla="*/ 232 h 608"/>
                <a:gd name="T14" fmla="*/ 391 w 584"/>
                <a:gd name="T15" fmla="*/ 232 h 608"/>
                <a:gd name="T16" fmla="*/ 552 w 584"/>
                <a:gd name="T17" fmla="*/ 408 h 608"/>
                <a:gd name="T18" fmla="*/ 433 w 584"/>
                <a:gd name="T19" fmla="*/ 408 h 608"/>
                <a:gd name="T20" fmla="*/ 584 w 584"/>
                <a:gd name="T21" fmla="*/ 608 h 608"/>
                <a:gd name="T22" fmla="*/ 0 w 584"/>
                <a:gd name="T23" fmla="*/ 608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84" h="608">
                  <a:moveTo>
                    <a:pt x="0" y="608"/>
                  </a:moveTo>
                  <a:lnTo>
                    <a:pt x="151" y="408"/>
                  </a:lnTo>
                  <a:lnTo>
                    <a:pt x="31" y="408"/>
                  </a:lnTo>
                  <a:lnTo>
                    <a:pt x="192" y="232"/>
                  </a:lnTo>
                  <a:lnTo>
                    <a:pt x="80" y="232"/>
                  </a:lnTo>
                  <a:lnTo>
                    <a:pt x="292" y="0"/>
                  </a:lnTo>
                  <a:lnTo>
                    <a:pt x="503" y="232"/>
                  </a:lnTo>
                  <a:lnTo>
                    <a:pt x="391" y="232"/>
                  </a:lnTo>
                  <a:lnTo>
                    <a:pt x="552" y="408"/>
                  </a:lnTo>
                  <a:lnTo>
                    <a:pt x="433" y="408"/>
                  </a:lnTo>
                  <a:lnTo>
                    <a:pt x="584" y="608"/>
                  </a:lnTo>
                  <a:lnTo>
                    <a:pt x="0" y="6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71" name="Freeform 51">
              <a:extLst>
                <a:ext uri="{FF2B5EF4-FFF2-40B4-BE49-F238E27FC236}">
                  <a16:creationId xmlns:a16="http://schemas.microsoft.com/office/drawing/2014/main" id="{17BB6E62-866C-4DFE-9F54-CA75A03620E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5625" y="214313"/>
              <a:ext cx="222250" cy="461963"/>
            </a:xfrm>
            <a:custGeom>
              <a:avLst/>
              <a:gdLst>
                <a:gd name="T0" fmla="*/ 292 w 292"/>
                <a:gd name="T1" fmla="*/ 608 h 608"/>
                <a:gd name="T2" fmla="*/ 0 w 292"/>
                <a:gd name="T3" fmla="*/ 608 h 608"/>
                <a:gd name="T4" fmla="*/ 0 w 292"/>
                <a:gd name="T5" fmla="*/ 0 h 608"/>
                <a:gd name="T6" fmla="*/ 211 w 292"/>
                <a:gd name="T7" fmla="*/ 232 h 608"/>
                <a:gd name="T8" fmla="*/ 99 w 292"/>
                <a:gd name="T9" fmla="*/ 232 h 608"/>
                <a:gd name="T10" fmla="*/ 260 w 292"/>
                <a:gd name="T11" fmla="*/ 408 h 608"/>
                <a:gd name="T12" fmla="*/ 141 w 292"/>
                <a:gd name="T13" fmla="*/ 408 h 608"/>
                <a:gd name="T14" fmla="*/ 292 w 292"/>
                <a:gd name="T15" fmla="*/ 608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2" h="608">
                  <a:moveTo>
                    <a:pt x="292" y="608"/>
                  </a:moveTo>
                  <a:lnTo>
                    <a:pt x="0" y="608"/>
                  </a:lnTo>
                  <a:lnTo>
                    <a:pt x="0" y="0"/>
                  </a:lnTo>
                  <a:lnTo>
                    <a:pt x="211" y="232"/>
                  </a:lnTo>
                  <a:lnTo>
                    <a:pt x="99" y="232"/>
                  </a:lnTo>
                  <a:lnTo>
                    <a:pt x="260" y="408"/>
                  </a:lnTo>
                  <a:lnTo>
                    <a:pt x="141" y="408"/>
                  </a:lnTo>
                  <a:lnTo>
                    <a:pt x="292" y="6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grpSp>
        <p:nvGrpSpPr>
          <p:cNvPr id="39" name="그룹 85">
            <a:extLst>
              <a:ext uri="{FF2B5EF4-FFF2-40B4-BE49-F238E27FC236}">
                <a16:creationId xmlns:a16="http://schemas.microsoft.com/office/drawing/2014/main" id="{86E0C5ED-3811-4D35-8BA0-ACC605C1CDD9}"/>
              </a:ext>
            </a:extLst>
          </p:cNvPr>
          <p:cNvGrpSpPr/>
          <p:nvPr/>
        </p:nvGrpSpPr>
        <p:grpSpPr>
          <a:xfrm>
            <a:off x="483115" y="5897554"/>
            <a:ext cx="275923" cy="525300"/>
            <a:chOff x="4070350" y="60326"/>
            <a:chExt cx="450850" cy="882650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66" name="Rectangle 19">
              <a:extLst>
                <a:ext uri="{FF2B5EF4-FFF2-40B4-BE49-F238E27FC236}">
                  <a16:creationId xmlns:a16="http://schemas.microsoft.com/office/drawing/2014/main" id="{DD2490C8-E687-42F4-AA7D-977572F20A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9900" y="642938"/>
              <a:ext cx="31750" cy="300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67" name="Freeform 20">
              <a:extLst>
                <a:ext uri="{FF2B5EF4-FFF2-40B4-BE49-F238E27FC236}">
                  <a16:creationId xmlns:a16="http://schemas.microsoft.com/office/drawing/2014/main" id="{5D6204CF-AFA5-4017-9A1C-205B8F1977F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0350" y="60326"/>
              <a:ext cx="450850" cy="655638"/>
            </a:xfrm>
            <a:custGeom>
              <a:avLst/>
              <a:gdLst>
                <a:gd name="T0" fmla="*/ 0 w 593"/>
                <a:gd name="T1" fmla="*/ 862 h 862"/>
                <a:gd name="T2" fmla="*/ 297 w 593"/>
                <a:gd name="T3" fmla="*/ 0 h 862"/>
                <a:gd name="T4" fmla="*/ 593 w 593"/>
                <a:gd name="T5" fmla="*/ 862 h 862"/>
                <a:gd name="T6" fmla="*/ 0 w 593"/>
                <a:gd name="T7" fmla="*/ 862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93" h="862">
                  <a:moveTo>
                    <a:pt x="0" y="862"/>
                  </a:moveTo>
                  <a:lnTo>
                    <a:pt x="297" y="0"/>
                  </a:lnTo>
                  <a:lnTo>
                    <a:pt x="593" y="862"/>
                  </a:lnTo>
                  <a:lnTo>
                    <a:pt x="0" y="8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68" name="Freeform 21">
              <a:extLst>
                <a:ext uri="{FF2B5EF4-FFF2-40B4-BE49-F238E27FC236}">
                  <a16:creationId xmlns:a16="http://schemas.microsoft.com/office/drawing/2014/main" id="{12A6FA7C-ABAE-4D11-B67C-91E7905A4B8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5775" y="60326"/>
              <a:ext cx="225425" cy="655638"/>
            </a:xfrm>
            <a:custGeom>
              <a:avLst/>
              <a:gdLst>
                <a:gd name="T0" fmla="*/ 296 w 296"/>
                <a:gd name="T1" fmla="*/ 863 h 863"/>
                <a:gd name="T2" fmla="*/ 0 w 296"/>
                <a:gd name="T3" fmla="*/ 863 h 863"/>
                <a:gd name="T4" fmla="*/ 0 w 296"/>
                <a:gd name="T5" fmla="*/ 0 h 863"/>
                <a:gd name="T6" fmla="*/ 296 w 296"/>
                <a:gd name="T7" fmla="*/ 863 h 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6" h="863">
                  <a:moveTo>
                    <a:pt x="296" y="863"/>
                  </a:moveTo>
                  <a:lnTo>
                    <a:pt x="0" y="863"/>
                  </a:lnTo>
                  <a:lnTo>
                    <a:pt x="0" y="0"/>
                  </a:lnTo>
                  <a:lnTo>
                    <a:pt x="296" y="8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grpSp>
        <p:nvGrpSpPr>
          <p:cNvPr id="40" name="그룹 89">
            <a:extLst>
              <a:ext uri="{FF2B5EF4-FFF2-40B4-BE49-F238E27FC236}">
                <a16:creationId xmlns:a16="http://schemas.microsoft.com/office/drawing/2014/main" id="{AF19BCD4-2EE0-4D22-AD55-7868BF08E231}"/>
              </a:ext>
            </a:extLst>
          </p:cNvPr>
          <p:cNvGrpSpPr/>
          <p:nvPr/>
        </p:nvGrpSpPr>
        <p:grpSpPr>
          <a:xfrm>
            <a:off x="4115973" y="5501912"/>
            <a:ext cx="758859" cy="801929"/>
            <a:chOff x="7986713" y="1112838"/>
            <a:chExt cx="823913" cy="895351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61" name="Freeform 22">
              <a:extLst>
                <a:ext uri="{FF2B5EF4-FFF2-40B4-BE49-F238E27FC236}">
                  <a16:creationId xmlns:a16="http://schemas.microsoft.com/office/drawing/2014/main" id="{F080C437-562B-429B-8C2A-DEE35F93225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2775" y="1501776"/>
              <a:ext cx="333375" cy="506413"/>
            </a:xfrm>
            <a:custGeom>
              <a:avLst/>
              <a:gdLst>
                <a:gd name="T0" fmla="*/ 439 w 439"/>
                <a:gd name="T1" fmla="*/ 71 h 667"/>
                <a:gd name="T2" fmla="*/ 405 w 439"/>
                <a:gd name="T3" fmla="*/ 45 h 667"/>
                <a:gd name="T4" fmla="*/ 243 w 439"/>
                <a:gd name="T5" fmla="*/ 178 h 667"/>
                <a:gd name="T6" fmla="*/ 243 w 439"/>
                <a:gd name="T7" fmla="*/ 0 h 667"/>
                <a:gd name="T8" fmla="*/ 189 w 439"/>
                <a:gd name="T9" fmla="*/ 0 h 667"/>
                <a:gd name="T10" fmla="*/ 189 w 439"/>
                <a:gd name="T11" fmla="*/ 178 h 667"/>
                <a:gd name="T12" fmla="*/ 35 w 439"/>
                <a:gd name="T13" fmla="*/ 31 h 667"/>
                <a:gd name="T14" fmla="*/ 0 w 439"/>
                <a:gd name="T15" fmla="*/ 57 h 667"/>
                <a:gd name="T16" fmla="*/ 189 w 439"/>
                <a:gd name="T17" fmla="*/ 231 h 667"/>
                <a:gd name="T18" fmla="*/ 189 w 439"/>
                <a:gd name="T19" fmla="*/ 667 h 667"/>
                <a:gd name="T20" fmla="*/ 243 w 439"/>
                <a:gd name="T21" fmla="*/ 667 h 667"/>
                <a:gd name="T22" fmla="*/ 243 w 439"/>
                <a:gd name="T23" fmla="*/ 231 h 667"/>
                <a:gd name="T24" fmla="*/ 439 w 439"/>
                <a:gd name="T25" fmla="*/ 71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9" h="667">
                  <a:moveTo>
                    <a:pt x="439" y="71"/>
                  </a:moveTo>
                  <a:lnTo>
                    <a:pt x="405" y="45"/>
                  </a:lnTo>
                  <a:lnTo>
                    <a:pt x="243" y="178"/>
                  </a:lnTo>
                  <a:lnTo>
                    <a:pt x="243" y="0"/>
                  </a:lnTo>
                  <a:lnTo>
                    <a:pt x="189" y="0"/>
                  </a:lnTo>
                  <a:lnTo>
                    <a:pt x="189" y="178"/>
                  </a:lnTo>
                  <a:lnTo>
                    <a:pt x="35" y="31"/>
                  </a:lnTo>
                  <a:lnTo>
                    <a:pt x="0" y="57"/>
                  </a:lnTo>
                  <a:lnTo>
                    <a:pt x="189" y="231"/>
                  </a:lnTo>
                  <a:lnTo>
                    <a:pt x="189" y="667"/>
                  </a:lnTo>
                  <a:lnTo>
                    <a:pt x="243" y="667"/>
                  </a:lnTo>
                  <a:lnTo>
                    <a:pt x="243" y="231"/>
                  </a:lnTo>
                  <a:lnTo>
                    <a:pt x="439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62" name="Oval 23">
              <a:extLst>
                <a:ext uri="{FF2B5EF4-FFF2-40B4-BE49-F238E27FC236}">
                  <a16:creationId xmlns:a16="http://schemas.microsoft.com/office/drawing/2014/main" id="{6867F05A-3625-4EE5-BC60-4A21E0F481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04200" y="1112838"/>
              <a:ext cx="388938" cy="388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63" name="Freeform 24">
              <a:extLst>
                <a:ext uri="{FF2B5EF4-FFF2-40B4-BE49-F238E27FC236}">
                  <a16:creationId xmlns:a16="http://schemas.microsoft.com/office/drawing/2014/main" id="{11FEDDCB-2659-449B-94A3-AFF5764114F7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9463" y="1112838"/>
              <a:ext cx="193675" cy="388938"/>
            </a:xfrm>
            <a:custGeom>
              <a:avLst/>
              <a:gdLst>
                <a:gd name="T0" fmla="*/ 0 w 255"/>
                <a:gd name="T1" fmla="*/ 0 h 512"/>
                <a:gd name="T2" fmla="*/ 0 w 255"/>
                <a:gd name="T3" fmla="*/ 512 h 512"/>
                <a:gd name="T4" fmla="*/ 255 w 255"/>
                <a:gd name="T5" fmla="*/ 256 h 512"/>
                <a:gd name="T6" fmla="*/ 0 w 255"/>
                <a:gd name="T7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5" h="512">
                  <a:moveTo>
                    <a:pt x="0" y="0"/>
                  </a:moveTo>
                  <a:lnTo>
                    <a:pt x="0" y="512"/>
                  </a:lnTo>
                  <a:cubicBezTo>
                    <a:pt x="141" y="511"/>
                    <a:pt x="255" y="397"/>
                    <a:pt x="255" y="256"/>
                  </a:cubicBezTo>
                  <a:cubicBezTo>
                    <a:pt x="255" y="115"/>
                    <a:pt x="14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64" name="Oval 25">
              <a:extLst>
                <a:ext uri="{FF2B5EF4-FFF2-40B4-BE49-F238E27FC236}">
                  <a16:creationId xmlns:a16="http://schemas.microsoft.com/office/drawing/2014/main" id="{127D1B94-C0F2-44DA-AC18-393411192F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86713" y="1176338"/>
              <a:ext cx="390525" cy="388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65" name="Oval 26">
              <a:extLst>
                <a:ext uri="{FF2B5EF4-FFF2-40B4-BE49-F238E27FC236}">
                  <a16:creationId xmlns:a16="http://schemas.microsoft.com/office/drawing/2014/main" id="{AC7BB1D7-6182-49C1-A837-71184C2342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21688" y="1176338"/>
              <a:ext cx="388938" cy="388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grpSp>
        <p:nvGrpSpPr>
          <p:cNvPr id="41" name="그룹 95">
            <a:extLst>
              <a:ext uri="{FF2B5EF4-FFF2-40B4-BE49-F238E27FC236}">
                <a16:creationId xmlns:a16="http://schemas.microsoft.com/office/drawing/2014/main" id="{2F656AB5-2D04-451C-9D92-C1BA1D3FF120}"/>
              </a:ext>
            </a:extLst>
          </p:cNvPr>
          <p:cNvGrpSpPr/>
          <p:nvPr/>
        </p:nvGrpSpPr>
        <p:grpSpPr>
          <a:xfrm>
            <a:off x="778472" y="5851132"/>
            <a:ext cx="457099" cy="483043"/>
            <a:chOff x="7986713" y="1112838"/>
            <a:chExt cx="823913" cy="895351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56" name="Freeform 22">
              <a:extLst>
                <a:ext uri="{FF2B5EF4-FFF2-40B4-BE49-F238E27FC236}">
                  <a16:creationId xmlns:a16="http://schemas.microsoft.com/office/drawing/2014/main" id="{C906E5B4-C303-4F89-BA32-829785D363C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2775" y="1501776"/>
              <a:ext cx="333375" cy="506413"/>
            </a:xfrm>
            <a:custGeom>
              <a:avLst/>
              <a:gdLst>
                <a:gd name="T0" fmla="*/ 439 w 439"/>
                <a:gd name="T1" fmla="*/ 71 h 667"/>
                <a:gd name="T2" fmla="*/ 405 w 439"/>
                <a:gd name="T3" fmla="*/ 45 h 667"/>
                <a:gd name="T4" fmla="*/ 243 w 439"/>
                <a:gd name="T5" fmla="*/ 178 h 667"/>
                <a:gd name="T6" fmla="*/ 243 w 439"/>
                <a:gd name="T7" fmla="*/ 0 h 667"/>
                <a:gd name="T8" fmla="*/ 189 w 439"/>
                <a:gd name="T9" fmla="*/ 0 h 667"/>
                <a:gd name="T10" fmla="*/ 189 w 439"/>
                <a:gd name="T11" fmla="*/ 178 h 667"/>
                <a:gd name="T12" fmla="*/ 35 w 439"/>
                <a:gd name="T13" fmla="*/ 31 h 667"/>
                <a:gd name="T14" fmla="*/ 0 w 439"/>
                <a:gd name="T15" fmla="*/ 57 h 667"/>
                <a:gd name="T16" fmla="*/ 189 w 439"/>
                <a:gd name="T17" fmla="*/ 231 h 667"/>
                <a:gd name="T18" fmla="*/ 189 w 439"/>
                <a:gd name="T19" fmla="*/ 667 h 667"/>
                <a:gd name="T20" fmla="*/ 243 w 439"/>
                <a:gd name="T21" fmla="*/ 667 h 667"/>
                <a:gd name="T22" fmla="*/ 243 w 439"/>
                <a:gd name="T23" fmla="*/ 231 h 667"/>
                <a:gd name="T24" fmla="*/ 439 w 439"/>
                <a:gd name="T25" fmla="*/ 71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9" h="667">
                  <a:moveTo>
                    <a:pt x="439" y="71"/>
                  </a:moveTo>
                  <a:lnTo>
                    <a:pt x="405" y="45"/>
                  </a:lnTo>
                  <a:lnTo>
                    <a:pt x="243" y="178"/>
                  </a:lnTo>
                  <a:lnTo>
                    <a:pt x="243" y="0"/>
                  </a:lnTo>
                  <a:lnTo>
                    <a:pt x="189" y="0"/>
                  </a:lnTo>
                  <a:lnTo>
                    <a:pt x="189" y="178"/>
                  </a:lnTo>
                  <a:lnTo>
                    <a:pt x="35" y="31"/>
                  </a:lnTo>
                  <a:lnTo>
                    <a:pt x="0" y="57"/>
                  </a:lnTo>
                  <a:lnTo>
                    <a:pt x="189" y="231"/>
                  </a:lnTo>
                  <a:lnTo>
                    <a:pt x="189" y="667"/>
                  </a:lnTo>
                  <a:lnTo>
                    <a:pt x="243" y="667"/>
                  </a:lnTo>
                  <a:lnTo>
                    <a:pt x="243" y="231"/>
                  </a:lnTo>
                  <a:lnTo>
                    <a:pt x="439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57" name="Oval 23">
              <a:extLst>
                <a:ext uri="{FF2B5EF4-FFF2-40B4-BE49-F238E27FC236}">
                  <a16:creationId xmlns:a16="http://schemas.microsoft.com/office/drawing/2014/main" id="{7F61D45E-65B6-45F0-9FAB-65F899C642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04200" y="1112838"/>
              <a:ext cx="388938" cy="388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58" name="Freeform 24">
              <a:extLst>
                <a:ext uri="{FF2B5EF4-FFF2-40B4-BE49-F238E27FC236}">
                  <a16:creationId xmlns:a16="http://schemas.microsoft.com/office/drawing/2014/main" id="{28159E6D-AC4C-451F-AD91-B5F9AD9BE44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9463" y="1112838"/>
              <a:ext cx="193675" cy="388938"/>
            </a:xfrm>
            <a:custGeom>
              <a:avLst/>
              <a:gdLst>
                <a:gd name="T0" fmla="*/ 0 w 255"/>
                <a:gd name="T1" fmla="*/ 0 h 512"/>
                <a:gd name="T2" fmla="*/ 0 w 255"/>
                <a:gd name="T3" fmla="*/ 512 h 512"/>
                <a:gd name="T4" fmla="*/ 255 w 255"/>
                <a:gd name="T5" fmla="*/ 256 h 512"/>
                <a:gd name="T6" fmla="*/ 0 w 255"/>
                <a:gd name="T7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5" h="512">
                  <a:moveTo>
                    <a:pt x="0" y="0"/>
                  </a:moveTo>
                  <a:lnTo>
                    <a:pt x="0" y="512"/>
                  </a:lnTo>
                  <a:cubicBezTo>
                    <a:pt x="141" y="511"/>
                    <a:pt x="255" y="397"/>
                    <a:pt x="255" y="256"/>
                  </a:cubicBezTo>
                  <a:cubicBezTo>
                    <a:pt x="255" y="115"/>
                    <a:pt x="14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59" name="Oval 25">
              <a:extLst>
                <a:ext uri="{FF2B5EF4-FFF2-40B4-BE49-F238E27FC236}">
                  <a16:creationId xmlns:a16="http://schemas.microsoft.com/office/drawing/2014/main" id="{F306F638-940D-428E-A205-2890EA8761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86713" y="1176338"/>
              <a:ext cx="390525" cy="388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60" name="Oval 26">
              <a:extLst>
                <a:ext uri="{FF2B5EF4-FFF2-40B4-BE49-F238E27FC236}">
                  <a16:creationId xmlns:a16="http://schemas.microsoft.com/office/drawing/2014/main" id="{9ED5CC7B-8A11-4B7B-A6EC-AB8FC862B0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21688" y="1176338"/>
              <a:ext cx="388938" cy="388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grpSp>
        <p:nvGrpSpPr>
          <p:cNvPr id="42" name="그룹 101">
            <a:extLst>
              <a:ext uri="{FF2B5EF4-FFF2-40B4-BE49-F238E27FC236}">
                <a16:creationId xmlns:a16="http://schemas.microsoft.com/office/drawing/2014/main" id="{8C37FB4C-6DDB-4BCF-9725-5003D1147D47}"/>
              </a:ext>
            </a:extLst>
          </p:cNvPr>
          <p:cNvGrpSpPr/>
          <p:nvPr/>
        </p:nvGrpSpPr>
        <p:grpSpPr>
          <a:xfrm>
            <a:off x="3361942" y="5780275"/>
            <a:ext cx="448729" cy="691563"/>
            <a:chOff x="4979988" y="223838"/>
            <a:chExt cx="439738" cy="696913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53" name="Rectangle 43">
              <a:extLst>
                <a:ext uri="{FF2B5EF4-FFF2-40B4-BE49-F238E27FC236}">
                  <a16:creationId xmlns:a16="http://schemas.microsoft.com/office/drawing/2014/main" id="{80762300-FB5F-446C-942A-1B5199BCCC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92713" y="763588"/>
              <a:ext cx="15875" cy="157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54" name="Freeform 44">
              <a:extLst>
                <a:ext uri="{FF2B5EF4-FFF2-40B4-BE49-F238E27FC236}">
                  <a16:creationId xmlns:a16="http://schemas.microsoft.com/office/drawing/2014/main" id="{48D5BFB7-4EBA-4A14-BDC1-C3AB915421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79988" y="223838"/>
              <a:ext cx="439738" cy="555625"/>
            </a:xfrm>
            <a:custGeom>
              <a:avLst/>
              <a:gdLst>
                <a:gd name="T0" fmla="*/ 289 w 578"/>
                <a:gd name="T1" fmla="*/ 265 h 733"/>
                <a:gd name="T2" fmla="*/ 290 w 578"/>
                <a:gd name="T3" fmla="*/ 265 h 733"/>
                <a:gd name="T4" fmla="*/ 288 w 578"/>
                <a:gd name="T5" fmla="*/ 265 h 733"/>
                <a:gd name="T6" fmla="*/ 289 w 578"/>
                <a:gd name="T7" fmla="*/ 265 h 733"/>
                <a:gd name="T8" fmla="*/ 578 w 578"/>
                <a:gd name="T9" fmla="*/ 733 h 733"/>
                <a:gd name="T10" fmla="*/ 425 w 578"/>
                <a:gd name="T11" fmla="*/ 548 h 733"/>
                <a:gd name="T12" fmla="*/ 524 w 578"/>
                <a:gd name="T13" fmla="*/ 548 h 733"/>
                <a:gd name="T14" fmla="*/ 397 w 578"/>
                <a:gd name="T15" fmla="*/ 395 h 733"/>
                <a:gd name="T16" fmla="*/ 479 w 578"/>
                <a:gd name="T17" fmla="*/ 395 h 733"/>
                <a:gd name="T18" fmla="*/ 381 w 578"/>
                <a:gd name="T19" fmla="*/ 265 h 733"/>
                <a:gd name="T20" fmla="*/ 458 w 578"/>
                <a:gd name="T21" fmla="*/ 265 h 733"/>
                <a:gd name="T22" fmla="*/ 354 w 578"/>
                <a:gd name="T23" fmla="*/ 151 h 733"/>
                <a:gd name="T24" fmla="*/ 427 w 578"/>
                <a:gd name="T25" fmla="*/ 151 h 733"/>
                <a:gd name="T26" fmla="*/ 289 w 578"/>
                <a:gd name="T27" fmla="*/ 0 h 733"/>
                <a:gd name="T28" fmla="*/ 151 w 578"/>
                <a:gd name="T29" fmla="*/ 151 h 733"/>
                <a:gd name="T30" fmla="*/ 224 w 578"/>
                <a:gd name="T31" fmla="*/ 151 h 733"/>
                <a:gd name="T32" fmla="*/ 119 w 578"/>
                <a:gd name="T33" fmla="*/ 265 h 733"/>
                <a:gd name="T34" fmla="*/ 197 w 578"/>
                <a:gd name="T35" fmla="*/ 265 h 733"/>
                <a:gd name="T36" fmla="*/ 99 w 578"/>
                <a:gd name="T37" fmla="*/ 395 h 733"/>
                <a:gd name="T38" fmla="*/ 181 w 578"/>
                <a:gd name="T39" fmla="*/ 395 h 733"/>
                <a:gd name="T40" fmla="*/ 54 w 578"/>
                <a:gd name="T41" fmla="*/ 548 h 733"/>
                <a:gd name="T42" fmla="*/ 153 w 578"/>
                <a:gd name="T43" fmla="*/ 548 h 733"/>
                <a:gd name="T44" fmla="*/ 0 w 578"/>
                <a:gd name="T45" fmla="*/ 733 h 733"/>
                <a:gd name="T46" fmla="*/ 578 w 578"/>
                <a:gd name="T47" fmla="*/ 733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78" h="733">
                  <a:moveTo>
                    <a:pt x="289" y="265"/>
                  </a:moveTo>
                  <a:lnTo>
                    <a:pt x="290" y="265"/>
                  </a:lnTo>
                  <a:lnTo>
                    <a:pt x="288" y="265"/>
                  </a:lnTo>
                  <a:lnTo>
                    <a:pt x="289" y="265"/>
                  </a:lnTo>
                  <a:close/>
                  <a:moveTo>
                    <a:pt x="578" y="733"/>
                  </a:moveTo>
                  <a:lnTo>
                    <a:pt x="425" y="548"/>
                  </a:lnTo>
                  <a:lnTo>
                    <a:pt x="524" y="548"/>
                  </a:lnTo>
                  <a:lnTo>
                    <a:pt x="397" y="395"/>
                  </a:lnTo>
                  <a:lnTo>
                    <a:pt x="479" y="395"/>
                  </a:lnTo>
                  <a:lnTo>
                    <a:pt x="381" y="265"/>
                  </a:lnTo>
                  <a:lnTo>
                    <a:pt x="458" y="265"/>
                  </a:lnTo>
                  <a:lnTo>
                    <a:pt x="354" y="151"/>
                  </a:lnTo>
                  <a:lnTo>
                    <a:pt x="427" y="151"/>
                  </a:lnTo>
                  <a:lnTo>
                    <a:pt x="289" y="0"/>
                  </a:lnTo>
                  <a:lnTo>
                    <a:pt x="151" y="151"/>
                  </a:lnTo>
                  <a:lnTo>
                    <a:pt x="224" y="151"/>
                  </a:lnTo>
                  <a:lnTo>
                    <a:pt x="119" y="265"/>
                  </a:lnTo>
                  <a:lnTo>
                    <a:pt x="197" y="265"/>
                  </a:lnTo>
                  <a:lnTo>
                    <a:pt x="99" y="395"/>
                  </a:lnTo>
                  <a:lnTo>
                    <a:pt x="181" y="395"/>
                  </a:lnTo>
                  <a:lnTo>
                    <a:pt x="54" y="548"/>
                  </a:lnTo>
                  <a:lnTo>
                    <a:pt x="153" y="548"/>
                  </a:lnTo>
                  <a:lnTo>
                    <a:pt x="0" y="733"/>
                  </a:lnTo>
                  <a:lnTo>
                    <a:pt x="578" y="7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55" name="Freeform 45">
              <a:extLst>
                <a:ext uri="{FF2B5EF4-FFF2-40B4-BE49-F238E27FC236}">
                  <a16:creationId xmlns:a16="http://schemas.microsoft.com/office/drawing/2014/main" id="{3C871FFE-DCEC-4D91-8736-D5292212D5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00650" y="223838"/>
              <a:ext cx="219075" cy="555625"/>
            </a:xfrm>
            <a:custGeom>
              <a:avLst/>
              <a:gdLst>
                <a:gd name="T0" fmla="*/ 136 w 289"/>
                <a:gd name="T1" fmla="*/ 548 h 733"/>
                <a:gd name="T2" fmla="*/ 235 w 289"/>
                <a:gd name="T3" fmla="*/ 548 h 733"/>
                <a:gd name="T4" fmla="*/ 108 w 289"/>
                <a:gd name="T5" fmla="*/ 395 h 733"/>
                <a:gd name="T6" fmla="*/ 190 w 289"/>
                <a:gd name="T7" fmla="*/ 395 h 733"/>
                <a:gd name="T8" fmla="*/ 92 w 289"/>
                <a:gd name="T9" fmla="*/ 265 h 733"/>
                <a:gd name="T10" fmla="*/ 169 w 289"/>
                <a:gd name="T11" fmla="*/ 265 h 733"/>
                <a:gd name="T12" fmla="*/ 65 w 289"/>
                <a:gd name="T13" fmla="*/ 151 h 733"/>
                <a:gd name="T14" fmla="*/ 138 w 289"/>
                <a:gd name="T15" fmla="*/ 151 h 733"/>
                <a:gd name="T16" fmla="*/ 0 w 289"/>
                <a:gd name="T17" fmla="*/ 0 h 733"/>
                <a:gd name="T18" fmla="*/ 0 w 289"/>
                <a:gd name="T19" fmla="*/ 265 h 733"/>
                <a:gd name="T20" fmla="*/ 1 w 289"/>
                <a:gd name="T21" fmla="*/ 265 h 733"/>
                <a:gd name="T22" fmla="*/ 0 w 289"/>
                <a:gd name="T23" fmla="*/ 265 h 733"/>
                <a:gd name="T24" fmla="*/ 0 w 289"/>
                <a:gd name="T25" fmla="*/ 733 h 733"/>
                <a:gd name="T26" fmla="*/ 289 w 289"/>
                <a:gd name="T27" fmla="*/ 733 h 733"/>
                <a:gd name="T28" fmla="*/ 136 w 289"/>
                <a:gd name="T29" fmla="*/ 548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9" h="733">
                  <a:moveTo>
                    <a:pt x="136" y="548"/>
                  </a:moveTo>
                  <a:lnTo>
                    <a:pt x="235" y="548"/>
                  </a:lnTo>
                  <a:lnTo>
                    <a:pt x="108" y="395"/>
                  </a:lnTo>
                  <a:lnTo>
                    <a:pt x="190" y="395"/>
                  </a:lnTo>
                  <a:lnTo>
                    <a:pt x="92" y="265"/>
                  </a:lnTo>
                  <a:lnTo>
                    <a:pt x="169" y="265"/>
                  </a:lnTo>
                  <a:lnTo>
                    <a:pt x="65" y="151"/>
                  </a:lnTo>
                  <a:lnTo>
                    <a:pt x="138" y="151"/>
                  </a:lnTo>
                  <a:lnTo>
                    <a:pt x="0" y="0"/>
                  </a:lnTo>
                  <a:lnTo>
                    <a:pt x="0" y="265"/>
                  </a:lnTo>
                  <a:lnTo>
                    <a:pt x="1" y="265"/>
                  </a:lnTo>
                  <a:lnTo>
                    <a:pt x="0" y="265"/>
                  </a:lnTo>
                  <a:lnTo>
                    <a:pt x="0" y="733"/>
                  </a:lnTo>
                  <a:lnTo>
                    <a:pt x="289" y="733"/>
                  </a:lnTo>
                  <a:lnTo>
                    <a:pt x="136" y="5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grpSp>
        <p:nvGrpSpPr>
          <p:cNvPr id="43" name="그룹 105">
            <a:extLst>
              <a:ext uri="{FF2B5EF4-FFF2-40B4-BE49-F238E27FC236}">
                <a16:creationId xmlns:a16="http://schemas.microsoft.com/office/drawing/2014/main" id="{00D333D9-7A05-44B6-B44A-09A5404DF3F9}"/>
              </a:ext>
            </a:extLst>
          </p:cNvPr>
          <p:cNvGrpSpPr/>
          <p:nvPr/>
        </p:nvGrpSpPr>
        <p:grpSpPr>
          <a:xfrm rot="242710">
            <a:off x="1324598" y="6062869"/>
            <a:ext cx="382353" cy="200999"/>
            <a:chOff x="9777413" y="344488"/>
            <a:chExt cx="919163" cy="496888"/>
          </a:xfrm>
          <a:solidFill>
            <a:srgbClr val="3A876B">
              <a:lumMod val="40000"/>
              <a:lumOff val="60000"/>
            </a:srgbClr>
          </a:solidFill>
        </p:grpSpPr>
        <p:sp>
          <p:nvSpPr>
            <p:cNvPr id="51" name="Freeform 27">
              <a:extLst>
                <a:ext uri="{FF2B5EF4-FFF2-40B4-BE49-F238E27FC236}">
                  <a16:creationId xmlns:a16="http://schemas.microsoft.com/office/drawing/2014/main" id="{FFF157EC-1FA6-4918-B286-081FC6D2E9F6}"/>
                </a:ext>
              </a:extLst>
            </p:cNvPr>
            <p:cNvSpPr>
              <a:spLocks/>
            </p:cNvSpPr>
            <p:nvPr/>
          </p:nvSpPr>
          <p:spPr bwMode="auto">
            <a:xfrm>
              <a:off x="9777413" y="344488"/>
              <a:ext cx="919163" cy="496888"/>
            </a:xfrm>
            <a:custGeom>
              <a:avLst/>
              <a:gdLst>
                <a:gd name="T0" fmla="*/ 1175 w 1211"/>
                <a:gd name="T1" fmla="*/ 654 h 654"/>
                <a:gd name="T2" fmla="*/ 14 w 1211"/>
                <a:gd name="T3" fmla="*/ 654 h 654"/>
                <a:gd name="T4" fmla="*/ 145 w 1211"/>
                <a:gd name="T5" fmla="*/ 583 h 654"/>
                <a:gd name="T6" fmla="*/ 0 w 1211"/>
                <a:gd name="T7" fmla="*/ 593 h 654"/>
                <a:gd name="T8" fmla="*/ 145 w 1211"/>
                <a:gd name="T9" fmla="*/ 507 h 654"/>
                <a:gd name="T10" fmla="*/ 0 w 1211"/>
                <a:gd name="T11" fmla="*/ 460 h 654"/>
                <a:gd name="T12" fmla="*/ 125 w 1211"/>
                <a:gd name="T13" fmla="*/ 450 h 654"/>
                <a:gd name="T14" fmla="*/ 11 w 1211"/>
                <a:gd name="T15" fmla="*/ 399 h 654"/>
                <a:gd name="T16" fmla="*/ 173 w 1211"/>
                <a:gd name="T17" fmla="*/ 372 h 654"/>
                <a:gd name="T18" fmla="*/ 74 w 1211"/>
                <a:gd name="T19" fmla="*/ 305 h 654"/>
                <a:gd name="T20" fmla="*/ 205 w 1211"/>
                <a:gd name="T21" fmla="*/ 290 h 654"/>
                <a:gd name="T22" fmla="*/ 137 w 1211"/>
                <a:gd name="T23" fmla="*/ 231 h 654"/>
                <a:gd name="T24" fmla="*/ 261 w 1211"/>
                <a:gd name="T25" fmla="*/ 209 h 654"/>
                <a:gd name="T26" fmla="*/ 193 w 1211"/>
                <a:gd name="T27" fmla="*/ 140 h 654"/>
                <a:gd name="T28" fmla="*/ 326 w 1211"/>
                <a:gd name="T29" fmla="*/ 136 h 654"/>
                <a:gd name="T30" fmla="*/ 279 w 1211"/>
                <a:gd name="T31" fmla="*/ 62 h 654"/>
                <a:gd name="T32" fmla="*/ 463 w 1211"/>
                <a:gd name="T33" fmla="*/ 110 h 654"/>
                <a:gd name="T34" fmla="*/ 415 w 1211"/>
                <a:gd name="T35" fmla="*/ 17 h 654"/>
                <a:gd name="T36" fmla="*/ 552 w 1211"/>
                <a:gd name="T37" fmla="*/ 96 h 654"/>
                <a:gd name="T38" fmla="*/ 557 w 1211"/>
                <a:gd name="T39" fmla="*/ 17 h 654"/>
                <a:gd name="T40" fmla="*/ 634 w 1211"/>
                <a:gd name="T41" fmla="*/ 84 h 654"/>
                <a:gd name="T42" fmla="*/ 699 w 1211"/>
                <a:gd name="T43" fmla="*/ 0 h 654"/>
                <a:gd name="T44" fmla="*/ 696 w 1211"/>
                <a:gd name="T45" fmla="*/ 96 h 654"/>
                <a:gd name="T46" fmla="*/ 814 w 1211"/>
                <a:gd name="T47" fmla="*/ 40 h 654"/>
                <a:gd name="T48" fmla="*/ 770 w 1211"/>
                <a:gd name="T49" fmla="*/ 123 h 654"/>
                <a:gd name="T50" fmla="*/ 879 w 1211"/>
                <a:gd name="T51" fmla="*/ 62 h 654"/>
                <a:gd name="T52" fmla="*/ 856 w 1211"/>
                <a:gd name="T53" fmla="*/ 155 h 654"/>
                <a:gd name="T54" fmla="*/ 972 w 1211"/>
                <a:gd name="T55" fmla="*/ 122 h 654"/>
                <a:gd name="T56" fmla="*/ 948 w 1211"/>
                <a:gd name="T57" fmla="*/ 195 h 654"/>
                <a:gd name="T58" fmla="*/ 1066 w 1211"/>
                <a:gd name="T59" fmla="*/ 184 h 654"/>
                <a:gd name="T60" fmla="*/ 1004 w 1211"/>
                <a:gd name="T61" fmla="*/ 260 h 654"/>
                <a:gd name="T62" fmla="*/ 1140 w 1211"/>
                <a:gd name="T63" fmla="*/ 266 h 654"/>
                <a:gd name="T64" fmla="*/ 1068 w 1211"/>
                <a:gd name="T65" fmla="*/ 337 h 654"/>
                <a:gd name="T66" fmla="*/ 1175 w 1211"/>
                <a:gd name="T67" fmla="*/ 357 h 654"/>
                <a:gd name="T68" fmla="*/ 1093 w 1211"/>
                <a:gd name="T69" fmla="*/ 399 h 654"/>
                <a:gd name="T70" fmla="*/ 1181 w 1211"/>
                <a:gd name="T71" fmla="*/ 448 h 654"/>
                <a:gd name="T72" fmla="*/ 1095 w 1211"/>
                <a:gd name="T73" fmla="*/ 500 h 654"/>
                <a:gd name="T74" fmla="*/ 1211 w 1211"/>
                <a:gd name="T75" fmla="*/ 561 h 654"/>
                <a:gd name="T76" fmla="*/ 1104 w 1211"/>
                <a:gd name="T77" fmla="*/ 591 h 654"/>
                <a:gd name="T78" fmla="*/ 1175 w 1211"/>
                <a:gd name="T79" fmla="*/ 654 h 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11" h="654">
                  <a:moveTo>
                    <a:pt x="1175" y="654"/>
                  </a:moveTo>
                  <a:lnTo>
                    <a:pt x="14" y="654"/>
                  </a:lnTo>
                  <a:cubicBezTo>
                    <a:pt x="14" y="654"/>
                    <a:pt x="37" y="596"/>
                    <a:pt x="145" y="583"/>
                  </a:cubicBezTo>
                  <a:cubicBezTo>
                    <a:pt x="145" y="583"/>
                    <a:pt x="86" y="561"/>
                    <a:pt x="0" y="593"/>
                  </a:cubicBezTo>
                  <a:cubicBezTo>
                    <a:pt x="0" y="593"/>
                    <a:pt x="15" y="539"/>
                    <a:pt x="145" y="507"/>
                  </a:cubicBezTo>
                  <a:cubicBezTo>
                    <a:pt x="145" y="507"/>
                    <a:pt x="35" y="503"/>
                    <a:pt x="0" y="460"/>
                  </a:cubicBezTo>
                  <a:cubicBezTo>
                    <a:pt x="0" y="460"/>
                    <a:pt x="69" y="480"/>
                    <a:pt x="125" y="450"/>
                  </a:cubicBezTo>
                  <a:cubicBezTo>
                    <a:pt x="125" y="450"/>
                    <a:pt x="62" y="389"/>
                    <a:pt x="11" y="399"/>
                  </a:cubicBezTo>
                  <a:cubicBezTo>
                    <a:pt x="11" y="399"/>
                    <a:pt x="61" y="355"/>
                    <a:pt x="173" y="372"/>
                  </a:cubicBezTo>
                  <a:cubicBezTo>
                    <a:pt x="173" y="372"/>
                    <a:pt x="113" y="300"/>
                    <a:pt x="74" y="305"/>
                  </a:cubicBezTo>
                  <a:cubicBezTo>
                    <a:pt x="74" y="305"/>
                    <a:pt x="110" y="271"/>
                    <a:pt x="205" y="290"/>
                  </a:cubicBezTo>
                  <a:cubicBezTo>
                    <a:pt x="205" y="290"/>
                    <a:pt x="174" y="237"/>
                    <a:pt x="137" y="231"/>
                  </a:cubicBezTo>
                  <a:cubicBezTo>
                    <a:pt x="137" y="231"/>
                    <a:pt x="154" y="184"/>
                    <a:pt x="261" y="209"/>
                  </a:cubicBezTo>
                  <a:cubicBezTo>
                    <a:pt x="261" y="209"/>
                    <a:pt x="244" y="143"/>
                    <a:pt x="193" y="140"/>
                  </a:cubicBezTo>
                  <a:cubicBezTo>
                    <a:pt x="193" y="140"/>
                    <a:pt x="253" y="102"/>
                    <a:pt x="326" y="136"/>
                  </a:cubicBezTo>
                  <a:cubicBezTo>
                    <a:pt x="326" y="136"/>
                    <a:pt x="308" y="67"/>
                    <a:pt x="279" y="62"/>
                  </a:cubicBezTo>
                  <a:cubicBezTo>
                    <a:pt x="279" y="62"/>
                    <a:pt x="418" y="62"/>
                    <a:pt x="463" y="110"/>
                  </a:cubicBezTo>
                  <a:cubicBezTo>
                    <a:pt x="463" y="110"/>
                    <a:pt x="444" y="47"/>
                    <a:pt x="415" y="17"/>
                  </a:cubicBezTo>
                  <a:cubicBezTo>
                    <a:pt x="415" y="17"/>
                    <a:pt x="548" y="43"/>
                    <a:pt x="552" y="96"/>
                  </a:cubicBezTo>
                  <a:cubicBezTo>
                    <a:pt x="552" y="96"/>
                    <a:pt x="569" y="57"/>
                    <a:pt x="557" y="17"/>
                  </a:cubicBezTo>
                  <a:cubicBezTo>
                    <a:pt x="557" y="17"/>
                    <a:pt x="626" y="35"/>
                    <a:pt x="634" y="84"/>
                  </a:cubicBezTo>
                  <a:cubicBezTo>
                    <a:pt x="634" y="84"/>
                    <a:pt x="660" y="12"/>
                    <a:pt x="699" y="0"/>
                  </a:cubicBezTo>
                  <a:cubicBezTo>
                    <a:pt x="699" y="0"/>
                    <a:pt x="684" y="68"/>
                    <a:pt x="696" y="96"/>
                  </a:cubicBezTo>
                  <a:cubicBezTo>
                    <a:pt x="696" y="96"/>
                    <a:pt x="757" y="59"/>
                    <a:pt x="814" y="40"/>
                  </a:cubicBezTo>
                  <a:cubicBezTo>
                    <a:pt x="814" y="40"/>
                    <a:pt x="770" y="85"/>
                    <a:pt x="770" y="123"/>
                  </a:cubicBezTo>
                  <a:cubicBezTo>
                    <a:pt x="770" y="123"/>
                    <a:pt x="827" y="66"/>
                    <a:pt x="879" y="62"/>
                  </a:cubicBezTo>
                  <a:cubicBezTo>
                    <a:pt x="879" y="62"/>
                    <a:pt x="811" y="136"/>
                    <a:pt x="856" y="155"/>
                  </a:cubicBezTo>
                  <a:cubicBezTo>
                    <a:pt x="856" y="155"/>
                    <a:pt x="913" y="116"/>
                    <a:pt x="972" y="122"/>
                  </a:cubicBezTo>
                  <a:cubicBezTo>
                    <a:pt x="972" y="122"/>
                    <a:pt x="930" y="170"/>
                    <a:pt x="948" y="195"/>
                  </a:cubicBezTo>
                  <a:cubicBezTo>
                    <a:pt x="948" y="195"/>
                    <a:pt x="1001" y="170"/>
                    <a:pt x="1066" y="184"/>
                  </a:cubicBezTo>
                  <a:cubicBezTo>
                    <a:pt x="1066" y="184"/>
                    <a:pt x="977" y="231"/>
                    <a:pt x="1004" y="260"/>
                  </a:cubicBezTo>
                  <a:cubicBezTo>
                    <a:pt x="1004" y="260"/>
                    <a:pt x="1072" y="244"/>
                    <a:pt x="1140" y="266"/>
                  </a:cubicBezTo>
                  <a:cubicBezTo>
                    <a:pt x="1140" y="266"/>
                    <a:pt x="1057" y="310"/>
                    <a:pt x="1068" y="337"/>
                  </a:cubicBezTo>
                  <a:cubicBezTo>
                    <a:pt x="1068" y="337"/>
                    <a:pt x="1113" y="342"/>
                    <a:pt x="1175" y="357"/>
                  </a:cubicBezTo>
                  <a:cubicBezTo>
                    <a:pt x="1175" y="357"/>
                    <a:pt x="1114" y="367"/>
                    <a:pt x="1093" y="399"/>
                  </a:cubicBezTo>
                  <a:cubicBezTo>
                    <a:pt x="1093" y="399"/>
                    <a:pt x="1131" y="399"/>
                    <a:pt x="1181" y="448"/>
                  </a:cubicBezTo>
                  <a:cubicBezTo>
                    <a:pt x="1181" y="448"/>
                    <a:pt x="1101" y="453"/>
                    <a:pt x="1095" y="500"/>
                  </a:cubicBezTo>
                  <a:cubicBezTo>
                    <a:pt x="1095" y="500"/>
                    <a:pt x="1155" y="496"/>
                    <a:pt x="1211" y="561"/>
                  </a:cubicBezTo>
                  <a:cubicBezTo>
                    <a:pt x="1211" y="561"/>
                    <a:pt x="1110" y="541"/>
                    <a:pt x="1104" y="591"/>
                  </a:cubicBezTo>
                  <a:cubicBezTo>
                    <a:pt x="1158" y="591"/>
                    <a:pt x="1174" y="643"/>
                    <a:pt x="1175" y="6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52" name="Freeform 28">
              <a:extLst>
                <a:ext uri="{FF2B5EF4-FFF2-40B4-BE49-F238E27FC236}">
                  <a16:creationId xmlns:a16="http://schemas.microsoft.com/office/drawing/2014/main" id="{D18DF8D0-66D9-41DE-B2AC-065D773FCB4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8700" y="441326"/>
              <a:ext cx="660400" cy="357188"/>
            </a:xfrm>
            <a:custGeom>
              <a:avLst/>
              <a:gdLst>
                <a:gd name="T0" fmla="*/ 844 w 870"/>
                <a:gd name="T1" fmla="*/ 470 h 470"/>
                <a:gd name="T2" fmla="*/ 11 w 870"/>
                <a:gd name="T3" fmla="*/ 470 h 470"/>
                <a:gd name="T4" fmla="*/ 105 w 870"/>
                <a:gd name="T5" fmla="*/ 419 h 470"/>
                <a:gd name="T6" fmla="*/ 0 w 870"/>
                <a:gd name="T7" fmla="*/ 426 h 470"/>
                <a:gd name="T8" fmla="*/ 105 w 870"/>
                <a:gd name="T9" fmla="*/ 364 h 470"/>
                <a:gd name="T10" fmla="*/ 0 w 870"/>
                <a:gd name="T11" fmla="*/ 330 h 470"/>
                <a:gd name="T12" fmla="*/ 90 w 870"/>
                <a:gd name="T13" fmla="*/ 323 h 470"/>
                <a:gd name="T14" fmla="*/ 8 w 870"/>
                <a:gd name="T15" fmla="*/ 287 h 470"/>
                <a:gd name="T16" fmla="*/ 125 w 870"/>
                <a:gd name="T17" fmla="*/ 267 h 470"/>
                <a:gd name="T18" fmla="*/ 54 w 870"/>
                <a:gd name="T19" fmla="*/ 219 h 470"/>
                <a:gd name="T20" fmla="*/ 147 w 870"/>
                <a:gd name="T21" fmla="*/ 208 h 470"/>
                <a:gd name="T22" fmla="*/ 99 w 870"/>
                <a:gd name="T23" fmla="*/ 166 h 470"/>
                <a:gd name="T24" fmla="*/ 188 w 870"/>
                <a:gd name="T25" fmla="*/ 150 h 470"/>
                <a:gd name="T26" fmla="*/ 139 w 870"/>
                <a:gd name="T27" fmla="*/ 101 h 470"/>
                <a:gd name="T28" fmla="*/ 235 w 870"/>
                <a:gd name="T29" fmla="*/ 97 h 470"/>
                <a:gd name="T30" fmla="*/ 201 w 870"/>
                <a:gd name="T31" fmla="*/ 44 h 470"/>
                <a:gd name="T32" fmla="*/ 333 w 870"/>
                <a:gd name="T33" fmla="*/ 79 h 470"/>
                <a:gd name="T34" fmla="*/ 298 w 870"/>
                <a:gd name="T35" fmla="*/ 13 h 470"/>
                <a:gd name="T36" fmla="*/ 397 w 870"/>
                <a:gd name="T37" fmla="*/ 69 h 470"/>
                <a:gd name="T38" fmla="*/ 400 w 870"/>
                <a:gd name="T39" fmla="*/ 13 h 470"/>
                <a:gd name="T40" fmla="*/ 456 w 870"/>
                <a:gd name="T41" fmla="*/ 60 h 470"/>
                <a:gd name="T42" fmla="*/ 502 w 870"/>
                <a:gd name="T43" fmla="*/ 0 h 470"/>
                <a:gd name="T44" fmla="*/ 500 w 870"/>
                <a:gd name="T45" fmla="*/ 69 h 470"/>
                <a:gd name="T46" fmla="*/ 585 w 870"/>
                <a:gd name="T47" fmla="*/ 28 h 470"/>
                <a:gd name="T48" fmla="*/ 553 w 870"/>
                <a:gd name="T49" fmla="*/ 88 h 470"/>
                <a:gd name="T50" fmla="*/ 632 w 870"/>
                <a:gd name="T51" fmla="*/ 44 h 470"/>
                <a:gd name="T52" fmla="*/ 615 w 870"/>
                <a:gd name="T53" fmla="*/ 111 h 470"/>
                <a:gd name="T54" fmla="*/ 698 w 870"/>
                <a:gd name="T55" fmla="*/ 88 h 470"/>
                <a:gd name="T56" fmla="*/ 681 w 870"/>
                <a:gd name="T57" fmla="*/ 140 h 470"/>
                <a:gd name="T58" fmla="*/ 766 w 870"/>
                <a:gd name="T59" fmla="*/ 132 h 470"/>
                <a:gd name="T60" fmla="*/ 721 w 870"/>
                <a:gd name="T61" fmla="*/ 187 h 470"/>
                <a:gd name="T62" fmla="*/ 819 w 870"/>
                <a:gd name="T63" fmla="*/ 191 h 470"/>
                <a:gd name="T64" fmla="*/ 768 w 870"/>
                <a:gd name="T65" fmla="*/ 242 h 470"/>
                <a:gd name="T66" fmla="*/ 844 w 870"/>
                <a:gd name="T67" fmla="*/ 256 h 470"/>
                <a:gd name="T68" fmla="*/ 785 w 870"/>
                <a:gd name="T69" fmla="*/ 286 h 470"/>
                <a:gd name="T70" fmla="*/ 849 w 870"/>
                <a:gd name="T71" fmla="*/ 322 h 470"/>
                <a:gd name="T72" fmla="*/ 786 w 870"/>
                <a:gd name="T73" fmla="*/ 359 h 470"/>
                <a:gd name="T74" fmla="*/ 870 w 870"/>
                <a:gd name="T75" fmla="*/ 403 h 470"/>
                <a:gd name="T76" fmla="*/ 793 w 870"/>
                <a:gd name="T77" fmla="*/ 424 h 470"/>
                <a:gd name="T78" fmla="*/ 844 w 870"/>
                <a:gd name="T79" fmla="*/ 47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70" h="470">
                  <a:moveTo>
                    <a:pt x="844" y="470"/>
                  </a:moveTo>
                  <a:lnTo>
                    <a:pt x="11" y="470"/>
                  </a:lnTo>
                  <a:cubicBezTo>
                    <a:pt x="11" y="470"/>
                    <a:pt x="27" y="428"/>
                    <a:pt x="105" y="419"/>
                  </a:cubicBezTo>
                  <a:cubicBezTo>
                    <a:pt x="105" y="419"/>
                    <a:pt x="62" y="403"/>
                    <a:pt x="0" y="426"/>
                  </a:cubicBezTo>
                  <a:cubicBezTo>
                    <a:pt x="0" y="426"/>
                    <a:pt x="11" y="387"/>
                    <a:pt x="105" y="364"/>
                  </a:cubicBezTo>
                  <a:cubicBezTo>
                    <a:pt x="105" y="364"/>
                    <a:pt x="25" y="361"/>
                    <a:pt x="0" y="330"/>
                  </a:cubicBezTo>
                  <a:cubicBezTo>
                    <a:pt x="0" y="330"/>
                    <a:pt x="50" y="344"/>
                    <a:pt x="90" y="323"/>
                  </a:cubicBezTo>
                  <a:cubicBezTo>
                    <a:pt x="90" y="323"/>
                    <a:pt x="45" y="279"/>
                    <a:pt x="8" y="287"/>
                  </a:cubicBezTo>
                  <a:cubicBezTo>
                    <a:pt x="8" y="287"/>
                    <a:pt x="44" y="255"/>
                    <a:pt x="125" y="267"/>
                  </a:cubicBezTo>
                  <a:cubicBezTo>
                    <a:pt x="125" y="267"/>
                    <a:pt x="82" y="216"/>
                    <a:pt x="54" y="219"/>
                  </a:cubicBezTo>
                  <a:cubicBezTo>
                    <a:pt x="54" y="219"/>
                    <a:pt x="79" y="194"/>
                    <a:pt x="147" y="208"/>
                  </a:cubicBezTo>
                  <a:cubicBezTo>
                    <a:pt x="147" y="208"/>
                    <a:pt x="125" y="170"/>
                    <a:pt x="99" y="166"/>
                  </a:cubicBezTo>
                  <a:cubicBezTo>
                    <a:pt x="99" y="166"/>
                    <a:pt x="111" y="132"/>
                    <a:pt x="188" y="150"/>
                  </a:cubicBezTo>
                  <a:cubicBezTo>
                    <a:pt x="188" y="150"/>
                    <a:pt x="176" y="103"/>
                    <a:pt x="139" y="101"/>
                  </a:cubicBezTo>
                  <a:cubicBezTo>
                    <a:pt x="139" y="101"/>
                    <a:pt x="182" y="73"/>
                    <a:pt x="235" y="97"/>
                  </a:cubicBezTo>
                  <a:cubicBezTo>
                    <a:pt x="235" y="97"/>
                    <a:pt x="222" y="48"/>
                    <a:pt x="201" y="44"/>
                  </a:cubicBezTo>
                  <a:cubicBezTo>
                    <a:pt x="201" y="44"/>
                    <a:pt x="300" y="44"/>
                    <a:pt x="333" y="79"/>
                  </a:cubicBezTo>
                  <a:cubicBezTo>
                    <a:pt x="333" y="79"/>
                    <a:pt x="319" y="34"/>
                    <a:pt x="298" y="13"/>
                  </a:cubicBezTo>
                  <a:cubicBezTo>
                    <a:pt x="298" y="13"/>
                    <a:pt x="394" y="31"/>
                    <a:pt x="397" y="69"/>
                  </a:cubicBezTo>
                  <a:cubicBezTo>
                    <a:pt x="397" y="69"/>
                    <a:pt x="409" y="41"/>
                    <a:pt x="400" y="13"/>
                  </a:cubicBezTo>
                  <a:cubicBezTo>
                    <a:pt x="400" y="13"/>
                    <a:pt x="450" y="25"/>
                    <a:pt x="456" y="60"/>
                  </a:cubicBezTo>
                  <a:cubicBezTo>
                    <a:pt x="456" y="60"/>
                    <a:pt x="475" y="8"/>
                    <a:pt x="502" y="0"/>
                  </a:cubicBezTo>
                  <a:cubicBezTo>
                    <a:pt x="502" y="0"/>
                    <a:pt x="491" y="49"/>
                    <a:pt x="500" y="69"/>
                  </a:cubicBezTo>
                  <a:cubicBezTo>
                    <a:pt x="500" y="69"/>
                    <a:pt x="544" y="42"/>
                    <a:pt x="585" y="28"/>
                  </a:cubicBezTo>
                  <a:cubicBezTo>
                    <a:pt x="585" y="28"/>
                    <a:pt x="553" y="61"/>
                    <a:pt x="553" y="88"/>
                  </a:cubicBezTo>
                  <a:cubicBezTo>
                    <a:pt x="553" y="88"/>
                    <a:pt x="594" y="47"/>
                    <a:pt x="632" y="44"/>
                  </a:cubicBezTo>
                  <a:cubicBezTo>
                    <a:pt x="632" y="44"/>
                    <a:pt x="583" y="97"/>
                    <a:pt x="615" y="111"/>
                  </a:cubicBezTo>
                  <a:cubicBezTo>
                    <a:pt x="615" y="111"/>
                    <a:pt x="656" y="83"/>
                    <a:pt x="698" y="88"/>
                  </a:cubicBezTo>
                  <a:cubicBezTo>
                    <a:pt x="698" y="88"/>
                    <a:pt x="668" y="122"/>
                    <a:pt x="681" y="140"/>
                  </a:cubicBezTo>
                  <a:cubicBezTo>
                    <a:pt x="681" y="140"/>
                    <a:pt x="719" y="122"/>
                    <a:pt x="766" y="132"/>
                  </a:cubicBezTo>
                  <a:cubicBezTo>
                    <a:pt x="766" y="132"/>
                    <a:pt x="702" y="166"/>
                    <a:pt x="721" y="187"/>
                  </a:cubicBezTo>
                  <a:cubicBezTo>
                    <a:pt x="721" y="187"/>
                    <a:pt x="770" y="175"/>
                    <a:pt x="819" y="191"/>
                  </a:cubicBezTo>
                  <a:cubicBezTo>
                    <a:pt x="819" y="191"/>
                    <a:pt x="759" y="223"/>
                    <a:pt x="768" y="242"/>
                  </a:cubicBezTo>
                  <a:cubicBezTo>
                    <a:pt x="768" y="242"/>
                    <a:pt x="800" y="246"/>
                    <a:pt x="844" y="256"/>
                  </a:cubicBezTo>
                  <a:cubicBezTo>
                    <a:pt x="844" y="256"/>
                    <a:pt x="800" y="263"/>
                    <a:pt x="785" y="286"/>
                  </a:cubicBezTo>
                  <a:cubicBezTo>
                    <a:pt x="785" y="286"/>
                    <a:pt x="813" y="286"/>
                    <a:pt x="849" y="322"/>
                  </a:cubicBezTo>
                  <a:cubicBezTo>
                    <a:pt x="849" y="322"/>
                    <a:pt x="791" y="325"/>
                    <a:pt x="786" y="359"/>
                  </a:cubicBezTo>
                  <a:cubicBezTo>
                    <a:pt x="786" y="359"/>
                    <a:pt x="830" y="356"/>
                    <a:pt x="870" y="403"/>
                  </a:cubicBezTo>
                  <a:cubicBezTo>
                    <a:pt x="870" y="403"/>
                    <a:pt x="798" y="389"/>
                    <a:pt x="793" y="424"/>
                  </a:cubicBezTo>
                  <a:cubicBezTo>
                    <a:pt x="832" y="424"/>
                    <a:pt x="844" y="462"/>
                    <a:pt x="844" y="470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grpSp>
        <p:nvGrpSpPr>
          <p:cNvPr id="44" name="그룹 108">
            <a:extLst>
              <a:ext uri="{FF2B5EF4-FFF2-40B4-BE49-F238E27FC236}">
                <a16:creationId xmlns:a16="http://schemas.microsoft.com/office/drawing/2014/main" id="{02904B6B-2702-4C83-858A-78E75B2707AF}"/>
              </a:ext>
            </a:extLst>
          </p:cNvPr>
          <p:cNvGrpSpPr/>
          <p:nvPr/>
        </p:nvGrpSpPr>
        <p:grpSpPr>
          <a:xfrm rot="20918691">
            <a:off x="4719798" y="6059393"/>
            <a:ext cx="413309" cy="231192"/>
            <a:chOff x="7121525" y="190501"/>
            <a:chExt cx="896938" cy="515937"/>
          </a:xfrm>
          <a:solidFill>
            <a:srgbClr val="3A876B">
              <a:lumMod val="40000"/>
              <a:lumOff val="60000"/>
            </a:srgbClr>
          </a:solidFill>
        </p:grpSpPr>
        <p:sp>
          <p:nvSpPr>
            <p:cNvPr id="49" name="Freeform 41">
              <a:extLst>
                <a:ext uri="{FF2B5EF4-FFF2-40B4-BE49-F238E27FC236}">
                  <a16:creationId xmlns:a16="http://schemas.microsoft.com/office/drawing/2014/main" id="{123516DB-F6C6-4A60-BD31-47088652C5DF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1525" y="190501"/>
              <a:ext cx="896938" cy="481013"/>
            </a:xfrm>
            <a:custGeom>
              <a:avLst/>
              <a:gdLst>
                <a:gd name="T0" fmla="*/ 1180 w 1181"/>
                <a:gd name="T1" fmla="*/ 486 h 634"/>
                <a:gd name="T2" fmla="*/ 1024 w 1181"/>
                <a:gd name="T3" fmla="*/ 634 h 634"/>
                <a:gd name="T4" fmla="*/ 134 w 1181"/>
                <a:gd name="T5" fmla="*/ 634 h 634"/>
                <a:gd name="T6" fmla="*/ 0 w 1181"/>
                <a:gd name="T7" fmla="*/ 504 h 634"/>
                <a:gd name="T8" fmla="*/ 0 w 1181"/>
                <a:gd name="T9" fmla="*/ 503 h 634"/>
                <a:gd name="T10" fmla="*/ 23 w 1181"/>
                <a:gd name="T11" fmla="*/ 418 h 634"/>
                <a:gd name="T12" fmla="*/ 169 w 1181"/>
                <a:gd name="T13" fmla="*/ 334 h 634"/>
                <a:gd name="T14" fmla="*/ 214 w 1181"/>
                <a:gd name="T15" fmla="*/ 340 h 634"/>
                <a:gd name="T16" fmla="*/ 214 w 1181"/>
                <a:gd name="T17" fmla="*/ 334 h 634"/>
                <a:gd name="T18" fmla="*/ 383 w 1181"/>
                <a:gd name="T19" fmla="*/ 165 h 634"/>
                <a:gd name="T20" fmla="*/ 497 w 1181"/>
                <a:gd name="T21" fmla="*/ 210 h 634"/>
                <a:gd name="T22" fmla="*/ 977 w 1181"/>
                <a:gd name="T23" fmla="*/ 316 h 634"/>
                <a:gd name="T24" fmla="*/ 976 w 1181"/>
                <a:gd name="T25" fmla="*/ 337 h 634"/>
                <a:gd name="T26" fmla="*/ 1027 w 1181"/>
                <a:gd name="T27" fmla="*/ 328 h 634"/>
                <a:gd name="T28" fmla="*/ 1167 w 1181"/>
                <a:gd name="T29" fmla="*/ 418 h 634"/>
                <a:gd name="T30" fmla="*/ 1180 w 1181"/>
                <a:gd name="T31" fmla="*/ 486 h 6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1" h="634">
                  <a:moveTo>
                    <a:pt x="1180" y="486"/>
                  </a:moveTo>
                  <a:cubicBezTo>
                    <a:pt x="1178" y="569"/>
                    <a:pt x="1107" y="634"/>
                    <a:pt x="1024" y="634"/>
                  </a:cubicBezTo>
                  <a:lnTo>
                    <a:pt x="134" y="634"/>
                  </a:lnTo>
                  <a:cubicBezTo>
                    <a:pt x="62" y="634"/>
                    <a:pt x="1" y="577"/>
                    <a:pt x="0" y="504"/>
                  </a:cubicBezTo>
                  <a:cubicBezTo>
                    <a:pt x="0" y="504"/>
                    <a:pt x="0" y="503"/>
                    <a:pt x="0" y="503"/>
                  </a:cubicBezTo>
                  <a:cubicBezTo>
                    <a:pt x="0" y="472"/>
                    <a:pt x="8" y="443"/>
                    <a:pt x="23" y="418"/>
                  </a:cubicBezTo>
                  <a:cubicBezTo>
                    <a:pt x="52" y="368"/>
                    <a:pt x="107" y="334"/>
                    <a:pt x="169" y="334"/>
                  </a:cubicBezTo>
                  <a:cubicBezTo>
                    <a:pt x="185" y="334"/>
                    <a:pt x="200" y="336"/>
                    <a:pt x="214" y="340"/>
                  </a:cubicBezTo>
                  <a:cubicBezTo>
                    <a:pt x="214" y="338"/>
                    <a:pt x="214" y="336"/>
                    <a:pt x="214" y="334"/>
                  </a:cubicBezTo>
                  <a:cubicBezTo>
                    <a:pt x="214" y="241"/>
                    <a:pt x="289" y="165"/>
                    <a:pt x="383" y="165"/>
                  </a:cubicBezTo>
                  <a:cubicBezTo>
                    <a:pt x="427" y="165"/>
                    <a:pt x="467" y="182"/>
                    <a:pt x="497" y="210"/>
                  </a:cubicBezTo>
                  <a:cubicBezTo>
                    <a:pt x="594" y="0"/>
                    <a:pt x="977" y="31"/>
                    <a:pt x="977" y="316"/>
                  </a:cubicBezTo>
                  <a:cubicBezTo>
                    <a:pt x="977" y="323"/>
                    <a:pt x="977" y="330"/>
                    <a:pt x="976" y="337"/>
                  </a:cubicBezTo>
                  <a:cubicBezTo>
                    <a:pt x="992" y="331"/>
                    <a:pt x="1009" y="328"/>
                    <a:pt x="1027" y="328"/>
                  </a:cubicBezTo>
                  <a:cubicBezTo>
                    <a:pt x="1089" y="328"/>
                    <a:pt x="1143" y="365"/>
                    <a:pt x="1167" y="418"/>
                  </a:cubicBezTo>
                  <a:cubicBezTo>
                    <a:pt x="1176" y="439"/>
                    <a:pt x="1181" y="462"/>
                    <a:pt x="1180" y="4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50" name="Freeform 42">
              <a:extLst>
                <a:ext uri="{FF2B5EF4-FFF2-40B4-BE49-F238E27FC236}">
                  <a16:creationId xmlns:a16="http://schemas.microsoft.com/office/drawing/2014/main" id="{72289B04-454E-4727-8AC1-A2900B3025C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9163" y="369888"/>
              <a:ext cx="625475" cy="336550"/>
            </a:xfrm>
            <a:custGeom>
              <a:avLst/>
              <a:gdLst>
                <a:gd name="T0" fmla="*/ 824 w 824"/>
                <a:gd name="T1" fmla="*/ 339 h 443"/>
                <a:gd name="T2" fmla="*/ 714 w 824"/>
                <a:gd name="T3" fmla="*/ 443 h 443"/>
                <a:gd name="T4" fmla="*/ 93 w 824"/>
                <a:gd name="T5" fmla="*/ 443 h 443"/>
                <a:gd name="T6" fmla="*/ 0 w 824"/>
                <a:gd name="T7" fmla="*/ 352 h 443"/>
                <a:gd name="T8" fmla="*/ 0 w 824"/>
                <a:gd name="T9" fmla="*/ 351 h 443"/>
                <a:gd name="T10" fmla="*/ 16 w 824"/>
                <a:gd name="T11" fmla="*/ 292 h 443"/>
                <a:gd name="T12" fmla="*/ 118 w 824"/>
                <a:gd name="T13" fmla="*/ 233 h 443"/>
                <a:gd name="T14" fmla="*/ 149 w 824"/>
                <a:gd name="T15" fmla="*/ 238 h 443"/>
                <a:gd name="T16" fmla="*/ 149 w 824"/>
                <a:gd name="T17" fmla="*/ 233 h 443"/>
                <a:gd name="T18" fmla="*/ 267 w 824"/>
                <a:gd name="T19" fmla="*/ 115 h 443"/>
                <a:gd name="T20" fmla="*/ 347 w 824"/>
                <a:gd name="T21" fmla="*/ 147 h 443"/>
                <a:gd name="T22" fmla="*/ 682 w 824"/>
                <a:gd name="T23" fmla="*/ 221 h 443"/>
                <a:gd name="T24" fmla="*/ 681 w 824"/>
                <a:gd name="T25" fmla="*/ 236 h 443"/>
                <a:gd name="T26" fmla="*/ 717 w 824"/>
                <a:gd name="T27" fmla="*/ 229 h 443"/>
                <a:gd name="T28" fmla="*/ 814 w 824"/>
                <a:gd name="T29" fmla="*/ 292 h 443"/>
                <a:gd name="T30" fmla="*/ 824 w 824"/>
                <a:gd name="T31" fmla="*/ 339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24" h="443">
                  <a:moveTo>
                    <a:pt x="824" y="339"/>
                  </a:moveTo>
                  <a:cubicBezTo>
                    <a:pt x="822" y="397"/>
                    <a:pt x="773" y="443"/>
                    <a:pt x="714" y="443"/>
                  </a:cubicBezTo>
                  <a:lnTo>
                    <a:pt x="93" y="443"/>
                  </a:lnTo>
                  <a:cubicBezTo>
                    <a:pt x="43" y="443"/>
                    <a:pt x="0" y="403"/>
                    <a:pt x="0" y="352"/>
                  </a:cubicBezTo>
                  <a:lnTo>
                    <a:pt x="0" y="351"/>
                  </a:lnTo>
                  <a:cubicBezTo>
                    <a:pt x="0" y="330"/>
                    <a:pt x="6" y="309"/>
                    <a:pt x="16" y="292"/>
                  </a:cubicBezTo>
                  <a:cubicBezTo>
                    <a:pt x="36" y="257"/>
                    <a:pt x="74" y="233"/>
                    <a:pt x="118" y="233"/>
                  </a:cubicBezTo>
                  <a:cubicBezTo>
                    <a:pt x="129" y="233"/>
                    <a:pt x="139" y="235"/>
                    <a:pt x="149" y="238"/>
                  </a:cubicBezTo>
                  <a:cubicBezTo>
                    <a:pt x="149" y="236"/>
                    <a:pt x="149" y="235"/>
                    <a:pt x="149" y="233"/>
                  </a:cubicBezTo>
                  <a:cubicBezTo>
                    <a:pt x="149" y="168"/>
                    <a:pt x="202" y="115"/>
                    <a:pt x="267" y="115"/>
                  </a:cubicBezTo>
                  <a:cubicBezTo>
                    <a:pt x="298" y="115"/>
                    <a:pt x="326" y="127"/>
                    <a:pt x="347" y="147"/>
                  </a:cubicBezTo>
                  <a:cubicBezTo>
                    <a:pt x="414" y="0"/>
                    <a:pt x="682" y="22"/>
                    <a:pt x="682" y="221"/>
                  </a:cubicBezTo>
                  <a:cubicBezTo>
                    <a:pt x="682" y="226"/>
                    <a:pt x="681" y="231"/>
                    <a:pt x="681" y="236"/>
                  </a:cubicBezTo>
                  <a:cubicBezTo>
                    <a:pt x="692" y="232"/>
                    <a:pt x="704" y="229"/>
                    <a:pt x="717" y="229"/>
                  </a:cubicBezTo>
                  <a:cubicBezTo>
                    <a:pt x="760" y="229"/>
                    <a:pt x="797" y="255"/>
                    <a:pt x="814" y="292"/>
                  </a:cubicBezTo>
                  <a:cubicBezTo>
                    <a:pt x="821" y="306"/>
                    <a:pt x="824" y="322"/>
                    <a:pt x="824" y="339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grpSp>
        <p:nvGrpSpPr>
          <p:cNvPr id="45" name="그룹 111">
            <a:extLst>
              <a:ext uri="{FF2B5EF4-FFF2-40B4-BE49-F238E27FC236}">
                <a16:creationId xmlns:a16="http://schemas.microsoft.com/office/drawing/2014/main" id="{1A0D3661-6198-4640-AA53-706A34B7452F}"/>
              </a:ext>
            </a:extLst>
          </p:cNvPr>
          <p:cNvGrpSpPr/>
          <p:nvPr/>
        </p:nvGrpSpPr>
        <p:grpSpPr>
          <a:xfrm>
            <a:off x="9901455" y="6334958"/>
            <a:ext cx="413797" cy="217529"/>
            <a:chOff x="9777413" y="344488"/>
            <a:chExt cx="919163" cy="496888"/>
          </a:xfrm>
          <a:solidFill>
            <a:srgbClr val="3A876B">
              <a:lumMod val="40000"/>
              <a:lumOff val="60000"/>
            </a:srgbClr>
          </a:solidFill>
        </p:grpSpPr>
        <p:sp>
          <p:nvSpPr>
            <p:cNvPr id="47" name="Freeform 27">
              <a:extLst>
                <a:ext uri="{FF2B5EF4-FFF2-40B4-BE49-F238E27FC236}">
                  <a16:creationId xmlns:a16="http://schemas.microsoft.com/office/drawing/2014/main" id="{3F23DCAE-397D-4470-8065-7C6D3D0CD2FB}"/>
                </a:ext>
              </a:extLst>
            </p:cNvPr>
            <p:cNvSpPr>
              <a:spLocks/>
            </p:cNvSpPr>
            <p:nvPr/>
          </p:nvSpPr>
          <p:spPr bwMode="auto">
            <a:xfrm>
              <a:off x="9777413" y="344488"/>
              <a:ext cx="919163" cy="496888"/>
            </a:xfrm>
            <a:custGeom>
              <a:avLst/>
              <a:gdLst>
                <a:gd name="T0" fmla="*/ 1175 w 1211"/>
                <a:gd name="T1" fmla="*/ 654 h 654"/>
                <a:gd name="T2" fmla="*/ 14 w 1211"/>
                <a:gd name="T3" fmla="*/ 654 h 654"/>
                <a:gd name="T4" fmla="*/ 145 w 1211"/>
                <a:gd name="T5" fmla="*/ 583 h 654"/>
                <a:gd name="T6" fmla="*/ 0 w 1211"/>
                <a:gd name="T7" fmla="*/ 593 h 654"/>
                <a:gd name="T8" fmla="*/ 145 w 1211"/>
                <a:gd name="T9" fmla="*/ 507 h 654"/>
                <a:gd name="T10" fmla="*/ 0 w 1211"/>
                <a:gd name="T11" fmla="*/ 460 h 654"/>
                <a:gd name="T12" fmla="*/ 125 w 1211"/>
                <a:gd name="T13" fmla="*/ 450 h 654"/>
                <a:gd name="T14" fmla="*/ 11 w 1211"/>
                <a:gd name="T15" fmla="*/ 399 h 654"/>
                <a:gd name="T16" fmla="*/ 173 w 1211"/>
                <a:gd name="T17" fmla="*/ 372 h 654"/>
                <a:gd name="T18" fmla="*/ 74 w 1211"/>
                <a:gd name="T19" fmla="*/ 305 h 654"/>
                <a:gd name="T20" fmla="*/ 205 w 1211"/>
                <a:gd name="T21" fmla="*/ 290 h 654"/>
                <a:gd name="T22" fmla="*/ 137 w 1211"/>
                <a:gd name="T23" fmla="*/ 231 h 654"/>
                <a:gd name="T24" fmla="*/ 261 w 1211"/>
                <a:gd name="T25" fmla="*/ 209 h 654"/>
                <a:gd name="T26" fmla="*/ 193 w 1211"/>
                <a:gd name="T27" fmla="*/ 140 h 654"/>
                <a:gd name="T28" fmla="*/ 326 w 1211"/>
                <a:gd name="T29" fmla="*/ 136 h 654"/>
                <a:gd name="T30" fmla="*/ 279 w 1211"/>
                <a:gd name="T31" fmla="*/ 62 h 654"/>
                <a:gd name="T32" fmla="*/ 463 w 1211"/>
                <a:gd name="T33" fmla="*/ 110 h 654"/>
                <a:gd name="T34" fmla="*/ 415 w 1211"/>
                <a:gd name="T35" fmla="*/ 17 h 654"/>
                <a:gd name="T36" fmla="*/ 552 w 1211"/>
                <a:gd name="T37" fmla="*/ 96 h 654"/>
                <a:gd name="T38" fmla="*/ 557 w 1211"/>
                <a:gd name="T39" fmla="*/ 17 h 654"/>
                <a:gd name="T40" fmla="*/ 634 w 1211"/>
                <a:gd name="T41" fmla="*/ 84 h 654"/>
                <a:gd name="T42" fmla="*/ 699 w 1211"/>
                <a:gd name="T43" fmla="*/ 0 h 654"/>
                <a:gd name="T44" fmla="*/ 696 w 1211"/>
                <a:gd name="T45" fmla="*/ 96 h 654"/>
                <a:gd name="T46" fmla="*/ 814 w 1211"/>
                <a:gd name="T47" fmla="*/ 40 h 654"/>
                <a:gd name="T48" fmla="*/ 770 w 1211"/>
                <a:gd name="T49" fmla="*/ 123 h 654"/>
                <a:gd name="T50" fmla="*/ 879 w 1211"/>
                <a:gd name="T51" fmla="*/ 62 h 654"/>
                <a:gd name="T52" fmla="*/ 856 w 1211"/>
                <a:gd name="T53" fmla="*/ 155 h 654"/>
                <a:gd name="T54" fmla="*/ 972 w 1211"/>
                <a:gd name="T55" fmla="*/ 122 h 654"/>
                <a:gd name="T56" fmla="*/ 948 w 1211"/>
                <a:gd name="T57" fmla="*/ 195 h 654"/>
                <a:gd name="T58" fmla="*/ 1066 w 1211"/>
                <a:gd name="T59" fmla="*/ 184 h 654"/>
                <a:gd name="T60" fmla="*/ 1004 w 1211"/>
                <a:gd name="T61" fmla="*/ 260 h 654"/>
                <a:gd name="T62" fmla="*/ 1140 w 1211"/>
                <a:gd name="T63" fmla="*/ 266 h 654"/>
                <a:gd name="T64" fmla="*/ 1068 w 1211"/>
                <a:gd name="T65" fmla="*/ 337 h 654"/>
                <a:gd name="T66" fmla="*/ 1175 w 1211"/>
                <a:gd name="T67" fmla="*/ 357 h 654"/>
                <a:gd name="T68" fmla="*/ 1093 w 1211"/>
                <a:gd name="T69" fmla="*/ 399 h 654"/>
                <a:gd name="T70" fmla="*/ 1181 w 1211"/>
                <a:gd name="T71" fmla="*/ 448 h 654"/>
                <a:gd name="T72" fmla="*/ 1095 w 1211"/>
                <a:gd name="T73" fmla="*/ 500 h 654"/>
                <a:gd name="T74" fmla="*/ 1211 w 1211"/>
                <a:gd name="T75" fmla="*/ 561 h 654"/>
                <a:gd name="T76" fmla="*/ 1104 w 1211"/>
                <a:gd name="T77" fmla="*/ 591 h 654"/>
                <a:gd name="T78" fmla="*/ 1175 w 1211"/>
                <a:gd name="T79" fmla="*/ 654 h 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11" h="654">
                  <a:moveTo>
                    <a:pt x="1175" y="654"/>
                  </a:moveTo>
                  <a:lnTo>
                    <a:pt x="14" y="654"/>
                  </a:lnTo>
                  <a:cubicBezTo>
                    <a:pt x="14" y="654"/>
                    <a:pt x="37" y="596"/>
                    <a:pt x="145" y="583"/>
                  </a:cubicBezTo>
                  <a:cubicBezTo>
                    <a:pt x="145" y="583"/>
                    <a:pt x="86" y="561"/>
                    <a:pt x="0" y="593"/>
                  </a:cubicBezTo>
                  <a:cubicBezTo>
                    <a:pt x="0" y="593"/>
                    <a:pt x="15" y="539"/>
                    <a:pt x="145" y="507"/>
                  </a:cubicBezTo>
                  <a:cubicBezTo>
                    <a:pt x="145" y="507"/>
                    <a:pt x="35" y="503"/>
                    <a:pt x="0" y="460"/>
                  </a:cubicBezTo>
                  <a:cubicBezTo>
                    <a:pt x="0" y="460"/>
                    <a:pt x="69" y="480"/>
                    <a:pt x="125" y="450"/>
                  </a:cubicBezTo>
                  <a:cubicBezTo>
                    <a:pt x="125" y="450"/>
                    <a:pt x="62" y="389"/>
                    <a:pt x="11" y="399"/>
                  </a:cubicBezTo>
                  <a:cubicBezTo>
                    <a:pt x="11" y="399"/>
                    <a:pt x="61" y="355"/>
                    <a:pt x="173" y="372"/>
                  </a:cubicBezTo>
                  <a:cubicBezTo>
                    <a:pt x="173" y="372"/>
                    <a:pt x="113" y="300"/>
                    <a:pt x="74" y="305"/>
                  </a:cubicBezTo>
                  <a:cubicBezTo>
                    <a:pt x="74" y="305"/>
                    <a:pt x="110" y="271"/>
                    <a:pt x="205" y="290"/>
                  </a:cubicBezTo>
                  <a:cubicBezTo>
                    <a:pt x="205" y="290"/>
                    <a:pt x="174" y="237"/>
                    <a:pt x="137" y="231"/>
                  </a:cubicBezTo>
                  <a:cubicBezTo>
                    <a:pt x="137" y="231"/>
                    <a:pt x="154" y="184"/>
                    <a:pt x="261" y="209"/>
                  </a:cubicBezTo>
                  <a:cubicBezTo>
                    <a:pt x="261" y="209"/>
                    <a:pt x="244" y="143"/>
                    <a:pt x="193" y="140"/>
                  </a:cubicBezTo>
                  <a:cubicBezTo>
                    <a:pt x="193" y="140"/>
                    <a:pt x="253" y="102"/>
                    <a:pt x="326" y="136"/>
                  </a:cubicBezTo>
                  <a:cubicBezTo>
                    <a:pt x="326" y="136"/>
                    <a:pt x="308" y="67"/>
                    <a:pt x="279" y="62"/>
                  </a:cubicBezTo>
                  <a:cubicBezTo>
                    <a:pt x="279" y="62"/>
                    <a:pt x="418" y="62"/>
                    <a:pt x="463" y="110"/>
                  </a:cubicBezTo>
                  <a:cubicBezTo>
                    <a:pt x="463" y="110"/>
                    <a:pt x="444" y="47"/>
                    <a:pt x="415" y="17"/>
                  </a:cubicBezTo>
                  <a:cubicBezTo>
                    <a:pt x="415" y="17"/>
                    <a:pt x="548" y="43"/>
                    <a:pt x="552" y="96"/>
                  </a:cubicBezTo>
                  <a:cubicBezTo>
                    <a:pt x="552" y="96"/>
                    <a:pt x="569" y="57"/>
                    <a:pt x="557" y="17"/>
                  </a:cubicBezTo>
                  <a:cubicBezTo>
                    <a:pt x="557" y="17"/>
                    <a:pt x="626" y="35"/>
                    <a:pt x="634" y="84"/>
                  </a:cubicBezTo>
                  <a:cubicBezTo>
                    <a:pt x="634" y="84"/>
                    <a:pt x="660" y="12"/>
                    <a:pt x="699" y="0"/>
                  </a:cubicBezTo>
                  <a:cubicBezTo>
                    <a:pt x="699" y="0"/>
                    <a:pt x="684" y="68"/>
                    <a:pt x="696" y="96"/>
                  </a:cubicBezTo>
                  <a:cubicBezTo>
                    <a:pt x="696" y="96"/>
                    <a:pt x="757" y="59"/>
                    <a:pt x="814" y="40"/>
                  </a:cubicBezTo>
                  <a:cubicBezTo>
                    <a:pt x="814" y="40"/>
                    <a:pt x="770" y="85"/>
                    <a:pt x="770" y="123"/>
                  </a:cubicBezTo>
                  <a:cubicBezTo>
                    <a:pt x="770" y="123"/>
                    <a:pt x="827" y="66"/>
                    <a:pt x="879" y="62"/>
                  </a:cubicBezTo>
                  <a:cubicBezTo>
                    <a:pt x="879" y="62"/>
                    <a:pt x="811" y="136"/>
                    <a:pt x="856" y="155"/>
                  </a:cubicBezTo>
                  <a:cubicBezTo>
                    <a:pt x="856" y="155"/>
                    <a:pt x="913" y="116"/>
                    <a:pt x="972" y="122"/>
                  </a:cubicBezTo>
                  <a:cubicBezTo>
                    <a:pt x="972" y="122"/>
                    <a:pt x="930" y="170"/>
                    <a:pt x="948" y="195"/>
                  </a:cubicBezTo>
                  <a:cubicBezTo>
                    <a:pt x="948" y="195"/>
                    <a:pt x="1001" y="170"/>
                    <a:pt x="1066" y="184"/>
                  </a:cubicBezTo>
                  <a:cubicBezTo>
                    <a:pt x="1066" y="184"/>
                    <a:pt x="977" y="231"/>
                    <a:pt x="1004" y="260"/>
                  </a:cubicBezTo>
                  <a:cubicBezTo>
                    <a:pt x="1004" y="260"/>
                    <a:pt x="1072" y="244"/>
                    <a:pt x="1140" y="266"/>
                  </a:cubicBezTo>
                  <a:cubicBezTo>
                    <a:pt x="1140" y="266"/>
                    <a:pt x="1057" y="310"/>
                    <a:pt x="1068" y="337"/>
                  </a:cubicBezTo>
                  <a:cubicBezTo>
                    <a:pt x="1068" y="337"/>
                    <a:pt x="1113" y="342"/>
                    <a:pt x="1175" y="357"/>
                  </a:cubicBezTo>
                  <a:cubicBezTo>
                    <a:pt x="1175" y="357"/>
                    <a:pt x="1114" y="367"/>
                    <a:pt x="1093" y="399"/>
                  </a:cubicBezTo>
                  <a:cubicBezTo>
                    <a:pt x="1093" y="399"/>
                    <a:pt x="1131" y="399"/>
                    <a:pt x="1181" y="448"/>
                  </a:cubicBezTo>
                  <a:cubicBezTo>
                    <a:pt x="1181" y="448"/>
                    <a:pt x="1101" y="453"/>
                    <a:pt x="1095" y="500"/>
                  </a:cubicBezTo>
                  <a:cubicBezTo>
                    <a:pt x="1095" y="500"/>
                    <a:pt x="1155" y="496"/>
                    <a:pt x="1211" y="561"/>
                  </a:cubicBezTo>
                  <a:cubicBezTo>
                    <a:pt x="1211" y="561"/>
                    <a:pt x="1110" y="541"/>
                    <a:pt x="1104" y="591"/>
                  </a:cubicBezTo>
                  <a:cubicBezTo>
                    <a:pt x="1158" y="591"/>
                    <a:pt x="1174" y="643"/>
                    <a:pt x="1175" y="6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48" name="Freeform 28">
              <a:extLst>
                <a:ext uri="{FF2B5EF4-FFF2-40B4-BE49-F238E27FC236}">
                  <a16:creationId xmlns:a16="http://schemas.microsoft.com/office/drawing/2014/main" id="{3115AA68-7816-4932-BAF8-49990CE15FB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8700" y="441326"/>
              <a:ext cx="660400" cy="357188"/>
            </a:xfrm>
            <a:custGeom>
              <a:avLst/>
              <a:gdLst>
                <a:gd name="T0" fmla="*/ 844 w 870"/>
                <a:gd name="T1" fmla="*/ 470 h 470"/>
                <a:gd name="T2" fmla="*/ 11 w 870"/>
                <a:gd name="T3" fmla="*/ 470 h 470"/>
                <a:gd name="T4" fmla="*/ 105 w 870"/>
                <a:gd name="T5" fmla="*/ 419 h 470"/>
                <a:gd name="T6" fmla="*/ 0 w 870"/>
                <a:gd name="T7" fmla="*/ 426 h 470"/>
                <a:gd name="T8" fmla="*/ 105 w 870"/>
                <a:gd name="T9" fmla="*/ 364 h 470"/>
                <a:gd name="T10" fmla="*/ 0 w 870"/>
                <a:gd name="T11" fmla="*/ 330 h 470"/>
                <a:gd name="T12" fmla="*/ 90 w 870"/>
                <a:gd name="T13" fmla="*/ 323 h 470"/>
                <a:gd name="T14" fmla="*/ 8 w 870"/>
                <a:gd name="T15" fmla="*/ 287 h 470"/>
                <a:gd name="T16" fmla="*/ 125 w 870"/>
                <a:gd name="T17" fmla="*/ 267 h 470"/>
                <a:gd name="T18" fmla="*/ 54 w 870"/>
                <a:gd name="T19" fmla="*/ 219 h 470"/>
                <a:gd name="T20" fmla="*/ 147 w 870"/>
                <a:gd name="T21" fmla="*/ 208 h 470"/>
                <a:gd name="T22" fmla="*/ 99 w 870"/>
                <a:gd name="T23" fmla="*/ 166 h 470"/>
                <a:gd name="T24" fmla="*/ 188 w 870"/>
                <a:gd name="T25" fmla="*/ 150 h 470"/>
                <a:gd name="T26" fmla="*/ 139 w 870"/>
                <a:gd name="T27" fmla="*/ 101 h 470"/>
                <a:gd name="T28" fmla="*/ 235 w 870"/>
                <a:gd name="T29" fmla="*/ 97 h 470"/>
                <a:gd name="T30" fmla="*/ 201 w 870"/>
                <a:gd name="T31" fmla="*/ 44 h 470"/>
                <a:gd name="T32" fmla="*/ 333 w 870"/>
                <a:gd name="T33" fmla="*/ 79 h 470"/>
                <a:gd name="T34" fmla="*/ 298 w 870"/>
                <a:gd name="T35" fmla="*/ 13 h 470"/>
                <a:gd name="T36" fmla="*/ 397 w 870"/>
                <a:gd name="T37" fmla="*/ 69 h 470"/>
                <a:gd name="T38" fmla="*/ 400 w 870"/>
                <a:gd name="T39" fmla="*/ 13 h 470"/>
                <a:gd name="T40" fmla="*/ 456 w 870"/>
                <a:gd name="T41" fmla="*/ 60 h 470"/>
                <a:gd name="T42" fmla="*/ 502 w 870"/>
                <a:gd name="T43" fmla="*/ 0 h 470"/>
                <a:gd name="T44" fmla="*/ 500 w 870"/>
                <a:gd name="T45" fmla="*/ 69 h 470"/>
                <a:gd name="T46" fmla="*/ 585 w 870"/>
                <a:gd name="T47" fmla="*/ 28 h 470"/>
                <a:gd name="T48" fmla="*/ 553 w 870"/>
                <a:gd name="T49" fmla="*/ 88 h 470"/>
                <a:gd name="T50" fmla="*/ 632 w 870"/>
                <a:gd name="T51" fmla="*/ 44 h 470"/>
                <a:gd name="T52" fmla="*/ 615 w 870"/>
                <a:gd name="T53" fmla="*/ 111 h 470"/>
                <a:gd name="T54" fmla="*/ 698 w 870"/>
                <a:gd name="T55" fmla="*/ 88 h 470"/>
                <a:gd name="T56" fmla="*/ 681 w 870"/>
                <a:gd name="T57" fmla="*/ 140 h 470"/>
                <a:gd name="T58" fmla="*/ 766 w 870"/>
                <a:gd name="T59" fmla="*/ 132 h 470"/>
                <a:gd name="T60" fmla="*/ 721 w 870"/>
                <a:gd name="T61" fmla="*/ 187 h 470"/>
                <a:gd name="T62" fmla="*/ 819 w 870"/>
                <a:gd name="T63" fmla="*/ 191 h 470"/>
                <a:gd name="T64" fmla="*/ 768 w 870"/>
                <a:gd name="T65" fmla="*/ 242 h 470"/>
                <a:gd name="T66" fmla="*/ 844 w 870"/>
                <a:gd name="T67" fmla="*/ 256 h 470"/>
                <a:gd name="T68" fmla="*/ 785 w 870"/>
                <a:gd name="T69" fmla="*/ 286 h 470"/>
                <a:gd name="T70" fmla="*/ 849 w 870"/>
                <a:gd name="T71" fmla="*/ 322 h 470"/>
                <a:gd name="T72" fmla="*/ 786 w 870"/>
                <a:gd name="T73" fmla="*/ 359 h 470"/>
                <a:gd name="T74" fmla="*/ 870 w 870"/>
                <a:gd name="T75" fmla="*/ 403 h 470"/>
                <a:gd name="T76" fmla="*/ 793 w 870"/>
                <a:gd name="T77" fmla="*/ 424 h 470"/>
                <a:gd name="T78" fmla="*/ 844 w 870"/>
                <a:gd name="T79" fmla="*/ 47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70" h="470">
                  <a:moveTo>
                    <a:pt x="844" y="470"/>
                  </a:moveTo>
                  <a:lnTo>
                    <a:pt x="11" y="470"/>
                  </a:lnTo>
                  <a:cubicBezTo>
                    <a:pt x="11" y="470"/>
                    <a:pt x="27" y="428"/>
                    <a:pt x="105" y="419"/>
                  </a:cubicBezTo>
                  <a:cubicBezTo>
                    <a:pt x="105" y="419"/>
                    <a:pt x="62" y="403"/>
                    <a:pt x="0" y="426"/>
                  </a:cubicBezTo>
                  <a:cubicBezTo>
                    <a:pt x="0" y="426"/>
                    <a:pt x="11" y="387"/>
                    <a:pt x="105" y="364"/>
                  </a:cubicBezTo>
                  <a:cubicBezTo>
                    <a:pt x="105" y="364"/>
                    <a:pt x="25" y="361"/>
                    <a:pt x="0" y="330"/>
                  </a:cubicBezTo>
                  <a:cubicBezTo>
                    <a:pt x="0" y="330"/>
                    <a:pt x="50" y="344"/>
                    <a:pt x="90" y="323"/>
                  </a:cubicBezTo>
                  <a:cubicBezTo>
                    <a:pt x="90" y="323"/>
                    <a:pt x="45" y="279"/>
                    <a:pt x="8" y="287"/>
                  </a:cubicBezTo>
                  <a:cubicBezTo>
                    <a:pt x="8" y="287"/>
                    <a:pt x="44" y="255"/>
                    <a:pt x="125" y="267"/>
                  </a:cubicBezTo>
                  <a:cubicBezTo>
                    <a:pt x="125" y="267"/>
                    <a:pt x="82" y="216"/>
                    <a:pt x="54" y="219"/>
                  </a:cubicBezTo>
                  <a:cubicBezTo>
                    <a:pt x="54" y="219"/>
                    <a:pt x="79" y="194"/>
                    <a:pt x="147" y="208"/>
                  </a:cubicBezTo>
                  <a:cubicBezTo>
                    <a:pt x="147" y="208"/>
                    <a:pt x="125" y="170"/>
                    <a:pt x="99" y="166"/>
                  </a:cubicBezTo>
                  <a:cubicBezTo>
                    <a:pt x="99" y="166"/>
                    <a:pt x="111" y="132"/>
                    <a:pt x="188" y="150"/>
                  </a:cubicBezTo>
                  <a:cubicBezTo>
                    <a:pt x="188" y="150"/>
                    <a:pt x="176" y="103"/>
                    <a:pt x="139" y="101"/>
                  </a:cubicBezTo>
                  <a:cubicBezTo>
                    <a:pt x="139" y="101"/>
                    <a:pt x="182" y="73"/>
                    <a:pt x="235" y="97"/>
                  </a:cubicBezTo>
                  <a:cubicBezTo>
                    <a:pt x="235" y="97"/>
                    <a:pt x="222" y="48"/>
                    <a:pt x="201" y="44"/>
                  </a:cubicBezTo>
                  <a:cubicBezTo>
                    <a:pt x="201" y="44"/>
                    <a:pt x="300" y="44"/>
                    <a:pt x="333" y="79"/>
                  </a:cubicBezTo>
                  <a:cubicBezTo>
                    <a:pt x="333" y="79"/>
                    <a:pt x="319" y="34"/>
                    <a:pt x="298" y="13"/>
                  </a:cubicBezTo>
                  <a:cubicBezTo>
                    <a:pt x="298" y="13"/>
                    <a:pt x="394" y="31"/>
                    <a:pt x="397" y="69"/>
                  </a:cubicBezTo>
                  <a:cubicBezTo>
                    <a:pt x="397" y="69"/>
                    <a:pt x="409" y="41"/>
                    <a:pt x="400" y="13"/>
                  </a:cubicBezTo>
                  <a:cubicBezTo>
                    <a:pt x="400" y="13"/>
                    <a:pt x="450" y="25"/>
                    <a:pt x="456" y="60"/>
                  </a:cubicBezTo>
                  <a:cubicBezTo>
                    <a:pt x="456" y="60"/>
                    <a:pt x="475" y="8"/>
                    <a:pt x="502" y="0"/>
                  </a:cubicBezTo>
                  <a:cubicBezTo>
                    <a:pt x="502" y="0"/>
                    <a:pt x="491" y="49"/>
                    <a:pt x="500" y="69"/>
                  </a:cubicBezTo>
                  <a:cubicBezTo>
                    <a:pt x="500" y="69"/>
                    <a:pt x="544" y="42"/>
                    <a:pt x="585" y="28"/>
                  </a:cubicBezTo>
                  <a:cubicBezTo>
                    <a:pt x="585" y="28"/>
                    <a:pt x="553" y="61"/>
                    <a:pt x="553" y="88"/>
                  </a:cubicBezTo>
                  <a:cubicBezTo>
                    <a:pt x="553" y="88"/>
                    <a:pt x="594" y="47"/>
                    <a:pt x="632" y="44"/>
                  </a:cubicBezTo>
                  <a:cubicBezTo>
                    <a:pt x="632" y="44"/>
                    <a:pt x="583" y="97"/>
                    <a:pt x="615" y="111"/>
                  </a:cubicBezTo>
                  <a:cubicBezTo>
                    <a:pt x="615" y="111"/>
                    <a:pt x="656" y="83"/>
                    <a:pt x="698" y="88"/>
                  </a:cubicBezTo>
                  <a:cubicBezTo>
                    <a:pt x="698" y="88"/>
                    <a:pt x="668" y="122"/>
                    <a:pt x="681" y="140"/>
                  </a:cubicBezTo>
                  <a:cubicBezTo>
                    <a:pt x="681" y="140"/>
                    <a:pt x="719" y="122"/>
                    <a:pt x="766" y="132"/>
                  </a:cubicBezTo>
                  <a:cubicBezTo>
                    <a:pt x="766" y="132"/>
                    <a:pt x="702" y="166"/>
                    <a:pt x="721" y="187"/>
                  </a:cubicBezTo>
                  <a:cubicBezTo>
                    <a:pt x="721" y="187"/>
                    <a:pt x="770" y="175"/>
                    <a:pt x="819" y="191"/>
                  </a:cubicBezTo>
                  <a:cubicBezTo>
                    <a:pt x="819" y="191"/>
                    <a:pt x="759" y="223"/>
                    <a:pt x="768" y="242"/>
                  </a:cubicBezTo>
                  <a:cubicBezTo>
                    <a:pt x="768" y="242"/>
                    <a:pt x="800" y="246"/>
                    <a:pt x="844" y="256"/>
                  </a:cubicBezTo>
                  <a:cubicBezTo>
                    <a:pt x="844" y="256"/>
                    <a:pt x="800" y="263"/>
                    <a:pt x="785" y="286"/>
                  </a:cubicBezTo>
                  <a:cubicBezTo>
                    <a:pt x="785" y="286"/>
                    <a:pt x="813" y="286"/>
                    <a:pt x="849" y="322"/>
                  </a:cubicBezTo>
                  <a:cubicBezTo>
                    <a:pt x="849" y="322"/>
                    <a:pt x="791" y="325"/>
                    <a:pt x="786" y="359"/>
                  </a:cubicBezTo>
                  <a:cubicBezTo>
                    <a:pt x="786" y="359"/>
                    <a:pt x="830" y="356"/>
                    <a:pt x="870" y="403"/>
                  </a:cubicBezTo>
                  <a:cubicBezTo>
                    <a:pt x="870" y="403"/>
                    <a:pt x="798" y="389"/>
                    <a:pt x="793" y="424"/>
                  </a:cubicBezTo>
                  <a:cubicBezTo>
                    <a:pt x="832" y="424"/>
                    <a:pt x="844" y="462"/>
                    <a:pt x="844" y="470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sp>
        <p:nvSpPr>
          <p:cNvPr id="46" name="직사각형 14">
            <a:extLst>
              <a:ext uri="{FF2B5EF4-FFF2-40B4-BE49-F238E27FC236}">
                <a16:creationId xmlns:a16="http://schemas.microsoft.com/office/drawing/2014/main" id="{03855FCE-9E02-49C9-BFF1-E3D6DDF9821A}"/>
              </a:ext>
            </a:extLst>
          </p:cNvPr>
          <p:cNvSpPr/>
          <p:nvPr/>
        </p:nvSpPr>
        <p:spPr>
          <a:xfrm flipH="1">
            <a:off x="-1748" y="6105103"/>
            <a:ext cx="10383838" cy="1147497"/>
          </a:xfrm>
          <a:custGeom>
            <a:avLst/>
            <a:gdLst>
              <a:gd name="connsiteX0" fmla="*/ 0 w 12192000"/>
              <a:gd name="connsiteY0" fmla="*/ 0 h 1136469"/>
              <a:gd name="connsiteX1" fmla="*/ 12192000 w 12192000"/>
              <a:gd name="connsiteY1" fmla="*/ 0 h 1136469"/>
              <a:gd name="connsiteX2" fmla="*/ 12192000 w 12192000"/>
              <a:gd name="connsiteY2" fmla="*/ 1136469 h 1136469"/>
              <a:gd name="connsiteX3" fmla="*/ 0 w 12192000"/>
              <a:gd name="connsiteY3" fmla="*/ 1136469 h 1136469"/>
              <a:gd name="connsiteX4" fmla="*/ 0 w 12192000"/>
              <a:gd name="connsiteY4" fmla="*/ 0 h 1136469"/>
              <a:gd name="connsiteX0" fmla="*/ 0 w 12192000"/>
              <a:gd name="connsiteY0" fmla="*/ 200395 h 1336864"/>
              <a:gd name="connsiteX1" fmla="*/ 1488332 w 12192000"/>
              <a:gd name="connsiteY1" fmla="*/ 6 h 1336864"/>
              <a:gd name="connsiteX2" fmla="*/ 12192000 w 12192000"/>
              <a:gd name="connsiteY2" fmla="*/ 200395 h 1336864"/>
              <a:gd name="connsiteX3" fmla="*/ 12192000 w 12192000"/>
              <a:gd name="connsiteY3" fmla="*/ 1336864 h 1336864"/>
              <a:gd name="connsiteX4" fmla="*/ 0 w 12192000"/>
              <a:gd name="connsiteY4" fmla="*/ 1336864 h 1336864"/>
              <a:gd name="connsiteX5" fmla="*/ 0 w 12192000"/>
              <a:gd name="connsiteY5" fmla="*/ 200395 h 1336864"/>
              <a:gd name="connsiteX0" fmla="*/ 0 w 12192000"/>
              <a:gd name="connsiteY0" fmla="*/ 794367 h 1930836"/>
              <a:gd name="connsiteX1" fmla="*/ 1488332 w 12192000"/>
              <a:gd name="connsiteY1" fmla="*/ 593978 h 1930836"/>
              <a:gd name="connsiteX2" fmla="*/ 5184843 w 12192000"/>
              <a:gd name="connsiteY2" fmla="*/ 591 h 1930836"/>
              <a:gd name="connsiteX3" fmla="*/ 12192000 w 12192000"/>
              <a:gd name="connsiteY3" fmla="*/ 794367 h 1930836"/>
              <a:gd name="connsiteX4" fmla="*/ 12192000 w 12192000"/>
              <a:gd name="connsiteY4" fmla="*/ 1930836 h 1930836"/>
              <a:gd name="connsiteX5" fmla="*/ 0 w 12192000"/>
              <a:gd name="connsiteY5" fmla="*/ 1930836 h 1930836"/>
              <a:gd name="connsiteX6" fmla="*/ 0 w 12192000"/>
              <a:gd name="connsiteY6" fmla="*/ 794367 h 1930836"/>
              <a:gd name="connsiteX0" fmla="*/ 0 w 12192000"/>
              <a:gd name="connsiteY0" fmla="*/ 794367 h 1930836"/>
              <a:gd name="connsiteX1" fmla="*/ 1488332 w 12192000"/>
              <a:gd name="connsiteY1" fmla="*/ 593978 h 1930836"/>
              <a:gd name="connsiteX2" fmla="*/ 5184843 w 12192000"/>
              <a:gd name="connsiteY2" fmla="*/ 591 h 1930836"/>
              <a:gd name="connsiteX3" fmla="*/ 8365787 w 12192000"/>
              <a:gd name="connsiteY3" fmla="*/ 623161 h 1930836"/>
              <a:gd name="connsiteX4" fmla="*/ 12192000 w 12192000"/>
              <a:gd name="connsiteY4" fmla="*/ 794367 h 1930836"/>
              <a:gd name="connsiteX5" fmla="*/ 12192000 w 12192000"/>
              <a:gd name="connsiteY5" fmla="*/ 1930836 h 1930836"/>
              <a:gd name="connsiteX6" fmla="*/ 0 w 12192000"/>
              <a:gd name="connsiteY6" fmla="*/ 1930836 h 1930836"/>
              <a:gd name="connsiteX7" fmla="*/ 0 w 12192000"/>
              <a:gd name="connsiteY7" fmla="*/ 794367 h 1930836"/>
              <a:gd name="connsiteX0" fmla="*/ 0 w 12192000"/>
              <a:gd name="connsiteY0" fmla="*/ 794367 h 1930836"/>
              <a:gd name="connsiteX1" fmla="*/ 1488332 w 12192000"/>
              <a:gd name="connsiteY1" fmla="*/ 593978 h 1930836"/>
              <a:gd name="connsiteX2" fmla="*/ 5184843 w 12192000"/>
              <a:gd name="connsiteY2" fmla="*/ 591 h 1930836"/>
              <a:gd name="connsiteX3" fmla="*/ 8365787 w 12192000"/>
              <a:gd name="connsiteY3" fmla="*/ 623161 h 1930836"/>
              <a:gd name="connsiteX4" fmla="*/ 10758791 w 12192000"/>
              <a:gd name="connsiteY4" fmla="*/ 272965 h 1930836"/>
              <a:gd name="connsiteX5" fmla="*/ 12192000 w 12192000"/>
              <a:gd name="connsiteY5" fmla="*/ 794367 h 1930836"/>
              <a:gd name="connsiteX6" fmla="*/ 12192000 w 12192000"/>
              <a:gd name="connsiteY6" fmla="*/ 1930836 h 1930836"/>
              <a:gd name="connsiteX7" fmla="*/ 0 w 12192000"/>
              <a:gd name="connsiteY7" fmla="*/ 1930836 h 1930836"/>
              <a:gd name="connsiteX8" fmla="*/ 0 w 12192000"/>
              <a:gd name="connsiteY8" fmla="*/ 794367 h 1930836"/>
              <a:gd name="connsiteX0" fmla="*/ 0 w 12192000"/>
              <a:gd name="connsiteY0" fmla="*/ 794284 h 1930753"/>
              <a:gd name="connsiteX1" fmla="*/ 1527243 w 12192000"/>
              <a:gd name="connsiteY1" fmla="*/ 700899 h 1930753"/>
              <a:gd name="connsiteX2" fmla="*/ 5184843 w 12192000"/>
              <a:gd name="connsiteY2" fmla="*/ 508 h 1930753"/>
              <a:gd name="connsiteX3" fmla="*/ 8365787 w 12192000"/>
              <a:gd name="connsiteY3" fmla="*/ 623078 h 1930753"/>
              <a:gd name="connsiteX4" fmla="*/ 10758791 w 12192000"/>
              <a:gd name="connsiteY4" fmla="*/ 272882 h 1930753"/>
              <a:gd name="connsiteX5" fmla="*/ 12192000 w 12192000"/>
              <a:gd name="connsiteY5" fmla="*/ 794284 h 1930753"/>
              <a:gd name="connsiteX6" fmla="*/ 12192000 w 12192000"/>
              <a:gd name="connsiteY6" fmla="*/ 1930753 h 1930753"/>
              <a:gd name="connsiteX7" fmla="*/ 0 w 12192000"/>
              <a:gd name="connsiteY7" fmla="*/ 1930753 h 1930753"/>
              <a:gd name="connsiteX8" fmla="*/ 0 w 12192000"/>
              <a:gd name="connsiteY8" fmla="*/ 794284 h 1930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1930753">
                <a:moveTo>
                  <a:pt x="0" y="794284"/>
                </a:moveTo>
                <a:cubicBezTo>
                  <a:pt x="418289" y="795581"/>
                  <a:pt x="1108954" y="699602"/>
                  <a:pt x="1527243" y="700899"/>
                </a:cubicBezTo>
                <a:cubicBezTo>
                  <a:pt x="2778869" y="723597"/>
                  <a:pt x="3933217" y="-22190"/>
                  <a:pt x="5184843" y="508"/>
                </a:cubicBezTo>
                <a:cubicBezTo>
                  <a:pt x="6222460" y="117240"/>
                  <a:pt x="7328170" y="506346"/>
                  <a:pt x="8365787" y="623078"/>
                </a:cubicBezTo>
                <a:cubicBezTo>
                  <a:pt x="9247762" y="668474"/>
                  <a:pt x="9876816" y="227486"/>
                  <a:pt x="10758791" y="272882"/>
                </a:cubicBezTo>
                <a:lnTo>
                  <a:pt x="12192000" y="794284"/>
                </a:lnTo>
                <a:lnTo>
                  <a:pt x="12192000" y="1930753"/>
                </a:lnTo>
                <a:lnTo>
                  <a:pt x="0" y="1930753"/>
                </a:lnTo>
                <a:lnTo>
                  <a:pt x="0" y="794284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8775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727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15" name="그룹 14"/>
          <p:cNvGrpSpPr/>
          <p:nvPr userDrawn="1"/>
        </p:nvGrpSpPr>
        <p:grpSpPr>
          <a:xfrm>
            <a:off x="402558" y="90347"/>
            <a:ext cx="3584445" cy="2912340"/>
            <a:chOff x="1836497" y="718754"/>
            <a:chExt cx="6917955" cy="5349463"/>
          </a:xfrm>
        </p:grpSpPr>
        <p:pic>
          <p:nvPicPr>
            <p:cNvPr id="16" name="Picture 10"/>
            <p:cNvPicPr>
              <a:picLocks noChangeAspect="1"/>
            </p:cNvPicPr>
            <p:nvPr userDrawn="1"/>
          </p:nvPicPr>
          <p:blipFill>
            <a:blip r:embed="rId2" cstate="screen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345906">
              <a:off x="6030057" y="718754"/>
              <a:ext cx="904791" cy="1016382"/>
            </a:xfrm>
            <a:prstGeom prst="rect">
              <a:avLst/>
            </a:prstGeom>
          </p:spPr>
        </p:pic>
        <p:grpSp>
          <p:nvGrpSpPr>
            <p:cNvPr id="17" name="그룹 16"/>
            <p:cNvGrpSpPr/>
            <p:nvPr userDrawn="1"/>
          </p:nvGrpSpPr>
          <p:grpSpPr>
            <a:xfrm>
              <a:off x="1836497" y="1008451"/>
              <a:ext cx="6917955" cy="5059766"/>
              <a:chOff x="1836497" y="1008451"/>
              <a:chExt cx="6917955" cy="5059766"/>
            </a:xfrm>
          </p:grpSpPr>
          <p:sp>
            <p:nvSpPr>
              <p:cNvPr id="18" name="Oval 1"/>
              <p:cNvSpPr/>
              <p:nvPr userDrawn="1"/>
            </p:nvSpPr>
            <p:spPr>
              <a:xfrm>
                <a:off x="2650440" y="1096774"/>
                <a:ext cx="5380074" cy="4971443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87752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27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19" name="Picture 7"/>
              <p:cNvPicPr>
                <a:picLocks noChangeAspect="1"/>
              </p:cNvPicPr>
              <p:nvPr userDrawn="1"/>
            </p:nvPicPr>
            <p:blipFill>
              <a:blip r:embed="rId3" cstate="screen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632787" y="1256262"/>
                <a:ext cx="1610659" cy="1809307"/>
              </a:xfrm>
              <a:prstGeom prst="rect">
                <a:avLst/>
              </a:prstGeom>
            </p:spPr>
          </p:pic>
          <p:pic>
            <p:nvPicPr>
              <p:cNvPr id="20" name="Picture 8"/>
              <p:cNvPicPr>
                <a:picLocks noChangeAspect="1"/>
              </p:cNvPicPr>
              <p:nvPr userDrawn="1"/>
            </p:nvPicPr>
            <p:blipFill>
              <a:blip r:embed="rId4" cstate="screen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065933" y="2962534"/>
                <a:ext cx="1252880" cy="1407400"/>
              </a:xfrm>
              <a:prstGeom prst="rect">
                <a:avLst/>
              </a:prstGeom>
            </p:spPr>
          </p:pic>
          <p:pic>
            <p:nvPicPr>
              <p:cNvPr id="21" name="Picture 9"/>
              <p:cNvPicPr>
                <a:picLocks noChangeAspect="1"/>
              </p:cNvPicPr>
              <p:nvPr userDrawn="1"/>
            </p:nvPicPr>
            <p:blipFill>
              <a:blip r:embed="rId2" cstate="screen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1345906">
                <a:off x="2012161" y="2003484"/>
                <a:ext cx="904791" cy="1016382"/>
              </a:xfrm>
              <a:prstGeom prst="rect">
                <a:avLst/>
              </a:prstGeom>
            </p:spPr>
          </p:pic>
          <p:pic>
            <p:nvPicPr>
              <p:cNvPr id="22" name="Picture 26"/>
              <p:cNvPicPr>
                <a:picLocks noChangeAspect="1"/>
              </p:cNvPicPr>
              <p:nvPr userDrawn="1"/>
            </p:nvPicPr>
            <p:blipFill>
              <a:blip r:embed="rId5" cstate="screen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863372" y="1256262"/>
                <a:ext cx="1297615" cy="1457654"/>
              </a:xfrm>
              <a:prstGeom prst="rect">
                <a:avLst/>
              </a:prstGeom>
            </p:spPr>
          </p:pic>
          <p:pic>
            <p:nvPicPr>
              <p:cNvPr id="23" name="Picture 12"/>
              <p:cNvPicPr>
                <a:picLocks noChangeAspect="1"/>
              </p:cNvPicPr>
              <p:nvPr userDrawn="1"/>
            </p:nvPicPr>
            <p:blipFill>
              <a:blip r:embed="rId6" cstate="screen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20061987">
                <a:off x="8148025" y="2446186"/>
                <a:ext cx="606427" cy="681220"/>
              </a:xfrm>
              <a:prstGeom prst="rect">
                <a:avLst/>
              </a:prstGeom>
            </p:spPr>
          </p:pic>
          <p:pic>
            <p:nvPicPr>
              <p:cNvPr id="24" name="Picture 14"/>
              <p:cNvPicPr>
                <a:picLocks noChangeAspect="1"/>
              </p:cNvPicPr>
              <p:nvPr userDrawn="1"/>
            </p:nvPicPr>
            <p:blipFill>
              <a:blip r:embed="rId7" cstate="screen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20061987">
                <a:off x="1836497" y="1008451"/>
                <a:ext cx="517665" cy="581511"/>
              </a:xfrm>
              <a:prstGeom prst="rect">
                <a:avLst/>
              </a:prstGeom>
            </p:spPr>
          </p:pic>
          <p:pic>
            <p:nvPicPr>
              <p:cNvPr id="25" name="Picture 15"/>
              <p:cNvPicPr>
                <a:picLocks noChangeAspect="1"/>
              </p:cNvPicPr>
              <p:nvPr userDrawn="1"/>
            </p:nvPicPr>
            <p:blipFill>
              <a:blip r:embed="rId8" cstate="screen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20061987">
                <a:off x="4376515" y="4792131"/>
                <a:ext cx="1003670" cy="1127456"/>
              </a:xfrm>
              <a:prstGeom prst="rect">
                <a:avLst/>
              </a:prstGeom>
            </p:spPr>
          </p:pic>
          <p:pic>
            <p:nvPicPr>
              <p:cNvPr id="26" name="Picture 16"/>
              <p:cNvPicPr>
                <a:picLocks noChangeAspect="1"/>
              </p:cNvPicPr>
              <p:nvPr userDrawn="1"/>
            </p:nvPicPr>
            <p:blipFill>
              <a:blip r:embed="rId9" cstate="screen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546326" y="1433386"/>
                <a:ext cx="776127" cy="871848"/>
              </a:xfrm>
              <a:prstGeom prst="rect">
                <a:avLst/>
              </a:prstGeom>
            </p:spPr>
          </p:pic>
          <p:pic>
            <p:nvPicPr>
              <p:cNvPr id="27" name="Picture 17"/>
              <p:cNvPicPr>
                <a:picLocks noChangeAspect="1"/>
              </p:cNvPicPr>
              <p:nvPr userDrawn="1"/>
            </p:nvPicPr>
            <p:blipFill>
              <a:blip r:embed="rId10" cstate="screen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169252" y="4157841"/>
                <a:ext cx="1243348" cy="1396692"/>
              </a:xfrm>
              <a:prstGeom prst="rect">
                <a:avLst/>
              </a:prstGeom>
            </p:spPr>
          </p:pic>
        </p:grpSp>
      </p:grpSp>
      <p:sp>
        <p:nvSpPr>
          <p:cNvPr id="10" name="TextBox 9"/>
          <p:cNvSpPr txBox="1"/>
          <p:nvPr userDrawn="1"/>
        </p:nvSpPr>
        <p:spPr>
          <a:xfrm>
            <a:off x="88153" y="6985351"/>
            <a:ext cx="6777856" cy="2400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5471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※ </a:t>
            </a:r>
            <a:r>
              <a:rPr kumimoji="0" lang="ko-KR" altLang="en-US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본 자료는 컨설턴트 교육용으로 </a:t>
            </a:r>
            <a:r>
              <a:rPr kumimoji="0" lang="ko-KR" altLang="en-US" sz="960" b="1" i="0" u="none" strike="noStrike" kern="1200" cap="none" spc="0" normalizeH="0" baseline="0" noProof="0" dirty="0" err="1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환급금</a:t>
            </a:r>
            <a:r>
              <a:rPr kumimoji="0" lang="ko-KR" altLang="en-US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 및 보험금 지급의 근거가 될 수 없으며 고객안내자료로 활용할 수 없습니다</a:t>
            </a:r>
            <a:r>
              <a:rPr kumimoji="0" lang="en-US" altLang="ko-KR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.</a:t>
            </a:r>
            <a:endParaRPr kumimoji="0" lang="ko-KR" altLang="en-US" sz="960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교보서체 Bold" panose="020B0600000101010101" pitchFamily="50" charset="-127"/>
              <a:ea typeface="교보서체 Bold" panose="020B0600000101010101" pitchFamily="50" charset="-127"/>
              <a:cs typeface="+mn-cs"/>
            </a:endParaRPr>
          </a:p>
        </p:txBody>
      </p:sp>
      <p:sp>
        <p:nvSpPr>
          <p:cNvPr id="93" name="슬라이드 번호 개체 틀 2"/>
          <p:cNvSpPr txBox="1">
            <a:spLocks/>
          </p:cNvSpPr>
          <p:nvPr userDrawn="1"/>
        </p:nvSpPr>
        <p:spPr>
          <a:xfrm>
            <a:off x="9691481" y="6967999"/>
            <a:ext cx="631527" cy="322319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91202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0" lang="en-US" altLang="ko-KR" sz="1200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912025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  <p:sp>
        <p:nvSpPr>
          <p:cNvPr id="94" name="직사각형 93"/>
          <p:cNvSpPr/>
          <p:nvPr userDrawn="1"/>
        </p:nvSpPr>
        <p:spPr>
          <a:xfrm>
            <a:off x="8936335" y="243061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3453364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2"/>
          <p:cNvSpPr txBox="1">
            <a:spLocks/>
          </p:cNvSpPr>
          <p:nvPr userDrawn="1"/>
        </p:nvSpPr>
        <p:spPr>
          <a:xfrm>
            <a:off x="9691481" y="6967999"/>
            <a:ext cx="631527" cy="322319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91202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0" lang="en-US" altLang="ko-KR" sz="1200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912025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  <p:sp>
        <p:nvSpPr>
          <p:cNvPr id="5" name="직사각형 4"/>
          <p:cNvSpPr/>
          <p:nvPr userDrawn="1"/>
        </p:nvSpPr>
        <p:spPr>
          <a:xfrm>
            <a:off x="8936335" y="243061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0367248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4" y="2"/>
            <a:ext cx="10387751" cy="7257341"/>
          </a:xfrm>
          <a:prstGeom prst="rect">
            <a:avLst/>
          </a:prstGeom>
        </p:spPr>
      </p:pic>
      <p:sp>
        <p:nvSpPr>
          <p:cNvPr id="6" name="슬라이드 번호 개체 틀 2"/>
          <p:cNvSpPr txBox="1">
            <a:spLocks/>
          </p:cNvSpPr>
          <p:nvPr userDrawn="1"/>
        </p:nvSpPr>
        <p:spPr>
          <a:xfrm>
            <a:off x="9691481" y="6967999"/>
            <a:ext cx="631527" cy="322319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91202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0" lang="en-US" altLang="ko-KR" sz="1200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912025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  <p:sp>
        <p:nvSpPr>
          <p:cNvPr id="4" name="직사각형 3"/>
          <p:cNvSpPr/>
          <p:nvPr userDrawn="1"/>
        </p:nvSpPr>
        <p:spPr>
          <a:xfrm>
            <a:off x="8936335" y="243061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0355001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1" y="3"/>
            <a:ext cx="10387751" cy="7257339"/>
          </a:xfrm>
          <a:prstGeom prst="rect">
            <a:avLst/>
          </a:prstGeom>
        </p:spPr>
      </p:pic>
      <p:sp>
        <p:nvSpPr>
          <p:cNvPr id="17" name="슬라이드 번호 개체 틀 2"/>
          <p:cNvSpPr txBox="1">
            <a:spLocks/>
          </p:cNvSpPr>
          <p:nvPr userDrawn="1"/>
        </p:nvSpPr>
        <p:spPr>
          <a:xfrm>
            <a:off x="9691481" y="6967999"/>
            <a:ext cx="631527" cy="322319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91202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0" lang="en-US" altLang="ko-KR" sz="1200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912025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  <p:sp>
        <p:nvSpPr>
          <p:cNvPr id="18" name="직사각형 17"/>
          <p:cNvSpPr/>
          <p:nvPr userDrawn="1"/>
        </p:nvSpPr>
        <p:spPr>
          <a:xfrm>
            <a:off x="8936335" y="243061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2151823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직사각형 14">
            <a:extLst>
              <a:ext uri="{FF2B5EF4-FFF2-40B4-BE49-F238E27FC236}">
                <a16:creationId xmlns:a16="http://schemas.microsoft.com/office/drawing/2014/main" id="{E67D0374-5C8F-4494-AC2E-787C5D1907CF}"/>
              </a:ext>
            </a:extLst>
          </p:cNvPr>
          <p:cNvSpPr/>
          <p:nvPr/>
        </p:nvSpPr>
        <p:spPr>
          <a:xfrm flipH="1">
            <a:off x="-1748" y="3427702"/>
            <a:ext cx="10383838" cy="3824894"/>
          </a:xfrm>
          <a:custGeom>
            <a:avLst/>
            <a:gdLst>
              <a:gd name="connsiteX0" fmla="*/ 0 w 12192000"/>
              <a:gd name="connsiteY0" fmla="*/ 0 h 1136469"/>
              <a:gd name="connsiteX1" fmla="*/ 12192000 w 12192000"/>
              <a:gd name="connsiteY1" fmla="*/ 0 h 1136469"/>
              <a:gd name="connsiteX2" fmla="*/ 12192000 w 12192000"/>
              <a:gd name="connsiteY2" fmla="*/ 1136469 h 1136469"/>
              <a:gd name="connsiteX3" fmla="*/ 0 w 12192000"/>
              <a:gd name="connsiteY3" fmla="*/ 1136469 h 1136469"/>
              <a:gd name="connsiteX4" fmla="*/ 0 w 12192000"/>
              <a:gd name="connsiteY4" fmla="*/ 0 h 1136469"/>
              <a:gd name="connsiteX0" fmla="*/ 0 w 12192000"/>
              <a:gd name="connsiteY0" fmla="*/ 200395 h 1336864"/>
              <a:gd name="connsiteX1" fmla="*/ 1488332 w 12192000"/>
              <a:gd name="connsiteY1" fmla="*/ 6 h 1336864"/>
              <a:gd name="connsiteX2" fmla="*/ 12192000 w 12192000"/>
              <a:gd name="connsiteY2" fmla="*/ 200395 h 1336864"/>
              <a:gd name="connsiteX3" fmla="*/ 12192000 w 12192000"/>
              <a:gd name="connsiteY3" fmla="*/ 1336864 h 1336864"/>
              <a:gd name="connsiteX4" fmla="*/ 0 w 12192000"/>
              <a:gd name="connsiteY4" fmla="*/ 1336864 h 1336864"/>
              <a:gd name="connsiteX5" fmla="*/ 0 w 12192000"/>
              <a:gd name="connsiteY5" fmla="*/ 200395 h 1336864"/>
              <a:gd name="connsiteX0" fmla="*/ 0 w 12192000"/>
              <a:gd name="connsiteY0" fmla="*/ 794367 h 1930836"/>
              <a:gd name="connsiteX1" fmla="*/ 1488332 w 12192000"/>
              <a:gd name="connsiteY1" fmla="*/ 593978 h 1930836"/>
              <a:gd name="connsiteX2" fmla="*/ 5184843 w 12192000"/>
              <a:gd name="connsiteY2" fmla="*/ 591 h 1930836"/>
              <a:gd name="connsiteX3" fmla="*/ 12192000 w 12192000"/>
              <a:gd name="connsiteY3" fmla="*/ 794367 h 1930836"/>
              <a:gd name="connsiteX4" fmla="*/ 12192000 w 12192000"/>
              <a:gd name="connsiteY4" fmla="*/ 1930836 h 1930836"/>
              <a:gd name="connsiteX5" fmla="*/ 0 w 12192000"/>
              <a:gd name="connsiteY5" fmla="*/ 1930836 h 1930836"/>
              <a:gd name="connsiteX6" fmla="*/ 0 w 12192000"/>
              <a:gd name="connsiteY6" fmla="*/ 794367 h 1930836"/>
              <a:gd name="connsiteX0" fmla="*/ 0 w 12192000"/>
              <a:gd name="connsiteY0" fmla="*/ 794367 h 1930836"/>
              <a:gd name="connsiteX1" fmla="*/ 1488332 w 12192000"/>
              <a:gd name="connsiteY1" fmla="*/ 593978 h 1930836"/>
              <a:gd name="connsiteX2" fmla="*/ 5184843 w 12192000"/>
              <a:gd name="connsiteY2" fmla="*/ 591 h 1930836"/>
              <a:gd name="connsiteX3" fmla="*/ 8365787 w 12192000"/>
              <a:gd name="connsiteY3" fmla="*/ 623161 h 1930836"/>
              <a:gd name="connsiteX4" fmla="*/ 12192000 w 12192000"/>
              <a:gd name="connsiteY4" fmla="*/ 794367 h 1930836"/>
              <a:gd name="connsiteX5" fmla="*/ 12192000 w 12192000"/>
              <a:gd name="connsiteY5" fmla="*/ 1930836 h 1930836"/>
              <a:gd name="connsiteX6" fmla="*/ 0 w 12192000"/>
              <a:gd name="connsiteY6" fmla="*/ 1930836 h 1930836"/>
              <a:gd name="connsiteX7" fmla="*/ 0 w 12192000"/>
              <a:gd name="connsiteY7" fmla="*/ 794367 h 1930836"/>
              <a:gd name="connsiteX0" fmla="*/ 0 w 12192000"/>
              <a:gd name="connsiteY0" fmla="*/ 794367 h 1930836"/>
              <a:gd name="connsiteX1" fmla="*/ 1488332 w 12192000"/>
              <a:gd name="connsiteY1" fmla="*/ 593978 h 1930836"/>
              <a:gd name="connsiteX2" fmla="*/ 5184843 w 12192000"/>
              <a:gd name="connsiteY2" fmla="*/ 591 h 1930836"/>
              <a:gd name="connsiteX3" fmla="*/ 8365787 w 12192000"/>
              <a:gd name="connsiteY3" fmla="*/ 623161 h 1930836"/>
              <a:gd name="connsiteX4" fmla="*/ 10758791 w 12192000"/>
              <a:gd name="connsiteY4" fmla="*/ 272965 h 1930836"/>
              <a:gd name="connsiteX5" fmla="*/ 12192000 w 12192000"/>
              <a:gd name="connsiteY5" fmla="*/ 794367 h 1930836"/>
              <a:gd name="connsiteX6" fmla="*/ 12192000 w 12192000"/>
              <a:gd name="connsiteY6" fmla="*/ 1930836 h 1930836"/>
              <a:gd name="connsiteX7" fmla="*/ 0 w 12192000"/>
              <a:gd name="connsiteY7" fmla="*/ 1930836 h 1930836"/>
              <a:gd name="connsiteX8" fmla="*/ 0 w 12192000"/>
              <a:gd name="connsiteY8" fmla="*/ 794367 h 1930836"/>
              <a:gd name="connsiteX0" fmla="*/ 0 w 12192000"/>
              <a:gd name="connsiteY0" fmla="*/ 794284 h 1930753"/>
              <a:gd name="connsiteX1" fmla="*/ 1527243 w 12192000"/>
              <a:gd name="connsiteY1" fmla="*/ 700899 h 1930753"/>
              <a:gd name="connsiteX2" fmla="*/ 5184843 w 12192000"/>
              <a:gd name="connsiteY2" fmla="*/ 508 h 1930753"/>
              <a:gd name="connsiteX3" fmla="*/ 8365787 w 12192000"/>
              <a:gd name="connsiteY3" fmla="*/ 623078 h 1930753"/>
              <a:gd name="connsiteX4" fmla="*/ 10758791 w 12192000"/>
              <a:gd name="connsiteY4" fmla="*/ 272882 h 1930753"/>
              <a:gd name="connsiteX5" fmla="*/ 12192000 w 12192000"/>
              <a:gd name="connsiteY5" fmla="*/ 794284 h 1930753"/>
              <a:gd name="connsiteX6" fmla="*/ 12192000 w 12192000"/>
              <a:gd name="connsiteY6" fmla="*/ 1930753 h 1930753"/>
              <a:gd name="connsiteX7" fmla="*/ 0 w 12192000"/>
              <a:gd name="connsiteY7" fmla="*/ 1930753 h 1930753"/>
              <a:gd name="connsiteX8" fmla="*/ 0 w 12192000"/>
              <a:gd name="connsiteY8" fmla="*/ 794284 h 1930753"/>
              <a:gd name="connsiteX0" fmla="*/ 0 w 12192000"/>
              <a:gd name="connsiteY0" fmla="*/ 794475 h 1930944"/>
              <a:gd name="connsiteX1" fmla="*/ 1478605 w 12192000"/>
              <a:gd name="connsiteY1" fmla="*/ 492831 h 1930944"/>
              <a:gd name="connsiteX2" fmla="*/ 5184843 w 12192000"/>
              <a:gd name="connsiteY2" fmla="*/ 699 h 1930944"/>
              <a:gd name="connsiteX3" fmla="*/ 8365787 w 12192000"/>
              <a:gd name="connsiteY3" fmla="*/ 623269 h 1930944"/>
              <a:gd name="connsiteX4" fmla="*/ 10758791 w 12192000"/>
              <a:gd name="connsiteY4" fmla="*/ 273073 h 1930944"/>
              <a:gd name="connsiteX5" fmla="*/ 12192000 w 12192000"/>
              <a:gd name="connsiteY5" fmla="*/ 794475 h 1930944"/>
              <a:gd name="connsiteX6" fmla="*/ 12192000 w 12192000"/>
              <a:gd name="connsiteY6" fmla="*/ 1930944 h 1930944"/>
              <a:gd name="connsiteX7" fmla="*/ 0 w 12192000"/>
              <a:gd name="connsiteY7" fmla="*/ 1930944 h 1930944"/>
              <a:gd name="connsiteX8" fmla="*/ 0 w 12192000"/>
              <a:gd name="connsiteY8" fmla="*/ 794475 h 1930944"/>
              <a:gd name="connsiteX0" fmla="*/ 0 w 12192000"/>
              <a:gd name="connsiteY0" fmla="*/ 816962 h 1953431"/>
              <a:gd name="connsiteX1" fmla="*/ 1478605 w 12192000"/>
              <a:gd name="connsiteY1" fmla="*/ 515318 h 1953431"/>
              <a:gd name="connsiteX2" fmla="*/ 3871609 w 12192000"/>
              <a:gd name="connsiteY2" fmla="*/ 671 h 1953431"/>
              <a:gd name="connsiteX3" fmla="*/ 8365787 w 12192000"/>
              <a:gd name="connsiteY3" fmla="*/ 645756 h 1953431"/>
              <a:gd name="connsiteX4" fmla="*/ 10758791 w 12192000"/>
              <a:gd name="connsiteY4" fmla="*/ 295560 h 1953431"/>
              <a:gd name="connsiteX5" fmla="*/ 12192000 w 12192000"/>
              <a:gd name="connsiteY5" fmla="*/ 816962 h 1953431"/>
              <a:gd name="connsiteX6" fmla="*/ 12192000 w 12192000"/>
              <a:gd name="connsiteY6" fmla="*/ 1953431 h 1953431"/>
              <a:gd name="connsiteX7" fmla="*/ 0 w 12192000"/>
              <a:gd name="connsiteY7" fmla="*/ 1953431 h 1953431"/>
              <a:gd name="connsiteX8" fmla="*/ 0 w 12192000"/>
              <a:gd name="connsiteY8" fmla="*/ 816962 h 1953431"/>
              <a:gd name="connsiteX0" fmla="*/ 0 w 12192000"/>
              <a:gd name="connsiteY0" fmla="*/ 816962 h 1953431"/>
              <a:gd name="connsiteX1" fmla="*/ 1478605 w 12192000"/>
              <a:gd name="connsiteY1" fmla="*/ 515318 h 1953431"/>
              <a:gd name="connsiteX2" fmla="*/ 3871609 w 12192000"/>
              <a:gd name="connsiteY2" fmla="*/ 671 h 1953431"/>
              <a:gd name="connsiteX3" fmla="*/ 8365787 w 12192000"/>
              <a:gd name="connsiteY3" fmla="*/ 645756 h 1953431"/>
              <a:gd name="connsiteX4" fmla="*/ 10758791 w 12192000"/>
              <a:gd name="connsiteY4" fmla="*/ 295560 h 1953431"/>
              <a:gd name="connsiteX5" fmla="*/ 12192000 w 12192000"/>
              <a:gd name="connsiteY5" fmla="*/ 816962 h 1953431"/>
              <a:gd name="connsiteX6" fmla="*/ 12192000 w 12192000"/>
              <a:gd name="connsiteY6" fmla="*/ 1953431 h 1953431"/>
              <a:gd name="connsiteX7" fmla="*/ 0 w 12192000"/>
              <a:gd name="connsiteY7" fmla="*/ 1953431 h 1953431"/>
              <a:gd name="connsiteX8" fmla="*/ 0 w 12192000"/>
              <a:gd name="connsiteY8" fmla="*/ 816962 h 1953431"/>
              <a:gd name="connsiteX0" fmla="*/ 0 w 12192000"/>
              <a:gd name="connsiteY0" fmla="*/ 816962 h 1953431"/>
              <a:gd name="connsiteX1" fmla="*/ 1478605 w 12192000"/>
              <a:gd name="connsiteY1" fmla="*/ 515318 h 1953431"/>
              <a:gd name="connsiteX2" fmla="*/ 3871609 w 12192000"/>
              <a:gd name="connsiteY2" fmla="*/ 671 h 1953431"/>
              <a:gd name="connsiteX3" fmla="*/ 6770451 w 12192000"/>
              <a:gd name="connsiteY3" fmla="*/ 702042 h 1953431"/>
              <a:gd name="connsiteX4" fmla="*/ 10758791 w 12192000"/>
              <a:gd name="connsiteY4" fmla="*/ 295560 h 1953431"/>
              <a:gd name="connsiteX5" fmla="*/ 12192000 w 12192000"/>
              <a:gd name="connsiteY5" fmla="*/ 816962 h 1953431"/>
              <a:gd name="connsiteX6" fmla="*/ 12192000 w 12192000"/>
              <a:gd name="connsiteY6" fmla="*/ 1953431 h 1953431"/>
              <a:gd name="connsiteX7" fmla="*/ 0 w 12192000"/>
              <a:gd name="connsiteY7" fmla="*/ 1953431 h 1953431"/>
              <a:gd name="connsiteX8" fmla="*/ 0 w 12192000"/>
              <a:gd name="connsiteY8" fmla="*/ 816962 h 1953431"/>
              <a:gd name="connsiteX0" fmla="*/ 0 w 12192000"/>
              <a:gd name="connsiteY0" fmla="*/ 816962 h 1953431"/>
              <a:gd name="connsiteX1" fmla="*/ 1478605 w 12192000"/>
              <a:gd name="connsiteY1" fmla="*/ 515318 h 1953431"/>
              <a:gd name="connsiteX2" fmla="*/ 3871609 w 12192000"/>
              <a:gd name="connsiteY2" fmla="*/ 671 h 1953431"/>
              <a:gd name="connsiteX3" fmla="*/ 6770451 w 12192000"/>
              <a:gd name="connsiteY3" fmla="*/ 702042 h 1953431"/>
              <a:gd name="connsiteX4" fmla="*/ 10204315 w 12192000"/>
              <a:gd name="connsiteY4" fmla="*/ 1083565 h 1953431"/>
              <a:gd name="connsiteX5" fmla="*/ 12192000 w 12192000"/>
              <a:gd name="connsiteY5" fmla="*/ 816962 h 1953431"/>
              <a:gd name="connsiteX6" fmla="*/ 12192000 w 12192000"/>
              <a:gd name="connsiteY6" fmla="*/ 1953431 h 1953431"/>
              <a:gd name="connsiteX7" fmla="*/ 0 w 12192000"/>
              <a:gd name="connsiteY7" fmla="*/ 1953431 h 1953431"/>
              <a:gd name="connsiteX8" fmla="*/ 0 w 12192000"/>
              <a:gd name="connsiteY8" fmla="*/ 816962 h 1953431"/>
              <a:gd name="connsiteX0" fmla="*/ 0 w 12192000"/>
              <a:gd name="connsiteY0" fmla="*/ 816962 h 1953431"/>
              <a:gd name="connsiteX1" fmla="*/ 1478605 w 12192000"/>
              <a:gd name="connsiteY1" fmla="*/ 515318 h 1953431"/>
              <a:gd name="connsiteX2" fmla="*/ 3871609 w 12192000"/>
              <a:gd name="connsiteY2" fmla="*/ 671 h 1953431"/>
              <a:gd name="connsiteX3" fmla="*/ 6770451 w 12192000"/>
              <a:gd name="connsiteY3" fmla="*/ 702042 h 1953431"/>
              <a:gd name="connsiteX4" fmla="*/ 10204315 w 12192000"/>
              <a:gd name="connsiteY4" fmla="*/ 1083565 h 1953431"/>
              <a:gd name="connsiteX5" fmla="*/ 12182273 w 12192000"/>
              <a:gd name="connsiteY5" fmla="*/ 1503652 h 1953431"/>
              <a:gd name="connsiteX6" fmla="*/ 12192000 w 12192000"/>
              <a:gd name="connsiteY6" fmla="*/ 1953431 h 1953431"/>
              <a:gd name="connsiteX7" fmla="*/ 0 w 12192000"/>
              <a:gd name="connsiteY7" fmla="*/ 1953431 h 1953431"/>
              <a:gd name="connsiteX8" fmla="*/ 0 w 12192000"/>
              <a:gd name="connsiteY8" fmla="*/ 816962 h 1953431"/>
              <a:gd name="connsiteX0" fmla="*/ 0 w 12192000"/>
              <a:gd name="connsiteY0" fmla="*/ 1098010 h 2234479"/>
              <a:gd name="connsiteX1" fmla="*/ 1478605 w 12192000"/>
              <a:gd name="connsiteY1" fmla="*/ 796366 h 2234479"/>
              <a:gd name="connsiteX2" fmla="*/ 3547759 w 12192000"/>
              <a:gd name="connsiteY2" fmla="*/ 592 h 2234479"/>
              <a:gd name="connsiteX3" fmla="*/ 6770451 w 12192000"/>
              <a:gd name="connsiteY3" fmla="*/ 983090 h 2234479"/>
              <a:gd name="connsiteX4" fmla="*/ 10204315 w 12192000"/>
              <a:gd name="connsiteY4" fmla="*/ 1364613 h 2234479"/>
              <a:gd name="connsiteX5" fmla="*/ 12182273 w 12192000"/>
              <a:gd name="connsiteY5" fmla="*/ 1784700 h 2234479"/>
              <a:gd name="connsiteX6" fmla="*/ 12192000 w 12192000"/>
              <a:gd name="connsiteY6" fmla="*/ 2234479 h 2234479"/>
              <a:gd name="connsiteX7" fmla="*/ 0 w 12192000"/>
              <a:gd name="connsiteY7" fmla="*/ 2234479 h 2234479"/>
              <a:gd name="connsiteX8" fmla="*/ 0 w 12192000"/>
              <a:gd name="connsiteY8" fmla="*/ 1098010 h 2234479"/>
              <a:gd name="connsiteX0" fmla="*/ 0 w 12192000"/>
              <a:gd name="connsiteY0" fmla="*/ 1098019 h 2234488"/>
              <a:gd name="connsiteX1" fmla="*/ 1373830 w 12192000"/>
              <a:gd name="connsiteY1" fmla="*/ 787158 h 2234488"/>
              <a:gd name="connsiteX2" fmla="*/ 3547759 w 12192000"/>
              <a:gd name="connsiteY2" fmla="*/ 601 h 2234488"/>
              <a:gd name="connsiteX3" fmla="*/ 6770451 w 12192000"/>
              <a:gd name="connsiteY3" fmla="*/ 983099 h 2234488"/>
              <a:gd name="connsiteX4" fmla="*/ 10204315 w 12192000"/>
              <a:gd name="connsiteY4" fmla="*/ 1364622 h 2234488"/>
              <a:gd name="connsiteX5" fmla="*/ 12182273 w 12192000"/>
              <a:gd name="connsiteY5" fmla="*/ 1784709 h 2234488"/>
              <a:gd name="connsiteX6" fmla="*/ 12192000 w 12192000"/>
              <a:gd name="connsiteY6" fmla="*/ 2234488 h 2234488"/>
              <a:gd name="connsiteX7" fmla="*/ 0 w 12192000"/>
              <a:gd name="connsiteY7" fmla="*/ 2234488 h 2234488"/>
              <a:gd name="connsiteX8" fmla="*/ 0 w 12192000"/>
              <a:gd name="connsiteY8" fmla="*/ 1098019 h 2234488"/>
              <a:gd name="connsiteX0" fmla="*/ 0 w 12192000"/>
              <a:gd name="connsiteY0" fmla="*/ 1098036 h 2234505"/>
              <a:gd name="connsiteX1" fmla="*/ 1373830 w 12192000"/>
              <a:gd name="connsiteY1" fmla="*/ 787175 h 2234505"/>
              <a:gd name="connsiteX2" fmla="*/ 3547759 w 12192000"/>
              <a:gd name="connsiteY2" fmla="*/ 618 h 2234505"/>
              <a:gd name="connsiteX3" fmla="*/ 6770451 w 12192000"/>
              <a:gd name="connsiteY3" fmla="*/ 983116 h 2234505"/>
              <a:gd name="connsiteX4" fmla="*/ 10204315 w 12192000"/>
              <a:gd name="connsiteY4" fmla="*/ 1364639 h 2234505"/>
              <a:gd name="connsiteX5" fmla="*/ 12182273 w 12192000"/>
              <a:gd name="connsiteY5" fmla="*/ 1784726 h 2234505"/>
              <a:gd name="connsiteX6" fmla="*/ 12192000 w 12192000"/>
              <a:gd name="connsiteY6" fmla="*/ 2234505 h 2234505"/>
              <a:gd name="connsiteX7" fmla="*/ 0 w 12192000"/>
              <a:gd name="connsiteY7" fmla="*/ 2234505 h 2234505"/>
              <a:gd name="connsiteX8" fmla="*/ 0 w 12192000"/>
              <a:gd name="connsiteY8" fmla="*/ 1098036 h 2234505"/>
              <a:gd name="connsiteX0" fmla="*/ 0 w 12192000"/>
              <a:gd name="connsiteY0" fmla="*/ 1098036 h 2234505"/>
              <a:gd name="connsiteX1" fmla="*/ 1373830 w 12192000"/>
              <a:gd name="connsiteY1" fmla="*/ 787175 h 2234505"/>
              <a:gd name="connsiteX2" fmla="*/ 3547759 w 12192000"/>
              <a:gd name="connsiteY2" fmla="*/ 618 h 2234505"/>
              <a:gd name="connsiteX3" fmla="*/ 6770451 w 12192000"/>
              <a:gd name="connsiteY3" fmla="*/ 983116 h 2234505"/>
              <a:gd name="connsiteX4" fmla="*/ 10204315 w 12192000"/>
              <a:gd name="connsiteY4" fmla="*/ 1364639 h 2234505"/>
              <a:gd name="connsiteX5" fmla="*/ 12182273 w 12192000"/>
              <a:gd name="connsiteY5" fmla="*/ 1784726 h 2234505"/>
              <a:gd name="connsiteX6" fmla="*/ 12192000 w 12192000"/>
              <a:gd name="connsiteY6" fmla="*/ 2234505 h 2234505"/>
              <a:gd name="connsiteX7" fmla="*/ 0 w 12192000"/>
              <a:gd name="connsiteY7" fmla="*/ 2234505 h 2234505"/>
              <a:gd name="connsiteX8" fmla="*/ 0 w 12192000"/>
              <a:gd name="connsiteY8" fmla="*/ 1098036 h 2234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234505">
                <a:moveTo>
                  <a:pt x="0" y="1098036"/>
                </a:moveTo>
                <a:cubicBezTo>
                  <a:pt x="418289" y="1099333"/>
                  <a:pt x="786969" y="983835"/>
                  <a:pt x="1373830" y="787175"/>
                </a:cubicBezTo>
                <a:cubicBezTo>
                  <a:pt x="1974648" y="585838"/>
                  <a:pt x="2296133" y="-22080"/>
                  <a:pt x="3547759" y="618"/>
                </a:cubicBezTo>
                <a:cubicBezTo>
                  <a:pt x="4604831" y="55435"/>
                  <a:pt x="5542334" y="926296"/>
                  <a:pt x="6770451" y="983116"/>
                </a:cubicBezTo>
                <a:cubicBezTo>
                  <a:pt x="7652426" y="1028512"/>
                  <a:pt x="9322340" y="1319243"/>
                  <a:pt x="10204315" y="1364639"/>
                </a:cubicBezTo>
                <a:lnTo>
                  <a:pt x="12182273" y="1784726"/>
                </a:lnTo>
                <a:lnTo>
                  <a:pt x="12192000" y="2234505"/>
                </a:lnTo>
                <a:lnTo>
                  <a:pt x="0" y="2234505"/>
                </a:lnTo>
                <a:lnTo>
                  <a:pt x="0" y="1098036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8775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727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0" name="직사각형 14">
            <a:extLst>
              <a:ext uri="{FF2B5EF4-FFF2-40B4-BE49-F238E27FC236}">
                <a16:creationId xmlns:a16="http://schemas.microsoft.com/office/drawing/2014/main" id="{60E22826-EFB7-4B04-AF0C-757A816E759C}"/>
              </a:ext>
            </a:extLst>
          </p:cNvPr>
          <p:cNvSpPr/>
          <p:nvPr/>
        </p:nvSpPr>
        <p:spPr>
          <a:xfrm flipH="1">
            <a:off x="-1748" y="5144514"/>
            <a:ext cx="10383838" cy="2108084"/>
          </a:xfrm>
          <a:custGeom>
            <a:avLst/>
            <a:gdLst>
              <a:gd name="connsiteX0" fmla="*/ 0 w 12192000"/>
              <a:gd name="connsiteY0" fmla="*/ 0 h 1136469"/>
              <a:gd name="connsiteX1" fmla="*/ 12192000 w 12192000"/>
              <a:gd name="connsiteY1" fmla="*/ 0 h 1136469"/>
              <a:gd name="connsiteX2" fmla="*/ 12192000 w 12192000"/>
              <a:gd name="connsiteY2" fmla="*/ 1136469 h 1136469"/>
              <a:gd name="connsiteX3" fmla="*/ 0 w 12192000"/>
              <a:gd name="connsiteY3" fmla="*/ 1136469 h 1136469"/>
              <a:gd name="connsiteX4" fmla="*/ 0 w 12192000"/>
              <a:gd name="connsiteY4" fmla="*/ 0 h 1136469"/>
              <a:gd name="connsiteX0" fmla="*/ 0 w 12192000"/>
              <a:gd name="connsiteY0" fmla="*/ 200395 h 1336864"/>
              <a:gd name="connsiteX1" fmla="*/ 1488332 w 12192000"/>
              <a:gd name="connsiteY1" fmla="*/ 6 h 1336864"/>
              <a:gd name="connsiteX2" fmla="*/ 12192000 w 12192000"/>
              <a:gd name="connsiteY2" fmla="*/ 200395 h 1336864"/>
              <a:gd name="connsiteX3" fmla="*/ 12192000 w 12192000"/>
              <a:gd name="connsiteY3" fmla="*/ 1336864 h 1336864"/>
              <a:gd name="connsiteX4" fmla="*/ 0 w 12192000"/>
              <a:gd name="connsiteY4" fmla="*/ 1336864 h 1336864"/>
              <a:gd name="connsiteX5" fmla="*/ 0 w 12192000"/>
              <a:gd name="connsiteY5" fmla="*/ 200395 h 1336864"/>
              <a:gd name="connsiteX0" fmla="*/ 0 w 12192000"/>
              <a:gd name="connsiteY0" fmla="*/ 794367 h 1930836"/>
              <a:gd name="connsiteX1" fmla="*/ 1488332 w 12192000"/>
              <a:gd name="connsiteY1" fmla="*/ 593978 h 1930836"/>
              <a:gd name="connsiteX2" fmla="*/ 5184843 w 12192000"/>
              <a:gd name="connsiteY2" fmla="*/ 591 h 1930836"/>
              <a:gd name="connsiteX3" fmla="*/ 12192000 w 12192000"/>
              <a:gd name="connsiteY3" fmla="*/ 794367 h 1930836"/>
              <a:gd name="connsiteX4" fmla="*/ 12192000 w 12192000"/>
              <a:gd name="connsiteY4" fmla="*/ 1930836 h 1930836"/>
              <a:gd name="connsiteX5" fmla="*/ 0 w 12192000"/>
              <a:gd name="connsiteY5" fmla="*/ 1930836 h 1930836"/>
              <a:gd name="connsiteX6" fmla="*/ 0 w 12192000"/>
              <a:gd name="connsiteY6" fmla="*/ 794367 h 1930836"/>
              <a:gd name="connsiteX0" fmla="*/ 0 w 12192000"/>
              <a:gd name="connsiteY0" fmla="*/ 794367 h 1930836"/>
              <a:gd name="connsiteX1" fmla="*/ 1488332 w 12192000"/>
              <a:gd name="connsiteY1" fmla="*/ 593978 h 1930836"/>
              <a:gd name="connsiteX2" fmla="*/ 5184843 w 12192000"/>
              <a:gd name="connsiteY2" fmla="*/ 591 h 1930836"/>
              <a:gd name="connsiteX3" fmla="*/ 8365787 w 12192000"/>
              <a:gd name="connsiteY3" fmla="*/ 623161 h 1930836"/>
              <a:gd name="connsiteX4" fmla="*/ 12192000 w 12192000"/>
              <a:gd name="connsiteY4" fmla="*/ 794367 h 1930836"/>
              <a:gd name="connsiteX5" fmla="*/ 12192000 w 12192000"/>
              <a:gd name="connsiteY5" fmla="*/ 1930836 h 1930836"/>
              <a:gd name="connsiteX6" fmla="*/ 0 w 12192000"/>
              <a:gd name="connsiteY6" fmla="*/ 1930836 h 1930836"/>
              <a:gd name="connsiteX7" fmla="*/ 0 w 12192000"/>
              <a:gd name="connsiteY7" fmla="*/ 794367 h 1930836"/>
              <a:gd name="connsiteX0" fmla="*/ 0 w 12192000"/>
              <a:gd name="connsiteY0" fmla="*/ 794367 h 1930836"/>
              <a:gd name="connsiteX1" fmla="*/ 1488332 w 12192000"/>
              <a:gd name="connsiteY1" fmla="*/ 593978 h 1930836"/>
              <a:gd name="connsiteX2" fmla="*/ 5184843 w 12192000"/>
              <a:gd name="connsiteY2" fmla="*/ 591 h 1930836"/>
              <a:gd name="connsiteX3" fmla="*/ 8365787 w 12192000"/>
              <a:gd name="connsiteY3" fmla="*/ 623161 h 1930836"/>
              <a:gd name="connsiteX4" fmla="*/ 10758791 w 12192000"/>
              <a:gd name="connsiteY4" fmla="*/ 272965 h 1930836"/>
              <a:gd name="connsiteX5" fmla="*/ 12192000 w 12192000"/>
              <a:gd name="connsiteY5" fmla="*/ 794367 h 1930836"/>
              <a:gd name="connsiteX6" fmla="*/ 12192000 w 12192000"/>
              <a:gd name="connsiteY6" fmla="*/ 1930836 h 1930836"/>
              <a:gd name="connsiteX7" fmla="*/ 0 w 12192000"/>
              <a:gd name="connsiteY7" fmla="*/ 1930836 h 1930836"/>
              <a:gd name="connsiteX8" fmla="*/ 0 w 12192000"/>
              <a:gd name="connsiteY8" fmla="*/ 794367 h 1930836"/>
              <a:gd name="connsiteX0" fmla="*/ 0 w 12192000"/>
              <a:gd name="connsiteY0" fmla="*/ 794284 h 1930753"/>
              <a:gd name="connsiteX1" fmla="*/ 1527243 w 12192000"/>
              <a:gd name="connsiteY1" fmla="*/ 700899 h 1930753"/>
              <a:gd name="connsiteX2" fmla="*/ 5184843 w 12192000"/>
              <a:gd name="connsiteY2" fmla="*/ 508 h 1930753"/>
              <a:gd name="connsiteX3" fmla="*/ 8365787 w 12192000"/>
              <a:gd name="connsiteY3" fmla="*/ 623078 h 1930753"/>
              <a:gd name="connsiteX4" fmla="*/ 10758791 w 12192000"/>
              <a:gd name="connsiteY4" fmla="*/ 272882 h 1930753"/>
              <a:gd name="connsiteX5" fmla="*/ 12192000 w 12192000"/>
              <a:gd name="connsiteY5" fmla="*/ 794284 h 1930753"/>
              <a:gd name="connsiteX6" fmla="*/ 12192000 w 12192000"/>
              <a:gd name="connsiteY6" fmla="*/ 1930753 h 1930753"/>
              <a:gd name="connsiteX7" fmla="*/ 0 w 12192000"/>
              <a:gd name="connsiteY7" fmla="*/ 1930753 h 1930753"/>
              <a:gd name="connsiteX8" fmla="*/ 0 w 12192000"/>
              <a:gd name="connsiteY8" fmla="*/ 794284 h 1930753"/>
              <a:gd name="connsiteX0" fmla="*/ 0 w 12192000"/>
              <a:gd name="connsiteY0" fmla="*/ 794312 h 1930781"/>
              <a:gd name="connsiteX1" fmla="*/ 2587557 w 12192000"/>
              <a:gd name="connsiteY1" fmla="*/ 660911 h 1930781"/>
              <a:gd name="connsiteX2" fmla="*/ 5184843 w 12192000"/>
              <a:gd name="connsiteY2" fmla="*/ 536 h 1930781"/>
              <a:gd name="connsiteX3" fmla="*/ 8365787 w 12192000"/>
              <a:gd name="connsiteY3" fmla="*/ 623106 h 1930781"/>
              <a:gd name="connsiteX4" fmla="*/ 10758791 w 12192000"/>
              <a:gd name="connsiteY4" fmla="*/ 272910 h 1930781"/>
              <a:gd name="connsiteX5" fmla="*/ 12192000 w 12192000"/>
              <a:gd name="connsiteY5" fmla="*/ 794312 h 1930781"/>
              <a:gd name="connsiteX6" fmla="*/ 12192000 w 12192000"/>
              <a:gd name="connsiteY6" fmla="*/ 1930781 h 1930781"/>
              <a:gd name="connsiteX7" fmla="*/ 0 w 12192000"/>
              <a:gd name="connsiteY7" fmla="*/ 1930781 h 1930781"/>
              <a:gd name="connsiteX8" fmla="*/ 0 w 12192000"/>
              <a:gd name="connsiteY8" fmla="*/ 794312 h 1930781"/>
              <a:gd name="connsiteX0" fmla="*/ 0 w 12192000"/>
              <a:gd name="connsiteY0" fmla="*/ 866290 h 2002759"/>
              <a:gd name="connsiteX1" fmla="*/ 2587557 w 12192000"/>
              <a:gd name="connsiteY1" fmla="*/ 732889 h 2002759"/>
              <a:gd name="connsiteX2" fmla="*/ 5710136 w 12192000"/>
              <a:gd name="connsiteY2" fmla="*/ 487 h 2002759"/>
              <a:gd name="connsiteX3" fmla="*/ 8365787 w 12192000"/>
              <a:gd name="connsiteY3" fmla="*/ 695084 h 2002759"/>
              <a:gd name="connsiteX4" fmla="*/ 10758791 w 12192000"/>
              <a:gd name="connsiteY4" fmla="*/ 344888 h 2002759"/>
              <a:gd name="connsiteX5" fmla="*/ 12192000 w 12192000"/>
              <a:gd name="connsiteY5" fmla="*/ 866290 h 2002759"/>
              <a:gd name="connsiteX6" fmla="*/ 12192000 w 12192000"/>
              <a:gd name="connsiteY6" fmla="*/ 2002759 h 2002759"/>
              <a:gd name="connsiteX7" fmla="*/ 0 w 12192000"/>
              <a:gd name="connsiteY7" fmla="*/ 2002759 h 2002759"/>
              <a:gd name="connsiteX8" fmla="*/ 0 w 12192000"/>
              <a:gd name="connsiteY8" fmla="*/ 866290 h 2002759"/>
              <a:gd name="connsiteX0" fmla="*/ 0 w 12192000"/>
              <a:gd name="connsiteY0" fmla="*/ 866290 h 2002759"/>
              <a:gd name="connsiteX1" fmla="*/ 2587557 w 12192000"/>
              <a:gd name="connsiteY1" fmla="*/ 732889 h 2002759"/>
              <a:gd name="connsiteX2" fmla="*/ 5710136 w 12192000"/>
              <a:gd name="connsiteY2" fmla="*/ 487 h 2002759"/>
              <a:gd name="connsiteX3" fmla="*/ 7500025 w 12192000"/>
              <a:gd name="connsiteY3" fmla="*/ 286927 h 2002759"/>
              <a:gd name="connsiteX4" fmla="*/ 10758791 w 12192000"/>
              <a:gd name="connsiteY4" fmla="*/ 344888 h 2002759"/>
              <a:gd name="connsiteX5" fmla="*/ 12192000 w 12192000"/>
              <a:gd name="connsiteY5" fmla="*/ 866290 h 2002759"/>
              <a:gd name="connsiteX6" fmla="*/ 12192000 w 12192000"/>
              <a:gd name="connsiteY6" fmla="*/ 2002759 h 2002759"/>
              <a:gd name="connsiteX7" fmla="*/ 0 w 12192000"/>
              <a:gd name="connsiteY7" fmla="*/ 2002759 h 2002759"/>
              <a:gd name="connsiteX8" fmla="*/ 0 w 12192000"/>
              <a:gd name="connsiteY8" fmla="*/ 866290 h 2002759"/>
              <a:gd name="connsiteX0" fmla="*/ 0 w 12192000"/>
              <a:gd name="connsiteY0" fmla="*/ 1052221 h 2188690"/>
              <a:gd name="connsiteX1" fmla="*/ 2587557 w 12192000"/>
              <a:gd name="connsiteY1" fmla="*/ 918820 h 2188690"/>
              <a:gd name="connsiteX2" fmla="*/ 5710136 w 12192000"/>
              <a:gd name="connsiteY2" fmla="*/ 186418 h 2188690"/>
              <a:gd name="connsiteX3" fmla="*/ 7500025 w 12192000"/>
              <a:gd name="connsiteY3" fmla="*/ 472858 h 2188690"/>
              <a:gd name="connsiteX4" fmla="*/ 10593421 w 12192000"/>
              <a:gd name="connsiteY4" fmla="*/ 2616 h 2188690"/>
              <a:gd name="connsiteX5" fmla="*/ 12192000 w 12192000"/>
              <a:gd name="connsiteY5" fmla="*/ 1052221 h 2188690"/>
              <a:gd name="connsiteX6" fmla="*/ 12192000 w 12192000"/>
              <a:gd name="connsiteY6" fmla="*/ 2188690 h 2188690"/>
              <a:gd name="connsiteX7" fmla="*/ 0 w 12192000"/>
              <a:gd name="connsiteY7" fmla="*/ 2188690 h 2188690"/>
              <a:gd name="connsiteX8" fmla="*/ 0 w 12192000"/>
              <a:gd name="connsiteY8" fmla="*/ 1052221 h 2188690"/>
              <a:gd name="connsiteX0" fmla="*/ 0 w 12192000"/>
              <a:gd name="connsiteY0" fmla="*/ 1052221 h 2188690"/>
              <a:gd name="connsiteX1" fmla="*/ 2587557 w 12192000"/>
              <a:gd name="connsiteY1" fmla="*/ 918820 h 2188690"/>
              <a:gd name="connsiteX2" fmla="*/ 5710136 w 12192000"/>
              <a:gd name="connsiteY2" fmla="*/ 186418 h 2188690"/>
              <a:gd name="connsiteX3" fmla="*/ 7500025 w 12192000"/>
              <a:gd name="connsiteY3" fmla="*/ 472858 h 2188690"/>
              <a:gd name="connsiteX4" fmla="*/ 10593421 w 12192000"/>
              <a:gd name="connsiteY4" fmla="*/ 2616 h 2188690"/>
              <a:gd name="connsiteX5" fmla="*/ 12192000 w 12192000"/>
              <a:gd name="connsiteY5" fmla="*/ 1052221 h 2188690"/>
              <a:gd name="connsiteX6" fmla="*/ 12192000 w 12192000"/>
              <a:gd name="connsiteY6" fmla="*/ 2188690 h 2188690"/>
              <a:gd name="connsiteX7" fmla="*/ 0 w 12192000"/>
              <a:gd name="connsiteY7" fmla="*/ 2188690 h 2188690"/>
              <a:gd name="connsiteX8" fmla="*/ 0 w 12192000"/>
              <a:gd name="connsiteY8" fmla="*/ 1052221 h 2188690"/>
              <a:gd name="connsiteX0" fmla="*/ 0 w 12192000"/>
              <a:gd name="connsiteY0" fmla="*/ 1171825 h 2308294"/>
              <a:gd name="connsiteX1" fmla="*/ 2587557 w 12192000"/>
              <a:gd name="connsiteY1" fmla="*/ 1038424 h 2308294"/>
              <a:gd name="connsiteX2" fmla="*/ 5710136 w 12192000"/>
              <a:gd name="connsiteY2" fmla="*/ 306022 h 2308294"/>
              <a:gd name="connsiteX3" fmla="*/ 7500025 w 12192000"/>
              <a:gd name="connsiteY3" fmla="*/ 592462 h 2308294"/>
              <a:gd name="connsiteX4" fmla="*/ 10398867 w 12192000"/>
              <a:gd name="connsiteY4" fmla="*/ 2174 h 2308294"/>
              <a:gd name="connsiteX5" fmla="*/ 12192000 w 12192000"/>
              <a:gd name="connsiteY5" fmla="*/ 1171825 h 2308294"/>
              <a:gd name="connsiteX6" fmla="*/ 12192000 w 12192000"/>
              <a:gd name="connsiteY6" fmla="*/ 2308294 h 2308294"/>
              <a:gd name="connsiteX7" fmla="*/ 0 w 12192000"/>
              <a:gd name="connsiteY7" fmla="*/ 2308294 h 2308294"/>
              <a:gd name="connsiteX8" fmla="*/ 0 w 12192000"/>
              <a:gd name="connsiteY8" fmla="*/ 1171825 h 2308294"/>
              <a:gd name="connsiteX0" fmla="*/ 0 w 12192000"/>
              <a:gd name="connsiteY0" fmla="*/ 1171825 h 2308294"/>
              <a:gd name="connsiteX1" fmla="*/ 2587557 w 12192000"/>
              <a:gd name="connsiteY1" fmla="*/ 1038424 h 2308294"/>
              <a:gd name="connsiteX2" fmla="*/ 5710136 w 12192000"/>
              <a:gd name="connsiteY2" fmla="*/ 306022 h 2308294"/>
              <a:gd name="connsiteX3" fmla="*/ 7500025 w 12192000"/>
              <a:gd name="connsiteY3" fmla="*/ 592462 h 2308294"/>
              <a:gd name="connsiteX4" fmla="*/ 10398867 w 12192000"/>
              <a:gd name="connsiteY4" fmla="*/ 2174 h 2308294"/>
              <a:gd name="connsiteX5" fmla="*/ 12192000 w 12192000"/>
              <a:gd name="connsiteY5" fmla="*/ 1171825 h 2308294"/>
              <a:gd name="connsiteX6" fmla="*/ 12192000 w 12192000"/>
              <a:gd name="connsiteY6" fmla="*/ 2308294 h 2308294"/>
              <a:gd name="connsiteX7" fmla="*/ 0 w 12192000"/>
              <a:gd name="connsiteY7" fmla="*/ 2308294 h 2308294"/>
              <a:gd name="connsiteX8" fmla="*/ 0 w 12192000"/>
              <a:gd name="connsiteY8" fmla="*/ 1171825 h 2308294"/>
              <a:gd name="connsiteX0" fmla="*/ 0 w 12192000"/>
              <a:gd name="connsiteY0" fmla="*/ 1169651 h 2306120"/>
              <a:gd name="connsiteX1" fmla="*/ 2587557 w 12192000"/>
              <a:gd name="connsiteY1" fmla="*/ 1036250 h 2306120"/>
              <a:gd name="connsiteX2" fmla="*/ 5710136 w 12192000"/>
              <a:gd name="connsiteY2" fmla="*/ 303848 h 2306120"/>
              <a:gd name="connsiteX3" fmla="*/ 7500025 w 12192000"/>
              <a:gd name="connsiteY3" fmla="*/ 590288 h 2306120"/>
              <a:gd name="connsiteX4" fmla="*/ 10398867 w 12192000"/>
              <a:gd name="connsiteY4" fmla="*/ 0 h 2306120"/>
              <a:gd name="connsiteX5" fmla="*/ 12192000 w 12192000"/>
              <a:gd name="connsiteY5" fmla="*/ 1169651 h 2306120"/>
              <a:gd name="connsiteX6" fmla="*/ 12192000 w 12192000"/>
              <a:gd name="connsiteY6" fmla="*/ 2306120 h 2306120"/>
              <a:gd name="connsiteX7" fmla="*/ 0 w 12192000"/>
              <a:gd name="connsiteY7" fmla="*/ 2306120 h 2306120"/>
              <a:gd name="connsiteX8" fmla="*/ 0 w 12192000"/>
              <a:gd name="connsiteY8" fmla="*/ 1169651 h 2306120"/>
              <a:gd name="connsiteX0" fmla="*/ 0 w 12192000"/>
              <a:gd name="connsiteY0" fmla="*/ 1169651 h 2306120"/>
              <a:gd name="connsiteX1" fmla="*/ 2354093 w 12192000"/>
              <a:gd name="connsiteY1" fmla="*/ 1108278 h 2306120"/>
              <a:gd name="connsiteX2" fmla="*/ 5710136 w 12192000"/>
              <a:gd name="connsiteY2" fmla="*/ 303848 h 2306120"/>
              <a:gd name="connsiteX3" fmla="*/ 7500025 w 12192000"/>
              <a:gd name="connsiteY3" fmla="*/ 590288 h 2306120"/>
              <a:gd name="connsiteX4" fmla="*/ 10398867 w 12192000"/>
              <a:gd name="connsiteY4" fmla="*/ 0 h 2306120"/>
              <a:gd name="connsiteX5" fmla="*/ 12192000 w 12192000"/>
              <a:gd name="connsiteY5" fmla="*/ 1169651 h 2306120"/>
              <a:gd name="connsiteX6" fmla="*/ 12192000 w 12192000"/>
              <a:gd name="connsiteY6" fmla="*/ 2306120 h 2306120"/>
              <a:gd name="connsiteX7" fmla="*/ 0 w 12192000"/>
              <a:gd name="connsiteY7" fmla="*/ 2306120 h 2306120"/>
              <a:gd name="connsiteX8" fmla="*/ 0 w 12192000"/>
              <a:gd name="connsiteY8" fmla="*/ 1169651 h 2306120"/>
              <a:gd name="connsiteX0" fmla="*/ 0 w 12192000"/>
              <a:gd name="connsiteY0" fmla="*/ 1385734 h 2306120"/>
              <a:gd name="connsiteX1" fmla="*/ 2354093 w 12192000"/>
              <a:gd name="connsiteY1" fmla="*/ 1108278 h 2306120"/>
              <a:gd name="connsiteX2" fmla="*/ 5710136 w 12192000"/>
              <a:gd name="connsiteY2" fmla="*/ 303848 h 2306120"/>
              <a:gd name="connsiteX3" fmla="*/ 7500025 w 12192000"/>
              <a:gd name="connsiteY3" fmla="*/ 590288 h 2306120"/>
              <a:gd name="connsiteX4" fmla="*/ 10398867 w 12192000"/>
              <a:gd name="connsiteY4" fmla="*/ 0 h 2306120"/>
              <a:gd name="connsiteX5" fmla="*/ 12192000 w 12192000"/>
              <a:gd name="connsiteY5" fmla="*/ 1169651 h 2306120"/>
              <a:gd name="connsiteX6" fmla="*/ 12192000 w 12192000"/>
              <a:gd name="connsiteY6" fmla="*/ 2306120 h 2306120"/>
              <a:gd name="connsiteX7" fmla="*/ 0 w 12192000"/>
              <a:gd name="connsiteY7" fmla="*/ 2306120 h 2306120"/>
              <a:gd name="connsiteX8" fmla="*/ 0 w 12192000"/>
              <a:gd name="connsiteY8" fmla="*/ 1385734 h 2306120"/>
              <a:gd name="connsiteX0" fmla="*/ 0 w 12192000"/>
              <a:gd name="connsiteY0" fmla="*/ 1294558 h 2214944"/>
              <a:gd name="connsiteX1" fmla="*/ 2354093 w 12192000"/>
              <a:gd name="connsiteY1" fmla="*/ 1017102 h 2214944"/>
              <a:gd name="connsiteX2" fmla="*/ 5710136 w 12192000"/>
              <a:gd name="connsiteY2" fmla="*/ 212672 h 2214944"/>
              <a:gd name="connsiteX3" fmla="*/ 7500025 w 12192000"/>
              <a:gd name="connsiteY3" fmla="*/ 499112 h 2214944"/>
              <a:gd name="connsiteX4" fmla="*/ 9751167 w 12192000"/>
              <a:gd name="connsiteY4" fmla="*/ 0 h 2214944"/>
              <a:gd name="connsiteX5" fmla="*/ 12192000 w 12192000"/>
              <a:gd name="connsiteY5" fmla="*/ 1078475 h 2214944"/>
              <a:gd name="connsiteX6" fmla="*/ 12192000 w 12192000"/>
              <a:gd name="connsiteY6" fmla="*/ 2214944 h 2214944"/>
              <a:gd name="connsiteX7" fmla="*/ 0 w 12192000"/>
              <a:gd name="connsiteY7" fmla="*/ 2214944 h 2214944"/>
              <a:gd name="connsiteX8" fmla="*/ 0 w 12192000"/>
              <a:gd name="connsiteY8" fmla="*/ 1294558 h 2214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2214944">
                <a:moveTo>
                  <a:pt x="0" y="1294558"/>
                </a:moveTo>
                <a:cubicBezTo>
                  <a:pt x="418289" y="1295855"/>
                  <a:pt x="1935804" y="1015805"/>
                  <a:pt x="2354093" y="1017102"/>
                </a:cubicBezTo>
                <a:cubicBezTo>
                  <a:pt x="3605719" y="1039800"/>
                  <a:pt x="4458510" y="189974"/>
                  <a:pt x="5710136" y="212672"/>
                </a:cubicBezTo>
                <a:cubicBezTo>
                  <a:pt x="6747753" y="329404"/>
                  <a:pt x="6462408" y="382380"/>
                  <a:pt x="7500025" y="499112"/>
                </a:cubicBezTo>
                <a:cubicBezTo>
                  <a:pt x="8382000" y="544508"/>
                  <a:pt x="8888647" y="26632"/>
                  <a:pt x="9751167" y="0"/>
                </a:cubicBezTo>
                <a:cubicBezTo>
                  <a:pt x="10498035" y="21741"/>
                  <a:pt x="11659140" y="728607"/>
                  <a:pt x="12192000" y="1078475"/>
                </a:cubicBezTo>
                <a:lnTo>
                  <a:pt x="12192000" y="2214944"/>
                </a:lnTo>
                <a:lnTo>
                  <a:pt x="0" y="2214944"/>
                </a:lnTo>
                <a:lnTo>
                  <a:pt x="0" y="1294558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8775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72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31" name="그룹 53">
            <a:extLst>
              <a:ext uri="{FF2B5EF4-FFF2-40B4-BE49-F238E27FC236}">
                <a16:creationId xmlns:a16="http://schemas.microsoft.com/office/drawing/2014/main" id="{C8B8C67E-D154-474C-B166-841BC5B05F79}"/>
              </a:ext>
            </a:extLst>
          </p:cNvPr>
          <p:cNvGrpSpPr/>
          <p:nvPr/>
        </p:nvGrpSpPr>
        <p:grpSpPr>
          <a:xfrm>
            <a:off x="5192151" y="5079779"/>
            <a:ext cx="572573" cy="1090061"/>
            <a:chOff x="4070350" y="60326"/>
            <a:chExt cx="450850" cy="882650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90" name="Rectangle 19">
              <a:extLst>
                <a:ext uri="{FF2B5EF4-FFF2-40B4-BE49-F238E27FC236}">
                  <a16:creationId xmlns:a16="http://schemas.microsoft.com/office/drawing/2014/main" id="{0C08423D-6570-4641-9567-44AF600245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9900" y="642938"/>
              <a:ext cx="31750" cy="300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91" name="Freeform 20">
              <a:extLst>
                <a:ext uri="{FF2B5EF4-FFF2-40B4-BE49-F238E27FC236}">
                  <a16:creationId xmlns:a16="http://schemas.microsoft.com/office/drawing/2014/main" id="{6D994477-CD55-47F9-8577-FB713276A9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0350" y="60326"/>
              <a:ext cx="450850" cy="655638"/>
            </a:xfrm>
            <a:custGeom>
              <a:avLst/>
              <a:gdLst>
                <a:gd name="T0" fmla="*/ 0 w 593"/>
                <a:gd name="T1" fmla="*/ 862 h 862"/>
                <a:gd name="T2" fmla="*/ 297 w 593"/>
                <a:gd name="T3" fmla="*/ 0 h 862"/>
                <a:gd name="T4" fmla="*/ 593 w 593"/>
                <a:gd name="T5" fmla="*/ 862 h 862"/>
                <a:gd name="T6" fmla="*/ 0 w 593"/>
                <a:gd name="T7" fmla="*/ 862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93" h="862">
                  <a:moveTo>
                    <a:pt x="0" y="862"/>
                  </a:moveTo>
                  <a:lnTo>
                    <a:pt x="297" y="0"/>
                  </a:lnTo>
                  <a:lnTo>
                    <a:pt x="593" y="862"/>
                  </a:lnTo>
                  <a:lnTo>
                    <a:pt x="0" y="8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92" name="Freeform 21">
              <a:extLst>
                <a:ext uri="{FF2B5EF4-FFF2-40B4-BE49-F238E27FC236}">
                  <a16:creationId xmlns:a16="http://schemas.microsoft.com/office/drawing/2014/main" id="{3A2338B4-B5CF-456E-9458-3769DDB36A0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5775" y="60326"/>
              <a:ext cx="225425" cy="655638"/>
            </a:xfrm>
            <a:custGeom>
              <a:avLst/>
              <a:gdLst>
                <a:gd name="T0" fmla="*/ 296 w 296"/>
                <a:gd name="T1" fmla="*/ 863 h 863"/>
                <a:gd name="T2" fmla="*/ 0 w 296"/>
                <a:gd name="T3" fmla="*/ 863 h 863"/>
                <a:gd name="T4" fmla="*/ 0 w 296"/>
                <a:gd name="T5" fmla="*/ 0 h 863"/>
                <a:gd name="T6" fmla="*/ 296 w 296"/>
                <a:gd name="T7" fmla="*/ 863 h 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6" h="863">
                  <a:moveTo>
                    <a:pt x="296" y="863"/>
                  </a:moveTo>
                  <a:lnTo>
                    <a:pt x="0" y="863"/>
                  </a:lnTo>
                  <a:lnTo>
                    <a:pt x="0" y="0"/>
                  </a:lnTo>
                  <a:lnTo>
                    <a:pt x="296" y="8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grpSp>
        <p:nvGrpSpPr>
          <p:cNvPr id="32" name="그룹 57">
            <a:extLst>
              <a:ext uri="{FF2B5EF4-FFF2-40B4-BE49-F238E27FC236}">
                <a16:creationId xmlns:a16="http://schemas.microsoft.com/office/drawing/2014/main" id="{AE068FB1-4E69-47A0-AEC3-B5B85B80E752}"/>
              </a:ext>
            </a:extLst>
          </p:cNvPr>
          <p:cNvGrpSpPr/>
          <p:nvPr/>
        </p:nvGrpSpPr>
        <p:grpSpPr>
          <a:xfrm>
            <a:off x="9181597" y="5436860"/>
            <a:ext cx="1046358" cy="1105747"/>
            <a:chOff x="7986713" y="1112838"/>
            <a:chExt cx="823913" cy="895351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85" name="Freeform 22">
              <a:extLst>
                <a:ext uri="{FF2B5EF4-FFF2-40B4-BE49-F238E27FC236}">
                  <a16:creationId xmlns:a16="http://schemas.microsoft.com/office/drawing/2014/main" id="{02B8D344-B1C1-45F5-A782-5F3E1E9B7AE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2775" y="1501776"/>
              <a:ext cx="333375" cy="506413"/>
            </a:xfrm>
            <a:custGeom>
              <a:avLst/>
              <a:gdLst>
                <a:gd name="T0" fmla="*/ 439 w 439"/>
                <a:gd name="T1" fmla="*/ 71 h 667"/>
                <a:gd name="T2" fmla="*/ 405 w 439"/>
                <a:gd name="T3" fmla="*/ 45 h 667"/>
                <a:gd name="T4" fmla="*/ 243 w 439"/>
                <a:gd name="T5" fmla="*/ 178 h 667"/>
                <a:gd name="T6" fmla="*/ 243 w 439"/>
                <a:gd name="T7" fmla="*/ 0 h 667"/>
                <a:gd name="T8" fmla="*/ 189 w 439"/>
                <a:gd name="T9" fmla="*/ 0 h 667"/>
                <a:gd name="T10" fmla="*/ 189 w 439"/>
                <a:gd name="T11" fmla="*/ 178 h 667"/>
                <a:gd name="T12" fmla="*/ 35 w 439"/>
                <a:gd name="T13" fmla="*/ 31 h 667"/>
                <a:gd name="T14" fmla="*/ 0 w 439"/>
                <a:gd name="T15" fmla="*/ 57 h 667"/>
                <a:gd name="T16" fmla="*/ 189 w 439"/>
                <a:gd name="T17" fmla="*/ 231 h 667"/>
                <a:gd name="T18" fmla="*/ 189 w 439"/>
                <a:gd name="T19" fmla="*/ 667 h 667"/>
                <a:gd name="T20" fmla="*/ 243 w 439"/>
                <a:gd name="T21" fmla="*/ 667 h 667"/>
                <a:gd name="T22" fmla="*/ 243 w 439"/>
                <a:gd name="T23" fmla="*/ 231 h 667"/>
                <a:gd name="T24" fmla="*/ 439 w 439"/>
                <a:gd name="T25" fmla="*/ 71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9" h="667">
                  <a:moveTo>
                    <a:pt x="439" y="71"/>
                  </a:moveTo>
                  <a:lnTo>
                    <a:pt x="405" y="45"/>
                  </a:lnTo>
                  <a:lnTo>
                    <a:pt x="243" y="178"/>
                  </a:lnTo>
                  <a:lnTo>
                    <a:pt x="243" y="0"/>
                  </a:lnTo>
                  <a:lnTo>
                    <a:pt x="189" y="0"/>
                  </a:lnTo>
                  <a:lnTo>
                    <a:pt x="189" y="178"/>
                  </a:lnTo>
                  <a:lnTo>
                    <a:pt x="35" y="31"/>
                  </a:lnTo>
                  <a:lnTo>
                    <a:pt x="0" y="57"/>
                  </a:lnTo>
                  <a:lnTo>
                    <a:pt x="189" y="231"/>
                  </a:lnTo>
                  <a:lnTo>
                    <a:pt x="189" y="667"/>
                  </a:lnTo>
                  <a:lnTo>
                    <a:pt x="243" y="667"/>
                  </a:lnTo>
                  <a:lnTo>
                    <a:pt x="243" y="231"/>
                  </a:lnTo>
                  <a:lnTo>
                    <a:pt x="439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86" name="Oval 23">
              <a:extLst>
                <a:ext uri="{FF2B5EF4-FFF2-40B4-BE49-F238E27FC236}">
                  <a16:creationId xmlns:a16="http://schemas.microsoft.com/office/drawing/2014/main" id="{CEB5DB48-9EBF-4F16-8F32-121EA2B6B2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04200" y="1112838"/>
              <a:ext cx="388938" cy="388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87" name="Freeform 24">
              <a:extLst>
                <a:ext uri="{FF2B5EF4-FFF2-40B4-BE49-F238E27FC236}">
                  <a16:creationId xmlns:a16="http://schemas.microsoft.com/office/drawing/2014/main" id="{BDF8B885-3D44-4D6C-B4F6-E1C3E1FA60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9463" y="1112838"/>
              <a:ext cx="193675" cy="388938"/>
            </a:xfrm>
            <a:custGeom>
              <a:avLst/>
              <a:gdLst>
                <a:gd name="T0" fmla="*/ 0 w 255"/>
                <a:gd name="T1" fmla="*/ 0 h 512"/>
                <a:gd name="T2" fmla="*/ 0 w 255"/>
                <a:gd name="T3" fmla="*/ 512 h 512"/>
                <a:gd name="T4" fmla="*/ 255 w 255"/>
                <a:gd name="T5" fmla="*/ 256 h 512"/>
                <a:gd name="T6" fmla="*/ 0 w 255"/>
                <a:gd name="T7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5" h="512">
                  <a:moveTo>
                    <a:pt x="0" y="0"/>
                  </a:moveTo>
                  <a:lnTo>
                    <a:pt x="0" y="512"/>
                  </a:lnTo>
                  <a:cubicBezTo>
                    <a:pt x="141" y="511"/>
                    <a:pt x="255" y="397"/>
                    <a:pt x="255" y="256"/>
                  </a:cubicBezTo>
                  <a:cubicBezTo>
                    <a:pt x="255" y="115"/>
                    <a:pt x="14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88" name="Oval 25">
              <a:extLst>
                <a:ext uri="{FF2B5EF4-FFF2-40B4-BE49-F238E27FC236}">
                  <a16:creationId xmlns:a16="http://schemas.microsoft.com/office/drawing/2014/main" id="{DC306C64-3FA0-4E07-B574-FC41CCDA76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86713" y="1176338"/>
              <a:ext cx="390525" cy="388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89" name="Oval 26">
              <a:extLst>
                <a:ext uri="{FF2B5EF4-FFF2-40B4-BE49-F238E27FC236}">
                  <a16:creationId xmlns:a16="http://schemas.microsoft.com/office/drawing/2014/main" id="{8BDC8C93-EB04-4BE8-A0BD-2B1C9AF91A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21688" y="1176338"/>
              <a:ext cx="388938" cy="388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grpSp>
        <p:nvGrpSpPr>
          <p:cNvPr id="33" name="그룹 63">
            <a:extLst>
              <a:ext uri="{FF2B5EF4-FFF2-40B4-BE49-F238E27FC236}">
                <a16:creationId xmlns:a16="http://schemas.microsoft.com/office/drawing/2014/main" id="{2A6C82EA-F420-4199-8202-A9E005E1D774}"/>
              </a:ext>
            </a:extLst>
          </p:cNvPr>
          <p:cNvGrpSpPr/>
          <p:nvPr/>
        </p:nvGrpSpPr>
        <p:grpSpPr>
          <a:xfrm rot="20923597">
            <a:off x="3784719" y="6187732"/>
            <a:ext cx="413797" cy="217529"/>
            <a:chOff x="9777413" y="344488"/>
            <a:chExt cx="919163" cy="496888"/>
          </a:xfrm>
          <a:solidFill>
            <a:srgbClr val="3A876B">
              <a:lumMod val="40000"/>
              <a:lumOff val="60000"/>
            </a:srgbClr>
          </a:solidFill>
        </p:grpSpPr>
        <p:sp>
          <p:nvSpPr>
            <p:cNvPr id="83" name="Freeform 27">
              <a:extLst>
                <a:ext uri="{FF2B5EF4-FFF2-40B4-BE49-F238E27FC236}">
                  <a16:creationId xmlns:a16="http://schemas.microsoft.com/office/drawing/2014/main" id="{40D74967-2CDD-4FB1-89F0-D42B04DDF8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777413" y="344488"/>
              <a:ext cx="919163" cy="496888"/>
            </a:xfrm>
            <a:custGeom>
              <a:avLst/>
              <a:gdLst>
                <a:gd name="T0" fmla="*/ 1175 w 1211"/>
                <a:gd name="T1" fmla="*/ 654 h 654"/>
                <a:gd name="T2" fmla="*/ 14 w 1211"/>
                <a:gd name="T3" fmla="*/ 654 h 654"/>
                <a:gd name="T4" fmla="*/ 145 w 1211"/>
                <a:gd name="T5" fmla="*/ 583 h 654"/>
                <a:gd name="T6" fmla="*/ 0 w 1211"/>
                <a:gd name="T7" fmla="*/ 593 h 654"/>
                <a:gd name="T8" fmla="*/ 145 w 1211"/>
                <a:gd name="T9" fmla="*/ 507 h 654"/>
                <a:gd name="T10" fmla="*/ 0 w 1211"/>
                <a:gd name="T11" fmla="*/ 460 h 654"/>
                <a:gd name="T12" fmla="*/ 125 w 1211"/>
                <a:gd name="T13" fmla="*/ 450 h 654"/>
                <a:gd name="T14" fmla="*/ 11 w 1211"/>
                <a:gd name="T15" fmla="*/ 399 h 654"/>
                <a:gd name="T16" fmla="*/ 173 w 1211"/>
                <a:gd name="T17" fmla="*/ 372 h 654"/>
                <a:gd name="T18" fmla="*/ 74 w 1211"/>
                <a:gd name="T19" fmla="*/ 305 h 654"/>
                <a:gd name="T20" fmla="*/ 205 w 1211"/>
                <a:gd name="T21" fmla="*/ 290 h 654"/>
                <a:gd name="T22" fmla="*/ 137 w 1211"/>
                <a:gd name="T23" fmla="*/ 231 h 654"/>
                <a:gd name="T24" fmla="*/ 261 w 1211"/>
                <a:gd name="T25" fmla="*/ 209 h 654"/>
                <a:gd name="T26" fmla="*/ 193 w 1211"/>
                <a:gd name="T27" fmla="*/ 140 h 654"/>
                <a:gd name="T28" fmla="*/ 326 w 1211"/>
                <a:gd name="T29" fmla="*/ 136 h 654"/>
                <a:gd name="T30" fmla="*/ 279 w 1211"/>
                <a:gd name="T31" fmla="*/ 62 h 654"/>
                <a:gd name="T32" fmla="*/ 463 w 1211"/>
                <a:gd name="T33" fmla="*/ 110 h 654"/>
                <a:gd name="T34" fmla="*/ 415 w 1211"/>
                <a:gd name="T35" fmla="*/ 17 h 654"/>
                <a:gd name="T36" fmla="*/ 552 w 1211"/>
                <a:gd name="T37" fmla="*/ 96 h 654"/>
                <a:gd name="T38" fmla="*/ 557 w 1211"/>
                <a:gd name="T39" fmla="*/ 17 h 654"/>
                <a:gd name="T40" fmla="*/ 634 w 1211"/>
                <a:gd name="T41" fmla="*/ 84 h 654"/>
                <a:gd name="T42" fmla="*/ 699 w 1211"/>
                <a:gd name="T43" fmla="*/ 0 h 654"/>
                <a:gd name="T44" fmla="*/ 696 w 1211"/>
                <a:gd name="T45" fmla="*/ 96 h 654"/>
                <a:gd name="T46" fmla="*/ 814 w 1211"/>
                <a:gd name="T47" fmla="*/ 40 h 654"/>
                <a:gd name="T48" fmla="*/ 770 w 1211"/>
                <a:gd name="T49" fmla="*/ 123 h 654"/>
                <a:gd name="T50" fmla="*/ 879 w 1211"/>
                <a:gd name="T51" fmla="*/ 62 h 654"/>
                <a:gd name="T52" fmla="*/ 856 w 1211"/>
                <a:gd name="T53" fmla="*/ 155 h 654"/>
                <a:gd name="T54" fmla="*/ 972 w 1211"/>
                <a:gd name="T55" fmla="*/ 122 h 654"/>
                <a:gd name="T56" fmla="*/ 948 w 1211"/>
                <a:gd name="T57" fmla="*/ 195 h 654"/>
                <a:gd name="T58" fmla="*/ 1066 w 1211"/>
                <a:gd name="T59" fmla="*/ 184 h 654"/>
                <a:gd name="T60" fmla="*/ 1004 w 1211"/>
                <a:gd name="T61" fmla="*/ 260 h 654"/>
                <a:gd name="T62" fmla="*/ 1140 w 1211"/>
                <a:gd name="T63" fmla="*/ 266 h 654"/>
                <a:gd name="T64" fmla="*/ 1068 w 1211"/>
                <a:gd name="T65" fmla="*/ 337 h 654"/>
                <a:gd name="T66" fmla="*/ 1175 w 1211"/>
                <a:gd name="T67" fmla="*/ 357 h 654"/>
                <a:gd name="T68" fmla="*/ 1093 w 1211"/>
                <a:gd name="T69" fmla="*/ 399 h 654"/>
                <a:gd name="T70" fmla="*/ 1181 w 1211"/>
                <a:gd name="T71" fmla="*/ 448 h 654"/>
                <a:gd name="T72" fmla="*/ 1095 w 1211"/>
                <a:gd name="T73" fmla="*/ 500 h 654"/>
                <a:gd name="T74" fmla="*/ 1211 w 1211"/>
                <a:gd name="T75" fmla="*/ 561 h 654"/>
                <a:gd name="T76" fmla="*/ 1104 w 1211"/>
                <a:gd name="T77" fmla="*/ 591 h 654"/>
                <a:gd name="T78" fmla="*/ 1175 w 1211"/>
                <a:gd name="T79" fmla="*/ 654 h 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11" h="654">
                  <a:moveTo>
                    <a:pt x="1175" y="654"/>
                  </a:moveTo>
                  <a:lnTo>
                    <a:pt x="14" y="654"/>
                  </a:lnTo>
                  <a:cubicBezTo>
                    <a:pt x="14" y="654"/>
                    <a:pt x="37" y="596"/>
                    <a:pt x="145" y="583"/>
                  </a:cubicBezTo>
                  <a:cubicBezTo>
                    <a:pt x="145" y="583"/>
                    <a:pt x="86" y="561"/>
                    <a:pt x="0" y="593"/>
                  </a:cubicBezTo>
                  <a:cubicBezTo>
                    <a:pt x="0" y="593"/>
                    <a:pt x="15" y="539"/>
                    <a:pt x="145" y="507"/>
                  </a:cubicBezTo>
                  <a:cubicBezTo>
                    <a:pt x="145" y="507"/>
                    <a:pt x="35" y="503"/>
                    <a:pt x="0" y="460"/>
                  </a:cubicBezTo>
                  <a:cubicBezTo>
                    <a:pt x="0" y="460"/>
                    <a:pt x="69" y="480"/>
                    <a:pt x="125" y="450"/>
                  </a:cubicBezTo>
                  <a:cubicBezTo>
                    <a:pt x="125" y="450"/>
                    <a:pt x="62" y="389"/>
                    <a:pt x="11" y="399"/>
                  </a:cubicBezTo>
                  <a:cubicBezTo>
                    <a:pt x="11" y="399"/>
                    <a:pt x="61" y="355"/>
                    <a:pt x="173" y="372"/>
                  </a:cubicBezTo>
                  <a:cubicBezTo>
                    <a:pt x="173" y="372"/>
                    <a:pt x="113" y="300"/>
                    <a:pt x="74" y="305"/>
                  </a:cubicBezTo>
                  <a:cubicBezTo>
                    <a:pt x="74" y="305"/>
                    <a:pt x="110" y="271"/>
                    <a:pt x="205" y="290"/>
                  </a:cubicBezTo>
                  <a:cubicBezTo>
                    <a:pt x="205" y="290"/>
                    <a:pt x="174" y="237"/>
                    <a:pt x="137" y="231"/>
                  </a:cubicBezTo>
                  <a:cubicBezTo>
                    <a:pt x="137" y="231"/>
                    <a:pt x="154" y="184"/>
                    <a:pt x="261" y="209"/>
                  </a:cubicBezTo>
                  <a:cubicBezTo>
                    <a:pt x="261" y="209"/>
                    <a:pt x="244" y="143"/>
                    <a:pt x="193" y="140"/>
                  </a:cubicBezTo>
                  <a:cubicBezTo>
                    <a:pt x="193" y="140"/>
                    <a:pt x="253" y="102"/>
                    <a:pt x="326" y="136"/>
                  </a:cubicBezTo>
                  <a:cubicBezTo>
                    <a:pt x="326" y="136"/>
                    <a:pt x="308" y="67"/>
                    <a:pt x="279" y="62"/>
                  </a:cubicBezTo>
                  <a:cubicBezTo>
                    <a:pt x="279" y="62"/>
                    <a:pt x="418" y="62"/>
                    <a:pt x="463" y="110"/>
                  </a:cubicBezTo>
                  <a:cubicBezTo>
                    <a:pt x="463" y="110"/>
                    <a:pt x="444" y="47"/>
                    <a:pt x="415" y="17"/>
                  </a:cubicBezTo>
                  <a:cubicBezTo>
                    <a:pt x="415" y="17"/>
                    <a:pt x="548" y="43"/>
                    <a:pt x="552" y="96"/>
                  </a:cubicBezTo>
                  <a:cubicBezTo>
                    <a:pt x="552" y="96"/>
                    <a:pt x="569" y="57"/>
                    <a:pt x="557" y="17"/>
                  </a:cubicBezTo>
                  <a:cubicBezTo>
                    <a:pt x="557" y="17"/>
                    <a:pt x="626" y="35"/>
                    <a:pt x="634" y="84"/>
                  </a:cubicBezTo>
                  <a:cubicBezTo>
                    <a:pt x="634" y="84"/>
                    <a:pt x="660" y="12"/>
                    <a:pt x="699" y="0"/>
                  </a:cubicBezTo>
                  <a:cubicBezTo>
                    <a:pt x="699" y="0"/>
                    <a:pt x="684" y="68"/>
                    <a:pt x="696" y="96"/>
                  </a:cubicBezTo>
                  <a:cubicBezTo>
                    <a:pt x="696" y="96"/>
                    <a:pt x="757" y="59"/>
                    <a:pt x="814" y="40"/>
                  </a:cubicBezTo>
                  <a:cubicBezTo>
                    <a:pt x="814" y="40"/>
                    <a:pt x="770" y="85"/>
                    <a:pt x="770" y="123"/>
                  </a:cubicBezTo>
                  <a:cubicBezTo>
                    <a:pt x="770" y="123"/>
                    <a:pt x="827" y="66"/>
                    <a:pt x="879" y="62"/>
                  </a:cubicBezTo>
                  <a:cubicBezTo>
                    <a:pt x="879" y="62"/>
                    <a:pt x="811" y="136"/>
                    <a:pt x="856" y="155"/>
                  </a:cubicBezTo>
                  <a:cubicBezTo>
                    <a:pt x="856" y="155"/>
                    <a:pt x="913" y="116"/>
                    <a:pt x="972" y="122"/>
                  </a:cubicBezTo>
                  <a:cubicBezTo>
                    <a:pt x="972" y="122"/>
                    <a:pt x="930" y="170"/>
                    <a:pt x="948" y="195"/>
                  </a:cubicBezTo>
                  <a:cubicBezTo>
                    <a:pt x="948" y="195"/>
                    <a:pt x="1001" y="170"/>
                    <a:pt x="1066" y="184"/>
                  </a:cubicBezTo>
                  <a:cubicBezTo>
                    <a:pt x="1066" y="184"/>
                    <a:pt x="977" y="231"/>
                    <a:pt x="1004" y="260"/>
                  </a:cubicBezTo>
                  <a:cubicBezTo>
                    <a:pt x="1004" y="260"/>
                    <a:pt x="1072" y="244"/>
                    <a:pt x="1140" y="266"/>
                  </a:cubicBezTo>
                  <a:cubicBezTo>
                    <a:pt x="1140" y="266"/>
                    <a:pt x="1057" y="310"/>
                    <a:pt x="1068" y="337"/>
                  </a:cubicBezTo>
                  <a:cubicBezTo>
                    <a:pt x="1068" y="337"/>
                    <a:pt x="1113" y="342"/>
                    <a:pt x="1175" y="357"/>
                  </a:cubicBezTo>
                  <a:cubicBezTo>
                    <a:pt x="1175" y="357"/>
                    <a:pt x="1114" y="367"/>
                    <a:pt x="1093" y="399"/>
                  </a:cubicBezTo>
                  <a:cubicBezTo>
                    <a:pt x="1093" y="399"/>
                    <a:pt x="1131" y="399"/>
                    <a:pt x="1181" y="448"/>
                  </a:cubicBezTo>
                  <a:cubicBezTo>
                    <a:pt x="1181" y="448"/>
                    <a:pt x="1101" y="453"/>
                    <a:pt x="1095" y="500"/>
                  </a:cubicBezTo>
                  <a:cubicBezTo>
                    <a:pt x="1095" y="500"/>
                    <a:pt x="1155" y="496"/>
                    <a:pt x="1211" y="561"/>
                  </a:cubicBezTo>
                  <a:cubicBezTo>
                    <a:pt x="1211" y="561"/>
                    <a:pt x="1110" y="541"/>
                    <a:pt x="1104" y="591"/>
                  </a:cubicBezTo>
                  <a:cubicBezTo>
                    <a:pt x="1158" y="591"/>
                    <a:pt x="1174" y="643"/>
                    <a:pt x="1175" y="6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84" name="Freeform 28">
              <a:extLst>
                <a:ext uri="{FF2B5EF4-FFF2-40B4-BE49-F238E27FC236}">
                  <a16:creationId xmlns:a16="http://schemas.microsoft.com/office/drawing/2014/main" id="{CDF98136-08D2-4B67-8211-92F2781E6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8700" y="441326"/>
              <a:ext cx="660400" cy="357188"/>
            </a:xfrm>
            <a:custGeom>
              <a:avLst/>
              <a:gdLst>
                <a:gd name="T0" fmla="*/ 844 w 870"/>
                <a:gd name="T1" fmla="*/ 470 h 470"/>
                <a:gd name="T2" fmla="*/ 11 w 870"/>
                <a:gd name="T3" fmla="*/ 470 h 470"/>
                <a:gd name="T4" fmla="*/ 105 w 870"/>
                <a:gd name="T5" fmla="*/ 419 h 470"/>
                <a:gd name="T6" fmla="*/ 0 w 870"/>
                <a:gd name="T7" fmla="*/ 426 h 470"/>
                <a:gd name="T8" fmla="*/ 105 w 870"/>
                <a:gd name="T9" fmla="*/ 364 h 470"/>
                <a:gd name="T10" fmla="*/ 0 w 870"/>
                <a:gd name="T11" fmla="*/ 330 h 470"/>
                <a:gd name="T12" fmla="*/ 90 w 870"/>
                <a:gd name="T13" fmla="*/ 323 h 470"/>
                <a:gd name="T14" fmla="*/ 8 w 870"/>
                <a:gd name="T15" fmla="*/ 287 h 470"/>
                <a:gd name="T16" fmla="*/ 125 w 870"/>
                <a:gd name="T17" fmla="*/ 267 h 470"/>
                <a:gd name="T18" fmla="*/ 54 w 870"/>
                <a:gd name="T19" fmla="*/ 219 h 470"/>
                <a:gd name="T20" fmla="*/ 147 w 870"/>
                <a:gd name="T21" fmla="*/ 208 h 470"/>
                <a:gd name="T22" fmla="*/ 99 w 870"/>
                <a:gd name="T23" fmla="*/ 166 h 470"/>
                <a:gd name="T24" fmla="*/ 188 w 870"/>
                <a:gd name="T25" fmla="*/ 150 h 470"/>
                <a:gd name="T26" fmla="*/ 139 w 870"/>
                <a:gd name="T27" fmla="*/ 101 h 470"/>
                <a:gd name="T28" fmla="*/ 235 w 870"/>
                <a:gd name="T29" fmla="*/ 97 h 470"/>
                <a:gd name="T30" fmla="*/ 201 w 870"/>
                <a:gd name="T31" fmla="*/ 44 h 470"/>
                <a:gd name="T32" fmla="*/ 333 w 870"/>
                <a:gd name="T33" fmla="*/ 79 h 470"/>
                <a:gd name="T34" fmla="*/ 298 w 870"/>
                <a:gd name="T35" fmla="*/ 13 h 470"/>
                <a:gd name="T36" fmla="*/ 397 w 870"/>
                <a:gd name="T37" fmla="*/ 69 h 470"/>
                <a:gd name="T38" fmla="*/ 400 w 870"/>
                <a:gd name="T39" fmla="*/ 13 h 470"/>
                <a:gd name="T40" fmla="*/ 456 w 870"/>
                <a:gd name="T41" fmla="*/ 60 h 470"/>
                <a:gd name="T42" fmla="*/ 502 w 870"/>
                <a:gd name="T43" fmla="*/ 0 h 470"/>
                <a:gd name="T44" fmla="*/ 500 w 870"/>
                <a:gd name="T45" fmla="*/ 69 h 470"/>
                <a:gd name="T46" fmla="*/ 585 w 870"/>
                <a:gd name="T47" fmla="*/ 28 h 470"/>
                <a:gd name="T48" fmla="*/ 553 w 870"/>
                <a:gd name="T49" fmla="*/ 88 h 470"/>
                <a:gd name="T50" fmla="*/ 632 w 870"/>
                <a:gd name="T51" fmla="*/ 44 h 470"/>
                <a:gd name="T52" fmla="*/ 615 w 870"/>
                <a:gd name="T53" fmla="*/ 111 h 470"/>
                <a:gd name="T54" fmla="*/ 698 w 870"/>
                <a:gd name="T55" fmla="*/ 88 h 470"/>
                <a:gd name="T56" fmla="*/ 681 w 870"/>
                <a:gd name="T57" fmla="*/ 140 h 470"/>
                <a:gd name="T58" fmla="*/ 766 w 870"/>
                <a:gd name="T59" fmla="*/ 132 h 470"/>
                <a:gd name="T60" fmla="*/ 721 w 870"/>
                <a:gd name="T61" fmla="*/ 187 h 470"/>
                <a:gd name="T62" fmla="*/ 819 w 870"/>
                <a:gd name="T63" fmla="*/ 191 h 470"/>
                <a:gd name="T64" fmla="*/ 768 w 870"/>
                <a:gd name="T65" fmla="*/ 242 h 470"/>
                <a:gd name="T66" fmla="*/ 844 w 870"/>
                <a:gd name="T67" fmla="*/ 256 h 470"/>
                <a:gd name="T68" fmla="*/ 785 w 870"/>
                <a:gd name="T69" fmla="*/ 286 h 470"/>
                <a:gd name="T70" fmla="*/ 849 w 870"/>
                <a:gd name="T71" fmla="*/ 322 h 470"/>
                <a:gd name="T72" fmla="*/ 786 w 870"/>
                <a:gd name="T73" fmla="*/ 359 h 470"/>
                <a:gd name="T74" fmla="*/ 870 w 870"/>
                <a:gd name="T75" fmla="*/ 403 h 470"/>
                <a:gd name="T76" fmla="*/ 793 w 870"/>
                <a:gd name="T77" fmla="*/ 424 h 470"/>
                <a:gd name="T78" fmla="*/ 844 w 870"/>
                <a:gd name="T79" fmla="*/ 47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70" h="470">
                  <a:moveTo>
                    <a:pt x="844" y="470"/>
                  </a:moveTo>
                  <a:lnTo>
                    <a:pt x="11" y="470"/>
                  </a:lnTo>
                  <a:cubicBezTo>
                    <a:pt x="11" y="470"/>
                    <a:pt x="27" y="428"/>
                    <a:pt x="105" y="419"/>
                  </a:cubicBezTo>
                  <a:cubicBezTo>
                    <a:pt x="105" y="419"/>
                    <a:pt x="62" y="403"/>
                    <a:pt x="0" y="426"/>
                  </a:cubicBezTo>
                  <a:cubicBezTo>
                    <a:pt x="0" y="426"/>
                    <a:pt x="11" y="387"/>
                    <a:pt x="105" y="364"/>
                  </a:cubicBezTo>
                  <a:cubicBezTo>
                    <a:pt x="105" y="364"/>
                    <a:pt x="25" y="361"/>
                    <a:pt x="0" y="330"/>
                  </a:cubicBezTo>
                  <a:cubicBezTo>
                    <a:pt x="0" y="330"/>
                    <a:pt x="50" y="344"/>
                    <a:pt x="90" y="323"/>
                  </a:cubicBezTo>
                  <a:cubicBezTo>
                    <a:pt x="90" y="323"/>
                    <a:pt x="45" y="279"/>
                    <a:pt x="8" y="287"/>
                  </a:cubicBezTo>
                  <a:cubicBezTo>
                    <a:pt x="8" y="287"/>
                    <a:pt x="44" y="255"/>
                    <a:pt x="125" y="267"/>
                  </a:cubicBezTo>
                  <a:cubicBezTo>
                    <a:pt x="125" y="267"/>
                    <a:pt x="82" y="216"/>
                    <a:pt x="54" y="219"/>
                  </a:cubicBezTo>
                  <a:cubicBezTo>
                    <a:pt x="54" y="219"/>
                    <a:pt x="79" y="194"/>
                    <a:pt x="147" y="208"/>
                  </a:cubicBezTo>
                  <a:cubicBezTo>
                    <a:pt x="147" y="208"/>
                    <a:pt x="125" y="170"/>
                    <a:pt x="99" y="166"/>
                  </a:cubicBezTo>
                  <a:cubicBezTo>
                    <a:pt x="99" y="166"/>
                    <a:pt x="111" y="132"/>
                    <a:pt x="188" y="150"/>
                  </a:cubicBezTo>
                  <a:cubicBezTo>
                    <a:pt x="188" y="150"/>
                    <a:pt x="176" y="103"/>
                    <a:pt x="139" y="101"/>
                  </a:cubicBezTo>
                  <a:cubicBezTo>
                    <a:pt x="139" y="101"/>
                    <a:pt x="182" y="73"/>
                    <a:pt x="235" y="97"/>
                  </a:cubicBezTo>
                  <a:cubicBezTo>
                    <a:pt x="235" y="97"/>
                    <a:pt x="222" y="48"/>
                    <a:pt x="201" y="44"/>
                  </a:cubicBezTo>
                  <a:cubicBezTo>
                    <a:pt x="201" y="44"/>
                    <a:pt x="300" y="44"/>
                    <a:pt x="333" y="79"/>
                  </a:cubicBezTo>
                  <a:cubicBezTo>
                    <a:pt x="333" y="79"/>
                    <a:pt x="319" y="34"/>
                    <a:pt x="298" y="13"/>
                  </a:cubicBezTo>
                  <a:cubicBezTo>
                    <a:pt x="298" y="13"/>
                    <a:pt x="394" y="31"/>
                    <a:pt x="397" y="69"/>
                  </a:cubicBezTo>
                  <a:cubicBezTo>
                    <a:pt x="397" y="69"/>
                    <a:pt x="409" y="41"/>
                    <a:pt x="400" y="13"/>
                  </a:cubicBezTo>
                  <a:cubicBezTo>
                    <a:pt x="400" y="13"/>
                    <a:pt x="450" y="25"/>
                    <a:pt x="456" y="60"/>
                  </a:cubicBezTo>
                  <a:cubicBezTo>
                    <a:pt x="456" y="60"/>
                    <a:pt x="475" y="8"/>
                    <a:pt x="502" y="0"/>
                  </a:cubicBezTo>
                  <a:cubicBezTo>
                    <a:pt x="502" y="0"/>
                    <a:pt x="491" y="49"/>
                    <a:pt x="500" y="69"/>
                  </a:cubicBezTo>
                  <a:cubicBezTo>
                    <a:pt x="500" y="69"/>
                    <a:pt x="544" y="42"/>
                    <a:pt x="585" y="28"/>
                  </a:cubicBezTo>
                  <a:cubicBezTo>
                    <a:pt x="585" y="28"/>
                    <a:pt x="553" y="61"/>
                    <a:pt x="553" y="88"/>
                  </a:cubicBezTo>
                  <a:cubicBezTo>
                    <a:pt x="553" y="88"/>
                    <a:pt x="594" y="47"/>
                    <a:pt x="632" y="44"/>
                  </a:cubicBezTo>
                  <a:cubicBezTo>
                    <a:pt x="632" y="44"/>
                    <a:pt x="583" y="97"/>
                    <a:pt x="615" y="111"/>
                  </a:cubicBezTo>
                  <a:cubicBezTo>
                    <a:pt x="615" y="111"/>
                    <a:pt x="656" y="83"/>
                    <a:pt x="698" y="88"/>
                  </a:cubicBezTo>
                  <a:cubicBezTo>
                    <a:pt x="698" y="88"/>
                    <a:pt x="668" y="122"/>
                    <a:pt x="681" y="140"/>
                  </a:cubicBezTo>
                  <a:cubicBezTo>
                    <a:pt x="681" y="140"/>
                    <a:pt x="719" y="122"/>
                    <a:pt x="766" y="132"/>
                  </a:cubicBezTo>
                  <a:cubicBezTo>
                    <a:pt x="766" y="132"/>
                    <a:pt x="702" y="166"/>
                    <a:pt x="721" y="187"/>
                  </a:cubicBezTo>
                  <a:cubicBezTo>
                    <a:pt x="721" y="187"/>
                    <a:pt x="770" y="175"/>
                    <a:pt x="819" y="191"/>
                  </a:cubicBezTo>
                  <a:cubicBezTo>
                    <a:pt x="819" y="191"/>
                    <a:pt x="759" y="223"/>
                    <a:pt x="768" y="242"/>
                  </a:cubicBezTo>
                  <a:cubicBezTo>
                    <a:pt x="768" y="242"/>
                    <a:pt x="800" y="246"/>
                    <a:pt x="844" y="256"/>
                  </a:cubicBezTo>
                  <a:cubicBezTo>
                    <a:pt x="844" y="256"/>
                    <a:pt x="800" y="263"/>
                    <a:pt x="785" y="286"/>
                  </a:cubicBezTo>
                  <a:cubicBezTo>
                    <a:pt x="785" y="286"/>
                    <a:pt x="813" y="286"/>
                    <a:pt x="849" y="322"/>
                  </a:cubicBezTo>
                  <a:cubicBezTo>
                    <a:pt x="849" y="322"/>
                    <a:pt x="791" y="325"/>
                    <a:pt x="786" y="359"/>
                  </a:cubicBezTo>
                  <a:cubicBezTo>
                    <a:pt x="786" y="359"/>
                    <a:pt x="830" y="356"/>
                    <a:pt x="870" y="403"/>
                  </a:cubicBezTo>
                  <a:cubicBezTo>
                    <a:pt x="870" y="403"/>
                    <a:pt x="798" y="389"/>
                    <a:pt x="793" y="424"/>
                  </a:cubicBezTo>
                  <a:cubicBezTo>
                    <a:pt x="832" y="424"/>
                    <a:pt x="844" y="462"/>
                    <a:pt x="844" y="470"/>
                  </a:cubicBezTo>
                  <a:close/>
                </a:path>
              </a:pathLst>
            </a:custGeom>
            <a:solidFill>
              <a:srgbClr val="3A876B">
                <a:lumMod val="20000"/>
                <a:lumOff val="8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grpSp>
        <p:nvGrpSpPr>
          <p:cNvPr id="34" name="그룹 66">
            <a:extLst>
              <a:ext uri="{FF2B5EF4-FFF2-40B4-BE49-F238E27FC236}">
                <a16:creationId xmlns:a16="http://schemas.microsoft.com/office/drawing/2014/main" id="{B0927F69-B6B9-4980-9E57-28AE7A49AED7}"/>
              </a:ext>
            </a:extLst>
          </p:cNvPr>
          <p:cNvGrpSpPr/>
          <p:nvPr/>
        </p:nvGrpSpPr>
        <p:grpSpPr>
          <a:xfrm>
            <a:off x="8089241" y="6243091"/>
            <a:ext cx="413309" cy="231192"/>
            <a:chOff x="7121525" y="190501"/>
            <a:chExt cx="896938" cy="515937"/>
          </a:xfrm>
          <a:solidFill>
            <a:srgbClr val="3A876B">
              <a:lumMod val="40000"/>
              <a:lumOff val="60000"/>
            </a:srgbClr>
          </a:solidFill>
        </p:grpSpPr>
        <p:sp>
          <p:nvSpPr>
            <p:cNvPr id="81" name="Freeform 41">
              <a:extLst>
                <a:ext uri="{FF2B5EF4-FFF2-40B4-BE49-F238E27FC236}">
                  <a16:creationId xmlns:a16="http://schemas.microsoft.com/office/drawing/2014/main" id="{7534BB6D-33CB-4E64-8FF3-3BD04B6D69B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1525" y="190501"/>
              <a:ext cx="896938" cy="481013"/>
            </a:xfrm>
            <a:custGeom>
              <a:avLst/>
              <a:gdLst>
                <a:gd name="T0" fmla="*/ 1180 w 1181"/>
                <a:gd name="T1" fmla="*/ 486 h 634"/>
                <a:gd name="T2" fmla="*/ 1024 w 1181"/>
                <a:gd name="T3" fmla="*/ 634 h 634"/>
                <a:gd name="T4" fmla="*/ 134 w 1181"/>
                <a:gd name="T5" fmla="*/ 634 h 634"/>
                <a:gd name="T6" fmla="*/ 0 w 1181"/>
                <a:gd name="T7" fmla="*/ 504 h 634"/>
                <a:gd name="T8" fmla="*/ 0 w 1181"/>
                <a:gd name="T9" fmla="*/ 503 h 634"/>
                <a:gd name="T10" fmla="*/ 23 w 1181"/>
                <a:gd name="T11" fmla="*/ 418 h 634"/>
                <a:gd name="T12" fmla="*/ 169 w 1181"/>
                <a:gd name="T13" fmla="*/ 334 h 634"/>
                <a:gd name="T14" fmla="*/ 214 w 1181"/>
                <a:gd name="T15" fmla="*/ 340 h 634"/>
                <a:gd name="T16" fmla="*/ 214 w 1181"/>
                <a:gd name="T17" fmla="*/ 334 h 634"/>
                <a:gd name="T18" fmla="*/ 383 w 1181"/>
                <a:gd name="T19" fmla="*/ 165 h 634"/>
                <a:gd name="T20" fmla="*/ 497 w 1181"/>
                <a:gd name="T21" fmla="*/ 210 h 634"/>
                <a:gd name="T22" fmla="*/ 977 w 1181"/>
                <a:gd name="T23" fmla="*/ 316 h 634"/>
                <a:gd name="T24" fmla="*/ 976 w 1181"/>
                <a:gd name="T25" fmla="*/ 337 h 634"/>
                <a:gd name="T26" fmla="*/ 1027 w 1181"/>
                <a:gd name="T27" fmla="*/ 328 h 634"/>
                <a:gd name="T28" fmla="*/ 1167 w 1181"/>
                <a:gd name="T29" fmla="*/ 418 h 634"/>
                <a:gd name="T30" fmla="*/ 1180 w 1181"/>
                <a:gd name="T31" fmla="*/ 486 h 6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1" h="634">
                  <a:moveTo>
                    <a:pt x="1180" y="486"/>
                  </a:moveTo>
                  <a:cubicBezTo>
                    <a:pt x="1178" y="569"/>
                    <a:pt x="1107" y="634"/>
                    <a:pt x="1024" y="634"/>
                  </a:cubicBezTo>
                  <a:lnTo>
                    <a:pt x="134" y="634"/>
                  </a:lnTo>
                  <a:cubicBezTo>
                    <a:pt x="62" y="634"/>
                    <a:pt x="1" y="577"/>
                    <a:pt x="0" y="504"/>
                  </a:cubicBezTo>
                  <a:cubicBezTo>
                    <a:pt x="0" y="504"/>
                    <a:pt x="0" y="503"/>
                    <a:pt x="0" y="503"/>
                  </a:cubicBezTo>
                  <a:cubicBezTo>
                    <a:pt x="0" y="472"/>
                    <a:pt x="8" y="443"/>
                    <a:pt x="23" y="418"/>
                  </a:cubicBezTo>
                  <a:cubicBezTo>
                    <a:pt x="52" y="368"/>
                    <a:pt x="107" y="334"/>
                    <a:pt x="169" y="334"/>
                  </a:cubicBezTo>
                  <a:cubicBezTo>
                    <a:pt x="185" y="334"/>
                    <a:pt x="200" y="336"/>
                    <a:pt x="214" y="340"/>
                  </a:cubicBezTo>
                  <a:cubicBezTo>
                    <a:pt x="214" y="338"/>
                    <a:pt x="214" y="336"/>
                    <a:pt x="214" y="334"/>
                  </a:cubicBezTo>
                  <a:cubicBezTo>
                    <a:pt x="214" y="241"/>
                    <a:pt x="289" y="165"/>
                    <a:pt x="383" y="165"/>
                  </a:cubicBezTo>
                  <a:cubicBezTo>
                    <a:pt x="427" y="165"/>
                    <a:pt x="467" y="182"/>
                    <a:pt x="497" y="210"/>
                  </a:cubicBezTo>
                  <a:cubicBezTo>
                    <a:pt x="594" y="0"/>
                    <a:pt x="977" y="31"/>
                    <a:pt x="977" y="316"/>
                  </a:cubicBezTo>
                  <a:cubicBezTo>
                    <a:pt x="977" y="323"/>
                    <a:pt x="977" y="330"/>
                    <a:pt x="976" y="337"/>
                  </a:cubicBezTo>
                  <a:cubicBezTo>
                    <a:pt x="992" y="331"/>
                    <a:pt x="1009" y="328"/>
                    <a:pt x="1027" y="328"/>
                  </a:cubicBezTo>
                  <a:cubicBezTo>
                    <a:pt x="1089" y="328"/>
                    <a:pt x="1143" y="365"/>
                    <a:pt x="1167" y="418"/>
                  </a:cubicBezTo>
                  <a:cubicBezTo>
                    <a:pt x="1176" y="439"/>
                    <a:pt x="1181" y="462"/>
                    <a:pt x="1180" y="4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82" name="Freeform 42">
              <a:extLst>
                <a:ext uri="{FF2B5EF4-FFF2-40B4-BE49-F238E27FC236}">
                  <a16:creationId xmlns:a16="http://schemas.microsoft.com/office/drawing/2014/main" id="{755F1794-FC2E-4911-8C25-C17EED55E4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9163" y="369888"/>
              <a:ext cx="625475" cy="336550"/>
            </a:xfrm>
            <a:custGeom>
              <a:avLst/>
              <a:gdLst>
                <a:gd name="T0" fmla="*/ 824 w 824"/>
                <a:gd name="T1" fmla="*/ 339 h 443"/>
                <a:gd name="T2" fmla="*/ 714 w 824"/>
                <a:gd name="T3" fmla="*/ 443 h 443"/>
                <a:gd name="T4" fmla="*/ 93 w 824"/>
                <a:gd name="T5" fmla="*/ 443 h 443"/>
                <a:gd name="T6" fmla="*/ 0 w 824"/>
                <a:gd name="T7" fmla="*/ 352 h 443"/>
                <a:gd name="T8" fmla="*/ 0 w 824"/>
                <a:gd name="T9" fmla="*/ 351 h 443"/>
                <a:gd name="T10" fmla="*/ 16 w 824"/>
                <a:gd name="T11" fmla="*/ 292 h 443"/>
                <a:gd name="T12" fmla="*/ 118 w 824"/>
                <a:gd name="T13" fmla="*/ 233 h 443"/>
                <a:gd name="T14" fmla="*/ 149 w 824"/>
                <a:gd name="T15" fmla="*/ 238 h 443"/>
                <a:gd name="T16" fmla="*/ 149 w 824"/>
                <a:gd name="T17" fmla="*/ 233 h 443"/>
                <a:gd name="T18" fmla="*/ 267 w 824"/>
                <a:gd name="T19" fmla="*/ 115 h 443"/>
                <a:gd name="T20" fmla="*/ 347 w 824"/>
                <a:gd name="T21" fmla="*/ 147 h 443"/>
                <a:gd name="T22" fmla="*/ 682 w 824"/>
                <a:gd name="T23" fmla="*/ 221 h 443"/>
                <a:gd name="T24" fmla="*/ 681 w 824"/>
                <a:gd name="T25" fmla="*/ 236 h 443"/>
                <a:gd name="T26" fmla="*/ 717 w 824"/>
                <a:gd name="T27" fmla="*/ 229 h 443"/>
                <a:gd name="T28" fmla="*/ 814 w 824"/>
                <a:gd name="T29" fmla="*/ 292 h 443"/>
                <a:gd name="T30" fmla="*/ 824 w 824"/>
                <a:gd name="T31" fmla="*/ 339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24" h="443">
                  <a:moveTo>
                    <a:pt x="824" y="339"/>
                  </a:moveTo>
                  <a:cubicBezTo>
                    <a:pt x="822" y="397"/>
                    <a:pt x="773" y="443"/>
                    <a:pt x="714" y="443"/>
                  </a:cubicBezTo>
                  <a:lnTo>
                    <a:pt x="93" y="443"/>
                  </a:lnTo>
                  <a:cubicBezTo>
                    <a:pt x="43" y="443"/>
                    <a:pt x="0" y="403"/>
                    <a:pt x="0" y="352"/>
                  </a:cubicBezTo>
                  <a:lnTo>
                    <a:pt x="0" y="351"/>
                  </a:lnTo>
                  <a:cubicBezTo>
                    <a:pt x="0" y="330"/>
                    <a:pt x="6" y="309"/>
                    <a:pt x="16" y="292"/>
                  </a:cubicBezTo>
                  <a:cubicBezTo>
                    <a:pt x="36" y="257"/>
                    <a:pt x="74" y="233"/>
                    <a:pt x="118" y="233"/>
                  </a:cubicBezTo>
                  <a:cubicBezTo>
                    <a:pt x="129" y="233"/>
                    <a:pt x="139" y="235"/>
                    <a:pt x="149" y="238"/>
                  </a:cubicBezTo>
                  <a:cubicBezTo>
                    <a:pt x="149" y="236"/>
                    <a:pt x="149" y="235"/>
                    <a:pt x="149" y="233"/>
                  </a:cubicBezTo>
                  <a:cubicBezTo>
                    <a:pt x="149" y="168"/>
                    <a:pt x="202" y="115"/>
                    <a:pt x="267" y="115"/>
                  </a:cubicBezTo>
                  <a:cubicBezTo>
                    <a:pt x="298" y="115"/>
                    <a:pt x="326" y="127"/>
                    <a:pt x="347" y="147"/>
                  </a:cubicBezTo>
                  <a:cubicBezTo>
                    <a:pt x="414" y="0"/>
                    <a:pt x="682" y="22"/>
                    <a:pt x="682" y="221"/>
                  </a:cubicBezTo>
                  <a:cubicBezTo>
                    <a:pt x="682" y="226"/>
                    <a:pt x="681" y="231"/>
                    <a:pt x="681" y="236"/>
                  </a:cubicBezTo>
                  <a:cubicBezTo>
                    <a:pt x="692" y="232"/>
                    <a:pt x="704" y="229"/>
                    <a:pt x="717" y="229"/>
                  </a:cubicBezTo>
                  <a:cubicBezTo>
                    <a:pt x="760" y="229"/>
                    <a:pt x="797" y="255"/>
                    <a:pt x="814" y="292"/>
                  </a:cubicBezTo>
                  <a:cubicBezTo>
                    <a:pt x="821" y="306"/>
                    <a:pt x="824" y="322"/>
                    <a:pt x="824" y="339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grpSp>
        <p:nvGrpSpPr>
          <p:cNvPr id="35" name="그룹 69">
            <a:extLst>
              <a:ext uri="{FF2B5EF4-FFF2-40B4-BE49-F238E27FC236}">
                <a16:creationId xmlns:a16="http://schemas.microsoft.com/office/drawing/2014/main" id="{B158859C-73C3-461B-92B2-0401777E13BF}"/>
              </a:ext>
            </a:extLst>
          </p:cNvPr>
          <p:cNvGrpSpPr/>
          <p:nvPr/>
        </p:nvGrpSpPr>
        <p:grpSpPr>
          <a:xfrm>
            <a:off x="8432832" y="5329341"/>
            <a:ext cx="785055" cy="1209896"/>
            <a:chOff x="4979988" y="223838"/>
            <a:chExt cx="439738" cy="696913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78" name="Rectangle 43">
              <a:extLst>
                <a:ext uri="{FF2B5EF4-FFF2-40B4-BE49-F238E27FC236}">
                  <a16:creationId xmlns:a16="http://schemas.microsoft.com/office/drawing/2014/main" id="{C6754083-994C-4C32-8433-44DEBA2987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92713" y="763588"/>
              <a:ext cx="15875" cy="157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79" name="Freeform 44">
              <a:extLst>
                <a:ext uri="{FF2B5EF4-FFF2-40B4-BE49-F238E27FC236}">
                  <a16:creationId xmlns:a16="http://schemas.microsoft.com/office/drawing/2014/main" id="{BD76D746-EDC2-4D57-82F6-9DBF65D9FA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79988" y="223838"/>
              <a:ext cx="439738" cy="555625"/>
            </a:xfrm>
            <a:custGeom>
              <a:avLst/>
              <a:gdLst>
                <a:gd name="T0" fmla="*/ 289 w 578"/>
                <a:gd name="T1" fmla="*/ 265 h 733"/>
                <a:gd name="T2" fmla="*/ 290 w 578"/>
                <a:gd name="T3" fmla="*/ 265 h 733"/>
                <a:gd name="T4" fmla="*/ 288 w 578"/>
                <a:gd name="T5" fmla="*/ 265 h 733"/>
                <a:gd name="T6" fmla="*/ 289 w 578"/>
                <a:gd name="T7" fmla="*/ 265 h 733"/>
                <a:gd name="T8" fmla="*/ 578 w 578"/>
                <a:gd name="T9" fmla="*/ 733 h 733"/>
                <a:gd name="T10" fmla="*/ 425 w 578"/>
                <a:gd name="T11" fmla="*/ 548 h 733"/>
                <a:gd name="T12" fmla="*/ 524 w 578"/>
                <a:gd name="T13" fmla="*/ 548 h 733"/>
                <a:gd name="T14" fmla="*/ 397 w 578"/>
                <a:gd name="T15" fmla="*/ 395 h 733"/>
                <a:gd name="T16" fmla="*/ 479 w 578"/>
                <a:gd name="T17" fmla="*/ 395 h 733"/>
                <a:gd name="T18" fmla="*/ 381 w 578"/>
                <a:gd name="T19" fmla="*/ 265 h 733"/>
                <a:gd name="T20" fmla="*/ 458 w 578"/>
                <a:gd name="T21" fmla="*/ 265 h 733"/>
                <a:gd name="T22" fmla="*/ 354 w 578"/>
                <a:gd name="T23" fmla="*/ 151 h 733"/>
                <a:gd name="T24" fmla="*/ 427 w 578"/>
                <a:gd name="T25" fmla="*/ 151 h 733"/>
                <a:gd name="T26" fmla="*/ 289 w 578"/>
                <a:gd name="T27" fmla="*/ 0 h 733"/>
                <a:gd name="T28" fmla="*/ 151 w 578"/>
                <a:gd name="T29" fmla="*/ 151 h 733"/>
                <a:gd name="T30" fmla="*/ 224 w 578"/>
                <a:gd name="T31" fmla="*/ 151 h 733"/>
                <a:gd name="T32" fmla="*/ 119 w 578"/>
                <a:gd name="T33" fmla="*/ 265 h 733"/>
                <a:gd name="T34" fmla="*/ 197 w 578"/>
                <a:gd name="T35" fmla="*/ 265 h 733"/>
                <a:gd name="T36" fmla="*/ 99 w 578"/>
                <a:gd name="T37" fmla="*/ 395 h 733"/>
                <a:gd name="T38" fmla="*/ 181 w 578"/>
                <a:gd name="T39" fmla="*/ 395 h 733"/>
                <a:gd name="T40" fmla="*/ 54 w 578"/>
                <a:gd name="T41" fmla="*/ 548 h 733"/>
                <a:gd name="T42" fmla="*/ 153 w 578"/>
                <a:gd name="T43" fmla="*/ 548 h 733"/>
                <a:gd name="T44" fmla="*/ 0 w 578"/>
                <a:gd name="T45" fmla="*/ 733 h 733"/>
                <a:gd name="T46" fmla="*/ 578 w 578"/>
                <a:gd name="T47" fmla="*/ 733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78" h="733">
                  <a:moveTo>
                    <a:pt x="289" y="265"/>
                  </a:moveTo>
                  <a:lnTo>
                    <a:pt x="290" y="265"/>
                  </a:lnTo>
                  <a:lnTo>
                    <a:pt x="288" y="265"/>
                  </a:lnTo>
                  <a:lnTo>
                    <a:pt x="289" y="265"/>
                  </a:lnTo>
                  <a:close/>
                  <a:moveTo>
                    <a:pt x="578" y="733"/>
                  </a:moveTo>
                  <a:lnTo>
                    <a:pt x="425" y="548"/>
                  </a:lnTo>
                  <a:lnTo>
                    <a:pt x="524" y="548"/>
                  </a:lnTo>
                  <a:lnTo>
                    <a:pt x="397" y="395"/>
                  </a:lnTo>
                  <a:lnTo>
                    <a:pt x="479" y="395"/>
                  </a:lnTo>
                  <a:lnTo>
                    <a:pt x="381" y="265"/>
                  </a:lnTo>
                  <a:lnTo>
                    <a:pt x="458" y="265"/>
                  </a:lnTo>
                  <a:lnTo>
                    <a:pt x="354" y="151"/>
                  </a:lnTo>
                  <a:lnTo>
                    <a:pt x="427" y="151"/>
                  </a:lnTo>
                  <a:lnTo>
                    <a:pt x="289" y="0"/>
                  </a:lnTo>
                  <a:lnTo>
                    <a:pt x="151" y="151"/>
                  </a:lnTo>
                  <a:lnTo>
                    <a:pt x="224" y="151"/>
                  </a:lnTo>
                  <a:lnTo>
                    <a:pt x="119" y="265"/>
                  </a:lnTo>
                  <a:lnTo>
                    <a:pt x="197" y="265"/>
                  </a:lnTo>
                  <a:lnTo>
                    <a:pt x="99" y="395"/>
                  </a:lnTo>
                  <a:lnTo>
                    <a:pt x="181" y="395"/>
                  </a:lnTo>
                  <a:lnTo>
                    <a:pt x="54" y="548"/>
                  </a:lnTo>
                  <a:lnTo>
                    <a:pt x="153" y="548"/>
                  </a:lnTo>
                  <a:lnTo>
                    <a:pt x="0" y="733"/>
                  </a:lnTo>
                  <a:lnTo>
                    <a:pt x="578" y="7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80" name="Freeform 45">
              <a:extLst>
                <a:ext uri="{FF2B5EF4-FFF2-40B4-BE49-F238E27FC236}">
                  <a16:creationId xmlns:a16="http://schemas.microsoft.com/office/drawing/2014/main" id="{FAE70D69-CAB9-4E21-BAFF-FEA3540EB86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00650" y="223838"/>
              <a:ext cx="219075" cy="555625"/>
            </a:xfrm>
            <a:custGeom>
              <a:avLst/>
              <a:gdLst>
                <a:gd name="T0" fmla="*/ 136 w 289"/>
                <a:gd name="T1" fmla="*/ 548 h 733"/>
                <a:gd name="T2" fmla="*/ 235 w 289"/>
                <a:gd name="T3" fmla="*/ 548 h 733"/>
                <a:gd name="T4" fmla="*/ 108 w 289"/>
                <a:gd name="T5" fmla="*/ 395 h 733"/>
                <a:gd name="T6" fmla="*/ 190 w 289"/>
                <a:gd name="T7" fmla="*/ 395 h 733"/>
                <a:gd name="T8" fmla="*/ 92 w 289"/>
                <a:gd name="T9" fmla="*/ 265 h 733"/>
                <a:gd name="T10" fmla="*/ 169 w 289"/>
                <a:gd name="T11" fmla="*/ 265 h 733"/>
                <a:gd name="T12" fmla="*/ 65 w 289"/>
                <a:gd name="T13" fmla="*/ 151 h 733"/>
                <a:gd name="T14" fmla="*/ 138 w 289"/>
                <a:gd name="T15" fmla="*/ 151 h 733"/>
                <a:gd name="T16" fmla="*/ 0 w 289"/>
                <a:gd name="T17" fmla="*/ 0 h 733"/>
                <a:gd name="T18" fmla="*/ 0 w 289"/>
                <a:gd name="T19" fmla="*/ 265 h 733"/>
                <a:gd name="T20" fmla="*/ 1 w 289"/>
                <a:gd name="T21" fmla="*/ 265 h 733"/>
                <a:gd name="T22" fmla="*/ 0 w 289"/>
                <a:gd name="T23" fmla="*/ 265 h 733"/>
                <a:gd name="T24" fmla="*/ 0 w 289"/>
                <a:gd name="T25" fmla="*/ 733 h 733"/>
                <a:gd name="T26" fmla="*/ 289 w 289"/>
                <a:gd name="T27" fmla="*/ 733 h 733"/>
                <a:gd name="T28" fmla="*/ 136 w 289"/>
                <a:gd name="T29" fmla="*/ 548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9" h="733">
                  <a:moveTo>
                    <a:pt x="136" y="548"/>
                  </a:moveTo>
                  <a:lnTo>
                    <a:pt x="235" y="548"/>
                  </a:lnTo>
                  <a:lnTo>
                    <a:pt x="108" y="395"/>
                  </a:lnTo>
                  <a:lnTo>
                    <a:pt x="190" y="395"/>
                  </a:lnTo>
                  <a:lnTo>
                    <a:pt x="92" y="265"/>
                  </a:lnTo>
                  <a:lnTo>
                    <a:pt x="169" y="265"/>
                  </a:lnTo>
                  <a:lnTo>
                    <a:pt x="65" y="151"/>
                  </a:lnTo>
                  <a:lnTo>
                    <a:pt x="138" y="151"/>
                  </a:lnTo>
                  <a:lnTo>
                    <a:pt x="0" y="0"/>
                  </a:lnTo>
                  <a:lnTo>
                    <a:pt x="0" y="265"/>
                  </a:lnTo>
                  <a:lnTo>
                    <a:pt x="1" y="265"/>
                  </a:lnTo>
                  <a:lnTo>
                    <a:pt x="0" y="265"/>
                  </a:lnTo>
                  <a:lnTo>
                    <a:pt x="0" y="733"/>
                  </a:lnTo>
                  <a:lnTo>
                    <a:pt x="289" y="733"/>
                  </a:lnTo>
                  <a:lnTo>
                    <a:pt x="136" y="5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grpSp>
        <p:nvGrpSpPr>
          <p:cNvPr id="36" name="그룹 73">
            <a:extLst>
              <a:ext uri="{FF2B5EF4-FFF2-40B4-BE49-F238E27FC236}">
                <a16:creationId xmlns:a16="http://schemas.microsoft.com/office/drawing/2014/main" id="{03A00E83-FC5E-4FCE-9D97-A86937A2D544}"/>
              </a:ext>
            </a:extLst>
          </p:cNvPr>
          <p:cNvGrpSpPr/>
          <p:nvPr/>
        </p:nvGrpSpPr>
        <p:grpSpPr>
          <a:xfrm>
            <a:off x="6394542" y="5358985"/>
            <a:ext cx="565517" cy="791510"/>
            <a:chOff x="5413375" y="214313"/>
            <a:chExt cx="444500" cy="639763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75" name="Rectangle 49">
              <a:extLst>
                <a:ext uri="{FF2B5EF4-FFF2-40B4-BE49-F238E27FC236}">
                  <a16:creationId xmlns:a16="http://schemas.microsoft.com/office/drawing/2014/main" id="{7048C9D9-6DF5-4D4D-B941-F32BFA77A1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22925" y="611188"/>
              <a:ext cx="25400" cy="242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76" name="Freeform 50">
              <a:extLst>
                <a:ext uri="{FF2B5EF4-FFF2-40B4-BE49-F238E27FC236}">
                  <a16:creationId xmlns:a16="http://schemas.microsoft.com/office/drawing/2014/main" id="{5ABB3584-B030-4120-AAD3-6B5F8CE822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3375" y="214313"/>
              <a:ext cx="444500" cy="461963"/>
            </a:xfrm>
            <a:custGeom>
              <a:avLst/>
              <a:gdLst>
                <a:gd name="T0" fmla="*/ 0 w 584"/>
                <a:gd name="T1" fmla="*/ 608 h 608"/>
                <a:gd name="T2" fmla="*/ 151 w 584"/>
                <a:gd name="T3" fmla="*/ 408 h 608"/>
                <a:gd name="T4" fmla="*/ 31 w 584"/>
                <a:gd name="T5" fmla="*/ 408 h 608"/>
                <a:gd name="T6" fmla="*/ 192 w 584"/>
                <a:gd name="T7" fmla="*/ 232 h 608"/>
                <a:gd name="T8" fmla="*/ 80 w 584"/>
                <a:gd name="T9" fmla="*/ 232 h 608"/>
                <a:gd name="T10" fmla="*/ 292 w 584"/>
                <a:gd name="T11" fmla="*/ 0 h 608"/>
                <a:gd name="T12" fmla="*/ 503 w 584"/>
                <a:gd name="T13" fmla="*/ 232 h 608"/>
                <a:gd name="T14" fmla="*/ 391 w 584"/>
                <a:gd name="T15" fmla="*/ 232 h 608"/>
                <a:gd name="T16" fmla="*/ 552 w 584"/>
                <a:gd name="T17" fmla="*/ 408 h 608"/>
                <a:gd name="T18" fmla="*/ 433 w 584"/>
                <a:gd name="T19" fmla="*/ 408 h 608"/>
                <a:gd name="T20" fmla="*/ 584 w 584"/>
                <a:gd name="T21" fmla="*/ 608 h 608"/>
                <a:gd name="T22" fmla="*/ 0 w 584"/>
                <a:gd name="T23" fmla="*/ 608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84" h="608">
                  <a:moveTo>
                    <a:pt x="0" y="608"/>
                  </a:moveTo>
                  <a:lnTo>
                    <a:pt x="151" y="408"/>
                  </a:lnTo>
                  <a:lnTo>
                    <a:pt x="31" y="408"/>
                  </a:lnTo>
                  <a:lnTo>
                    <a:pt x="192" y="232"/>
                  </a:lnTo>
                  <a:lnTo>
                    <a:pt x="80" y="232"/>
                  </a:lnTo>
                  <a:lnTo>
                    <a:pt x="292" y="0"/>
                  </a:lnTo>
                  <a:lnTo>
                    <a:pt x="503" y="232"/>
                  </a:lnTo>
                  <a:lnTo>
                    <a:pt x="391" y="232"/>
                  </a:lnTo>
                  <a:lnTo>
                    <a:pt x="552" y="408"/>
                  </a:lnTo>
                  <a:lnTo>
                    <a:pt x="433" y="408"/>
                  </a:lnTo>
                  <a:lnTo>
                    <a:pt x="584" y="608"/>
                  </a:lnTo>
                  <a:lnTo>
                    <a:pt x="0" y="6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77" name="Freeform 51">
              <a:extLst>
                <a:ext uri="{FF2B5EF4-FFF2-40B4-BE49-F238E27FC236}">
                  <a16:creationId xmlns:a16="http://schemas.microsoft.com/office/drawing/2014/main" id="{1FFF67AB-39FF-4995-9FE9-38317DB30B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5625" y="214313"/>
              <a:ext cx="222250" cy="461963"/>
            </a:xfrm>
            <a:custGeom>
              <a:avLst/>
              <a:gdLst>
                <a:gd name="T0" fmla="*/ 292 w 292"/>
                <a:gd name="T1" fmla="*/ 608 h 608"/>
                <a:gd name="T2" fmla="*/ 0 w 292"/>
                <a:gd name="T3" fmla="*/ 608 h 608"/>
                <a:gd name="T4" fmla="*/ 0 w 292"/>
                <a:gd name="T5" fmla="*/ 0 h 608"/>
                <a:gd name="T6" fmla="*/ 211 w 292"/>
                <a:gd name="T7" fmla="*/ 232 h 608"/>
                <a:gd name="T8" fmla="*/ 99 w 292"/>
                <a:gd name="T9" fmla="*/ 232 h 608"/>
                <a:gd name="T10" fmla="*/ 260 w 292"/>
                <a:gd name="T11" fmla="*/ 408 h 608"/>
                <a:gd name="T12" fmla="*/ 141 w 292"/>
                <a:gd name="T13" fmla="*/ 408 h 608"/>
                <a:gd name="T14" fmla="*/ 292 w 292"/>
                <a:gd name="T15" fmla="*/ 608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2" h="608">
                  <a:moveTo>
                    <a:pt x="292" y="608"/>
                  </a:moveTo>
                  <a:lnTo>
                    <a:pt x="0" y="608"/>
                  </a:lnTo>
                  <a:lnTo>
                    <a:pt x="0" y="0"/>
                  </a:lnTo>
                  <a:lnTo>
                    <a:pt x="211" y="232"/>
                  </a:lnTo>
                  <a:lnTo>
                    <a:pt x="99" y="232"/>
                  </a:lnTo>
                  <a:lnTo>
                    <a:pt x="260" y="408"/>
                  </a:lnTo>
                  <a:lnTo>
                    <a:pt x="141" y="408"/>
                  </a:lnTo>
                  <a:lnTo>
                    <a:pt x="292" y="6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grpSp>
        <p:nvGrpSpPr>
          <p:cNvPr id="37" name="그룹 77">
            <a:extLst>
              <a:ext uri="{FF2B5EF4-FFF2-40B4-BE49-F238E27FC236}">
                <a16:creationId xmlns:a16="http://schemas.microsoft.com/office/drawing/2014/main" id="{6BED55CA-20BE-4696-884C-61E8FE50A1C9}"/>
              </a:ext>
            </a:extLst>
          </p:cNvPr>
          <p:cNvGrpSpPr/>
          <p:nvPr/>
        </p:nvGrpSpPr>
        <p:grpSpPr>
          <a:xfrm>
            <a:off x="2814453" y="5203050"/>
            <a:ext cx="600800" cy="1284156"/>
            <a:chOff x="7313613" y="874713"/>
            <a:chExt cx="473075" cy="1039813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72" name="Rectangle 68">
              <a:extLst>
                <a:ext uri="{FF2B5EF4-FFF2-40B4-BE49-F238E27FC236}">
                  <a16:creationId xmlns:a16="http://schemas.microsoft.com/office/drawing/2014/main" id="{638FD28A-DD81-4034-ACF5-E7AD587B5E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31100" y="1560513"/>
              <a:ext cx="36513" cy="3540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73" name="Freeform 69">
              <a:extLst>
                <a:ext uri="{FF2B5EF4-FFF2-40B4-BE49-F238E27FC236}">
                  <a16:creationId xmlns:a16="http://schemas.microsoft.com/office/drawing/2014/main" id="{70B8F23E-274E-49FD-B318-1D2DD545A65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3613" y="874713"/>
              <a:ext cx="473075" cy="685800"/>
            </a:xfrm>
            <a:custGeom>
              <a:avLst/>
              <a:gdLst>
                <a:gd name="T0" fmla="*/ 39 w 623"/>
                <a:gd name="T1" fmla="*/ 674 h 903"/>
                <a:gd name="T2" fmla="*/ 251 w 623"/>
                <a:gd name="T3" fmla="*/ 58 h 903"/>
                <a:gd name="T4" fmla="*/ 373 w 623"/>
                <a:gd name="T5" fmla="*/ 58 h 903"/>
                <a:gd name="T6" fmla="*/ 584 w 623"/>
                <a:gd name="T7" fmla="*/ 674 h 903"/>
                <a:gd name="T8" fmla="*/ 421 w 623"/>
                <a:gd name="T9" fmla="*/ 903 h 903"/>
                <a:gd name="T10" fmla="*/ 202 w 623"/>
                <a:gd name="T11" fmla="*/ 903 h 903"/>
                <a:gd name="T12" fmla="*/ 39 w 623"/>
                <a:gd name="T13" fmla="*/ 674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3" h="903">
                  <a:moveTo>
                    <a:pt x="39" y="674"/>
                  </a:moveTo>
                  <a:lnTo>
                    <a:pt x="251" y="58"/>
                  </a:lnTo>
                  <a:cubicBezTo>
                    <a:pt x="271" y="0"/>
                    <a:pt x="353" y="0"/>
                    <a:pt x="373" y="58"/>
                  </a:cubicBezTo>
                  <a:lnTo>
                    <a:pt x="584" y="674"/>
                  </a:lnTo>
                  <a:cubicBezTo>
                    <a:pt x="623" y="786"/>
                    <a:pt x="540" y="903"/>
                    <a:pt x="421" y="903"/>
                  </a:cubicBezTo>
                  <a:lnTo>
                    <a:pt x="202" y="903"/>
                  </a:lnTo>
                  <a:cubicBezTo>
                    <a:pt x="84" y="903"/>
                    <a:pt x="0" y="786"/>
                    <a:pt x="39" y="6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74" name="Freeform 72">
              <a:extLst>
                <a:ext uri="{FF2B5EF4-FFF2-40B4-BE49-F238E27FC236}">
                  <a16:creationId xmlns:a16="http://schemas.microsoft.com/office/drawing/2014/main" id="{F132DFD9-3C41-4349-83E8-E92A61BE9596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0150" y="885826"/>
              <a:ext cx="236538" cy="674688"/>
            </a:xfrm>
            <a:custGeom>
              <a:avLst/>
              <a:gdLst>
                <a:gd name="T0" fmla="*/ 61 w 311"/>
                <a:gd name="T1" fmla="*/ 44 h 889"/>
                <a:gd name="T2" fmla="*/ 0 w 311"/>
                <a:gd name="T3" fmla="*/ 0 h 889"/>
                <a:gd name="T4" fmla="*/ 0 w 311"/>
                <a:gd name="T5" fmla="*/ 889 h 889"/>
                <a:gd name="T6" fmla="*/ 109 w 311"/>
                <a:gd name="T7" fmla="*/ 889 h 889"/>
                <a:gd name="T8" fmla="*/ 272 w 311"/>
                <a:gd name="T9" fmla="*/ 660 h 889"/>
                <a:gd name="T10" fmla="*/ 61 w 311"/>
                <a:gd name="T11" fmla="*/ 44 h 8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1" h="889">
                  <a:moveTo>
                    <a:pt x="61" y="44"/>
                  </a:moveTo>
                  <a:cubicBezTo>
                    <a:pt x="51" y="15"/>
                    <a:pt x="25" y="0"/>
                    <a:pt x="0" y="0"/>
                  </a:cubicBezTo>
                  <a:lnTo>
                    <a:pt x="0" y="889"/>
                  </a:lnTo>
                  <a:lnTo>
                    <a:pt x="109" y="889"/>
                  </a:lnTo>
                  <a:cubicBezTo>
                    <a:pt x="228" y="889"/>
                    <a:pt x="311" y="772"/>
                    <a:pt x="272" y="660"/>
                  </a:cubicBezTo>
                  <a:lnTo>
                    <a:pt x="6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grpSp>
        <p:nvGrpSpPr>
          <p:cNvPr id="38" name="그룹 81">
            <a:extLst>
              <a:ext uri="{FF2B5EF4-FFF2-40B4-BE49-F238E27FC236}">
                <a16:creationId xmlns:a16="http://schemas.microsoft.com/office/drawing/2014/main" id="{26E90B53-52E0-4C39-A54B-7ED874D0A4B8}"/>
              </a:ext>
            </a:extLst>
          </p:cNvPr>
          <p:cNvGrpSpPr/>
          <p:nvPr/>
        </p:nvGrpSpPr>
        <p:grpSpPr>
          <a:xfrm>
            <a:off x="2207475" y="5666974"/>
            <a:ext cx="544031" cy="761438"/>
            <a:chOff x="5413375" y="214313"/>
            <a:chExt cx="444500" cy="639763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69" name="Rectangle 49">
              <a:extLst>
                <a:ext uri="{FF2B5EF4-FFF2-40B4-BE49-F238E27FC236}">
                  <a16:creationId xmlns:a16="http://schemas.microsoft.com/office/drawing/2014/main" id="{A9B3948D-0986-4DFE-8234-5900647FF9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22925" y="611188"/>
              <a:ext cx="25400" cy="242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70" name="Freeform 50">
              <a:extLst>
                <a:ext uri="{FF2B5EF4-FFF2-40B4-BE49-F238E27FC236}">
                  <a16:creationId xmlns:a16="http://schemas.microsoft.com/office/drawing/2014/main" id="{B4A88EB7-F40D-4E14-9DF0-9B4FA4FFCE7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3375" y="214313"/>
              <a:ext cx="444500" cy="461963"/>
            </a:xfrm>
            <a:custGeom>
              <a:avLst/>
              <a:gdLst>
                <a:gd name="T0" fmla="*/ 0 w 584"/>
                <a:gd name="T1" fmla="*/ 608 h 608"/>
                <a:gd name="T2" fmla="*/ 151 w 584"/>
                <a:gd name="T3" fmla="*/ 408 h 608"/>
                <a:gd name="T4" fmla="*/ 31 w 584"/>
                <a:gd name="T5" fmla="*/ 408 h 608"/>
                <a:gd name="T6" fmla="*/ 192 w 584"/>
                <a:gd name="T7" fmla="*/ 232 h 608"/>
                <a:gd name="T8" fmla="*/ 80 w 584"/>
                <a:gd name="T9" fmla="*/ 232 h 608"/>
                <a:gd name="T10" fmla="*/ 292 w 584"/>
                <a:gd name="T11" fmla="*/ 0 h 608"/>
                <a:gd name="T12" fmla="*/ 503 w 584"/>
                <a:gd name="T13" fmla="*/ 232 h 608"/>
                <a:gd name="T14" fmla="*/ 391 w 584"/>
                <a:gd name="T15" fmla="*/ 232 h 608"/>
                <a:gd name="T16" fmla="*/ 552 w 584"/>
                <a:gd name="T17" fmla="*/ 408 h 608"/>
                <a:gd name="T18" fmla="*/ 433 w 584"/>
                <a:gd name="T19" fmla="*/ 408 h 608"/>
                <a:gd name="T20" fmla="*/ 584 w 584"/>
                <a:gd name="T21" fmla="*/ 608 h 608"/>
                <a:gd name="T22" fmla="*/ 0 w 584"/>
                <a:gd name="T23" fmla="*/ 608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84" h="608">
                  <a:moveTo>
                    <a:pt x="0" y="608"/>
                  </a:moveTo>
                  <a:lnTo>
                    <a:pt x="151" y="408"/>
                  </a:lnTo>
                  <a:lnTo>
                    <a:pt x="31" y="408"/>
                  </a:lnTo>
                  <a:lnTo>
                    <a:pt x="192" y="232"/>
                  </a:lnTo>
                  <a:lnTo>
                    <a:pt x="80" y="232"/>
                  </a:lnTo>
                  <a:lnTo>
                    <a:pt x="292" y="0"/>
                  </a:lnTo>
                  <a:lnTo>
                    <a:pt x="503" y="232"/>
                  </a:lnTo>
                  <a:lnTo>
                    <a:pt x="391" y="232"/>
                  </a:lnTo>
                  <a:lnTo>
                    <a:pt x="552" y="408"/>
                  </a:lnTo>
                  <a:lnTo>
                    <a:pt x="433" y="408"/>
                  </a:lnTo>
                  <a:lnTo>
                    <a:pt x="584" y="608"/>
                  </a:lnTo>
                  <a:lnTo>
                    <a:pt x="0" y="6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71" name="Freeform 51">
              <a:extLst>
                <a:ext uri="{FF2B5EF4-FFF2-40B4-BE49-F238E27FC236}">
                  <a16:creationId xmlns:a16="http://schemas.microsoft.com/office/drawing/2014/main" id="{17BB6E62-866C-4DFE-9F54-CA75A03620E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5625" y="214313"/>
              <a:ext cx="222250" cy="461963"/>
            </a:xfrm>
            <a:custGeom>
              <a:avLst/>
              <a:gdLst>
                <a:gd name="T0" fmla="*/ 292 w 292"/>
                <a:gd name="T1" fmla="*/ 608 h 608"/>
                <a:gd name="T2" fmla="*/ 0 w 292"/>
                <a:gd name="T3" fmla="*/ 608 h 608"/>
                <a:gd name="T4" fmla="*/ 0 w 292"/>
                <a:gd name="T5" fmla="*/ 0 h 608"/>
                <a:gd name="T6" fmla="*/ 211 w 292"/>
                <a:gd name="T7" fmla="*/ 232 h 608"/>
                <a:gd name="T8" fmla="*/ 99 w 292"/>
                <a:gd name="T9" fmla="*/ 232 h 608"/>
                <a:gd name="T10" fmla="*/ 260 w 292"/>
                <a:gd name="T11" fmla="*/ 408 h 608"/>
                <a:gd name="T12" fmla="*/ 141 w 292"/>
                <a:gd name="T13" fmla="*/ 408 h 608"/>
                <a:gd name="T14" fmla="*/ 292 w 292"/>
                <a:gd name="T15" fmla="*/ 608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2" h="608">
                  <a:moveTo>
                    <a:pt x="292" y="608"/>
                  </a:moveTo>
                  <a:lnTo>
                    <a:pt x="0" y="608"/>
                  </a:lnTo>
                  <a:lnTo>
                    <a:pt x="0" y="0"/>
                  </a:lnTo>
                  <a:lnTo>
                    <a:pt x="211" y="232"/>
                  </a:lnTo>
                  <a:lnTo>
                    <a:pt x="99" y="232"/>
                  </a:lnTo>
                  <a:lnTo>
                    <a:pt x="260" y="408"/>
                  </a:lnTo>
                  <a:lnTo>
                    <a:pt x="141" y="408"/>
                  </a:lnTo>
                  <a:lnTo>
                    <a:pt x="292" y="6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grpSp>
        <p:nvGrpSpPr>
          <p:cNvPr id="39" name="그룹 85">
            <a:extLst>
              <a:ext uri="{FF2B5EF4-FFF2-40B4-BE49-F238E27FC236}">
                <a16:creationId xmlns:a16="http://schemas.microsoft.com/office/drawing/2014/main" id="{86E0C5ED-3811-4D35-8BA0-ACC605C1CDD9}"/>
              </a:ext>
            </a:extLst>
          </p:cNvPr>
          <p:cNvGrpSpPr/>
          <p:nvPr/>
        </p:nvGrpSpPr>
        <p:grpSpPr>
          <a:xfrm>
            <a:off x="483115" y="5897554"/>
            <a:ext cx="275923" cy="525300"/>
            <a:chOff x="4070350" y="60326"/>
            <a:chExt cx="450850" cy="882650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66" name="Rectangle 19">
              <a:extLst>
                <a:ext uri="{FF2B5EF4-FFF2-40B4-BE49-F238E27FC236}">
                  <a16:creationId xmlns:a16="http://schemas.microsoft.com/office/drawing/2014/main" id="{DD2490C8-E687-42F4-AA7D-977572F20A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9900" y="642938"/>
              <a:ext cx="31750" cy="300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67" name="Freeform 20">
              <a:extLst>
                <a:ext uri="{FF2B5EF4-FFF2-40B4-BE49-F238E27FC236}">
                  <a16:creationId xmlns:a16="http://schemas.microsoft.com/office/drawing/2014/main" id="{5D6204CF-AFA5-4017-9A1C-205B8F1977F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0350" y="60326"/>
              <a:ext cx="450850" cy="655638"/>
            </a:xfrm>
            <a:custGeom>
              <a:avLst/>
              <a:gdLst>
                <a:gd name="T0" fmla="*/ 0 w 593"/>
                <a:gd name="T1" fmla="*/ 862 h 862"/>
                <a:gd name="T2" fmla="*/ 297 w 593"/>
                <a:gd name="T3" fmla="*/ 0 h 862"/>
                <a:gd name="T4" fmla="*/ 593 w 593"/>
                <a:gd name="T5" fmla="*/ 862 h 862"/>
                <a:gd name="T6" fmla="*/ 0 w 593"/>
                <a:gd name="T7" fmla="*/ 862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93" h="862">
                  <a:moveTo>
                    <a:pt x="0" y="862"/>
                  </a:moveTo>
                  <a:lnTo>
                    <a:pt x="297" y="0"/>
                  </a:lnTo>
                  <a:lnTo>
                    <a:pt x="593" y="862"/>
                  </a:lnTo>
                  <a:lnTo>
                    <a:pt x="0" y="8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68" name="Freeform 21">
              <a:extLst>
                <a:ext uri="{FF2B5EF4-FFF2-40B4-BE49-F238E27FC236}">
                  <a16:creationId xmlns:a16="http://schemas.microsoft.com/office/drawing/2014/main" id="{12A6FA7C-ABAE-4D11-B67C-91E7905A4B8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5775" y="60326"/>
              <a:ext cx="225425" cy="655638"/>
            </a:xfrm>
            <a:custGeom>
              <a:avLst/>
              <a:gdLst>
                <a:gd name="T0" fmla="*/ 296 w 296"/>
                <a:gd name="T1" fmla="*/ 863 h 863"/>
                <a:gd name="T2" fmla="*/ 0 w 296"/>
                <a:gd name="T3" fmla="*/ 863 h 863"/>
                <a:gd name="T4" fmla="*/ 0 w 296"/>
                <a:gd name="T5" fmla="*/ 0 h 863"/>
                <a:gd name="T6" fmla="*/ 296 w 296"/>
                <a:gd name="T7" fmla="*/ 863 h 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6" h="863">
                  <a:moveTo>
                    <a:pt x="296" y="863"/>
                  </a:moveTo>
                  <a:lnTo>
                    <a:pt x="0" y="863"/>
                  </a:lnTo>
                  <a:lnTo>
                    <a:pt x="0" y="0"/>
                  </a:lnTo>
                  <a:lnTo>
                    <a:pt x="296" y="8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grpSp>
        <p:nvGrpSpPr>
          <p:cNvPr id="40" name="그룹 89">
            <a:extLst>
              <a:ext uri="{FF2B5EF4-FFF2-40B4-BE49-F238E27FC236}">
                <a16:creationId xmlns:a16="http://schemas.microsoft.com/office/drawing/2014/main" id="{AF19BCD4-2EE0-4D22-AD55-7868BF08E231}"/>
              </a:ext>
            </a:extLst>
          </p:cNvPr>
          <p:cNvGrpSpPr/>
          <p:nvPr/>
        </p:nvGrpSpPr>
        <p:grpSpPr>
          <a:xfrm>
            <a:off x="4115973" y="5501912"/>
            <a:ext cx="758859" cy="801929"/>
            <a:chOff x="7986713" y="1112838"/>
            <a:chExt cx="823913" cy="895351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61" name="Freeform 22">
              <a:extLst>
                <a:ext uri="{FF2B5EF4-FFF2-40B4-BE49-F238E27FC236}">
                  <a16:creationId xmlns:a16="http://schemas.microsoft.com/office/drawing/2014/main" id="{F080C437-562B-429B-8C2A-DEE35F93225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2775" y="1501776"/>
              <a:ext cx="333375" cy="506413"/>
            </a:xfrm>
            <a:custGeom>
              <a:avLst/>
              <a:gdLst>
                <a:gd name="T0" fmla="*/ 439 w 439"/>
                <a:gd name="T1" fmla="*/ 71 h 667"/>
                <a:gd name="T2" fmla="*/ 405 w 439"/>
                <a:gd name="T3" fmla="*/ 45 h 667"/>
                <a:gd name="T4" fmla="*/ 243 w 439"/>
                <a:gd name="T5" fmla="*/ 178 h 667"/>
                <a:gd name="T6" fmla="*/ 243 w 439"/>
                <a:gd name="T7" fmla="*/ 0 h 667"/>
                <a:gd name="T8" fmla="*/ 189 w 439"/>
                <a:gd name="T9" fmla="*/ 0 h 667"/>
                <a:gd name="T10" fmla="*/ 189 w 439"/>
                <a:gd name="T11" fmla="*/ 178 h 667"/>
                <a:gd name="T12" fmla="*/ 35 w 439"/>
                <a:gd name="T13" fmla="*/ 31 h 667"/>
                <a:gd name="T14" fmla="*/ 0 w 439"/>
                <a:gd name="T15" fmla="*/ 57 h 667"/>
                <a:gd name="T16" fmla="*/ 189 w 439"/>
                <a:gd name="T17" fmla="*/ 231 h 667"/>
                <a:gd name="T18" fmla="*/ 189 w 439"/>
                <a:gd name="T19" fmla="*/ 667 h 667"/>
                <a:gd name="T20" fmla="*/ 243 w 439"/>
                <a:gd name="T21" fmla="*/ 667 h 667"/>
                <a:gd name="T22" fmla="*/ 243 w 439"/>
                <a:gd name="T23" fmla="*/ 231 h 667"/>
                <a:gd name="T24" fmla="*/ 439 w 439"/>
                <a:gd name="T25" fmla="*/ 71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9" h="667">
                  <a:moveTo>
                    <a:pt x="439" y="71"/>
                  </a:moveTo>
                  <a:lnTo>
                    <a:pt x="405" y="45"/>
                  </a:lnTo>
                  <a:lnTo>
                    <a:pt x="243" y="178"/>
                  </a:lnTo>
                  <a:lnTo>
                    <a:pt x="243" y="0"/>
                  </a:lnTo>
                  <a:lnTo>
                    <a:pt x="189" y="0"/>
                  </a:lnTo>
                  <a:lnTo>
                    <a:pt x="189" y="178"/>
                  </a:lnTo>
                  <a:lnTo>
                    <a:pt x="35" y="31"/>
                  </a:lnTo>
                  <a:lnTo>
                    <a:pt x="0" y="57"/>
                  </a:lnTo>
                  <a:lnTo>
                    <a:pt x="189" y="231"/>
                  </a:lnTo>
                  <a:lnTo>
                    <a:pt x="189" y="667"/>
                  </a:lnTo>
                  <a:lnTo>
                    <a:pt x="243" y="667"/>
                  </a:lnTo>
                  <a:lnTo>
                    <a:pt x="243" y="231"/>
                  </a:lnTo>
                  <a:lnTo>
                    <a:pt x="439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62" name="Oval 23">
              <a:extLst>
                <a:ext uri="{FF2B5EF4-FFF2-40B4-BE49-F238E27FC236}">
                  <a16:creationId xmlns:a16="http://schemas.microsoft.com/office/drawing/2014/main" id="{6867F05A-3625-4EE5-BC60-4A21E0F481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04200" y="1112838"/>
              <a:ext cx="388938" cy="388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63" name="Freeform 24">
              <a:extLst>
                <a:ext uri="{FF2B5EF4-FFF2-40B4-BE49-F238E27FC236}">
                  <a16:creationId xmlns:a16="http://schemas.microsoft.com/office/drawing/2014/main" id="{11FEDDCB-2659-449B-94A3-AFF5764114F7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9463" y="1112838"/>
              <a:ext cx="193675" cy="388938"/>
            </a:xfrm>
            <a:custGeom>
              <a:avLst/>
              <a:gdLst>
                <a:gd name="T0" fmla="*/ 0 w 255"/>
                <a:gd name="T1" fmla="*/ 0 h 512"/>
                <a:gd name="T2" fmla="*/ 0 w 255"/>
                <a:gd name="T3" fmla="*/ 512 h 512"/>
                <a:gd name="T4" fmla="*/ 255 w 255"/>
                <a:gd name="T5" fmla="*/ 256 h 512"/>
                <a:gd name="T6" fmla="*/ 0 w 255"/>
                <a:gd name="T7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5" h="512">
                  <a:moveTo>
                    <a:pt x="0" y="0"/>
                  </a:moveTo>
                  <a:lnTo>
                    <a:pt x="0" y="512"/>
                  </a:lnTo>
                  <a:cubicBezTo>
                    <a:pt x="141" y="511"/>
                    <a:pt x="255" y="397"/>
                    <a:pt x="255" y="256"/>
                  </a:cubicBezTo>
                  <a:cubicBezTo>
                    <a:pt x="255" y="115"/>
                    <a:pt x="14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64" name="Oval 25">
              <a:extLst>
                <a:ext uri="{FF2B5EF4-FFF2-40B4-BE49-F238E27FC236}">
                  <a16:creationId xmlns:a16="http://schemas.microsoft.com/office/drawing/2014/main" id="{127D1B94-C0F2-44DA-AC18-393411192F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86713" y="1176338"/>
              <a:ext cx="390525" cy="388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65" name="Oval 26">
              <a:extLst>
                <a:ext uri="{FF2B5EF4-FFF2-40B4-BE49-F238E27FC236}">
                  <a16:creationId xmlns:a16="http://schemas.microsoft.com/office/drawing/2014/main" id="{AC7BB1D7-6182-49C1-A837-71184C2342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21688" y="1176338"/>
              <a:ext cx="388938" cy="388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grpSp>
        <p:nvGrpSpPr>
          <p:cNvPr id="41" name="그룹 95">
            <a:extLst>
              <a:ext uri="{FF2B5EF4-FFF2-40B4-BE49-F238E27FC236}">
                <a16:creationId xmlns:a16="http://schemas.microsoft.com/office/drawing/2014/main" id="{2F656AB5-2D04-451C-9D92-C1BA1D3FF120}"/>
              </a:ext>
            </a:extLst>
          </p:cNvPr>
          <p:cNvGrpSpPr/>
          <p:nvPr/>
        </p:nvGrpSpPr>
        <p:grpSpPr>
          <a:xfrm>
            <a:off x="778472" y="5851132"/>
            <a:ext cx="457099" cy="483043"/>
            <a:chOff x="7986713" y="1112838"/>
            <a:chExt cx="823913" cy="895351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56" name="Freeform 22">
              <a:extLst>
                <a:ext uri="{FF2B5EF4-FFF2-40B4-BE49-F238E27FC236}">
                  <a16:creationId xmlns:a16="http://schemas.microsoft.com/office/drawing/2014/main" id="{C906E5B4-C303-4F89-BA32-829785D363C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2775" y="1501776"/>
              <a:ext cx="333375" cy="506413"/>
            </a:xfrm>
            <a:custGeom>
              <a:avLst/>
              <a:gdLst>
                <a:gd name="T0" fmla="*/ 439 w 439"/>
                <a:gd name="T1" fmla="*/ 71 h 667"/>
                <a:gd name="T2" fmla="*/ 405 w 439"/>
                <a:gd name="T3" fmla="*/ 45 h 667"/>
                <a:gd name="T4" fmla="*/ 243 w 439"/>
                <a:gd name="T5" fmla="*/ 178 h 667"/>
                <a:gd name="T6" fmla="*/ 243 w 439"/>
                <a:gd name="T7" fmla="*/ 0 h 667"/>
                <a:gd name="T8" fmla="*/ 189 w 439"/>
                <a:gd name="T9" fmla="*/ 0 h 667"/>
                <a:gd name="T10" fmla="*/ 189 w 439"/>
                <a:gd name="T11" fmla="*/ 178 h 667"/>
                <a:gd name="T12" fmla="*/ 35 w 439"/>
                <a:gd name="T13" fmla="*/ 31 h 667"/>
                <a:gd name="T14" fmla="*/ 0 w 439"/>
                <a:gd name="T15" fmla="*/ 57 h 667"/>
                <a:gd name="T16" fmla="*/ 189 w 439"/>
                <a:gd name="T17" fmla="*/ 231 h 667"/>
                <a:gd name="T18" fmla="*/ 189 w 439"/>
                <a:gd name="T19" fmla="*/ 667 h 667"/>
                <a:gd name="T20" fmla="*/ 243 w 439"/>
                <a:gd name="T21" fmla="*/ 667 h 667"/>
                <a:gd name="T22" fmla="*/ 243 w 439"/>
                <a:gd name="T23" fmla="*/ 231 h 667"/>
                <a:gd name="T24" fmla="*/ 439 w 439"/>
                <a:gd name="T25" fmla="*/ 71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9" h="667">
                  <a:moveTo>
                    <a:pt x="439" y="71"/>
                  </a:moveTo>
                  <a:lnTo>
                    <a:pt x="405" y="45"/>
                  </a:lnTo>
                  <a:lnTo>
                    <a:pt x="243" y="178"/>
                  </a:lnTo>
                  <a:lnTo>
                    <a:pt x="243" y="0"/>
                  </a:lnTo>
                  <a:lnTo>
                    <a:pt x="189" y="0"/>
                  </a:lnTo>
                  <a:lnTo>
                    <a:pt x="189" y="178"/>
                  </a:lnTo>
                  <a:lnTo>
                    <a:pt x="35" y="31"/>
                  </a:lnTo>
                  <a:lnTo>
                    <a:pt x="0" y="57"/>
                  </a:lnTo>
                  <a:lnTo>
                    <a:pt x="189" y="231"/>
                  </a:lnTo>
                  <a:lnTo>
                    <a:pt x="189" y="667"/>
                  </a:lnTo>
                  <a:lnTo>
                    <a:pt x="243" y="667"/>
                  </a:lnTo>
                  <a:lnTo>
                    <a:pt x="243" y="231"/>
                  </a:lnTo>
                  <a:lnTo>
                    <a:pt x="439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57" name="Oval 23">
              <a:extLst>
                <a:ext uri="{FF2B5EF4-FFF2-40B4-BE49-F238E27FC236}">
                  <a16:creationId xmlns:a16="http://schemas.microsoft.com/office/drawing/2014/main" id="{7F61D45E-65B6-45F0-9FAB-65F899C642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04200" y="1112838"/>
              <a:ext cx="388938" cy="388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58" name="Freeform 24">
              <a:extLst>
                <a:ext uri="{FF2B5EF4-FFF2-40B4-BE49-F238E27FC236}">
                  <a16:creationId xmlns:a16="http://schemas.microsoft.com/office/drawing/2014/main" id="{28159E6D-AC4C-451F-AD91-B5F9AD9BE44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9463" y="1112838"/>
              <a:ext cx="193675" cy="388938"/>
            </a:xfrm>
            <a:custGeom>
              <a:avLst/>
              <a:gdLst>
                <a:gd name="T0" fmla="*/ 0 w 255"/>
                <a:gd name="T1" fmla="*/ 0 h 512"/>
                <a:gd name="T2" fmla="*/ 0 w 255"/>
                <a:gd name="T3" fmla="*/ 512 h 512"/>
                <a:gd name="T4" fmla="*/ 255 w 255"/>
                <a:gd name="T5" fmla="*/ 256 h 512"/>
                <a:gd name="T6" fmla="*/ 0 w 255"/>
                <a:gd name="T7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5" h="512">
                  <a:moveTo>
                    <a:pt x="0" y="0"/>
                  </a:moveTo>
                  <a:lnTo>
                    <a:pt x="0" y="512"/>
                  </a:lnTo>
                  <a:cubicBezTo>
                    <a:pt x="141" y="511"/>
                    <a:pt x="255" y="397"/>
                    <a:pt x="255" y="256"/>
                  </a:cubicBezTo>
                  <a:cubicBezTo>
                    <a:pt x="255" y="115"/>
                    <a:pt x="14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59" name="Oval 25">
              <a:extLst>
                <a:ext uri="{FF2B5EF4-FFF2-40B4-BE49-F238E27FC236}">
                  <a16:creationId xmlns:a16="http://schemas.microsoft.com/office/drawing/2014/main" id="{F306F638-940D-428E-A205-2890EA8761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86713" y="1176338"/>
              <a:ext cx="390525" cy="388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60" name="Oval 26">
              <a:extLst>
                <a:ext uri="{FF2B5EF4-FFF2-40B4-BE49-F238E27FC236}">
                  <a16:creationId xmlns:a16="http://schemas.microsoft.com/office/drawing/2014/main" id="{9ED5CC7B-8A11-4B7B-A6EC-AB8FC862B0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21688" y="1176338"/>
              <a:ext cx="388938" cy="388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grpSp>
        <p:nvGrpSpPr>
          <p:cNvPr id="42" name="그룹 101">
            <a:extLst>
              <a:ext uri="{FF2B5EF4-FFF2-40B4-BE49-F238E27FC236}">
                <a16:creationId xmlns:a16="http://schemas.microsoft.com/office/drawing/2014/main" id="{8C37FB4C-6DDB-4BCF-9725-5003D1147D47}"/>
              </a:ext>
            </a:extLst>
          </p:cNvPr>
          <p:cNvGrpSpPr/>
          <p:nvPr/>
        </p:nvGrpSpPr>
        <p:grpSpPr>
          <a:xfrm>
            <a:off x="3361942" y="5780275"/>
            <a:ext cx="448729" cy="691563"/>
            <a:chOff x="4979988" y="223838"/>
            <a:chExt cx="439738" cy="696913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53" name="Rectangle 43">
              <a:extLst>
                <a:ext uri="{FF2B5EF4-FFF2-40B4-BE49-F238E27FC236}">
                  <a16:creationId xmlns:a16="http://schemas.microsoft.com/office/drawing/2014/main" id="{80762300-FB5F-446C-942A-1B5199BCCC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92713" y="763588"/>
              <a:ext cx="15875" cy="157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54" name="Freeform 44">
              <a:extLst>
                <a:ext uri="{FF2B5EF4-FFF2-40B4-BE49-F238E27FC236}">
                  <a16:creationId xmlns:a16="http://schemas.microsoft.com/office/drawing/2014/main" id="{48D5BFB7-4EBA-4A14-BDC1-C3AB915421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79988" y="223838"/>
              <a:ext cx="439738" cy="555625"/>
            </a:xfrm>
            <a:custGeom>
              <a:avLst/>
              <a:gdLst>
                <a:gd name="T0" fmla="*/ 289 w 578"/>
                <a:gd name="T1" fmla="*/ 265 h 733"/>
                <a:gd name="T2" fmla="*/ 290 w 578"/>
                <a:gd name="T3" fmla="*/ 265 h 733"/>
                <a:gd name="T4" fmla="*/ 288 w 578"/>
                <a:gd name="T5" fmla="*/ 265 h 733"/>
                <a:gd name="T6" fmla="*/ 289 w 578"/>
                <a:gd name="T7" fmla="*/ 265 h 733"/>
                <a:gd name="T8" fmla="*/ 578 w 578"/>
                <a:gd name="T9" fmla="*/ 733 h 733"/>
                <a:gd name="T10" fmla="*/ 425 w 578"/>
                <a:gd name="T11" fmla="*/ 548 h 733"/>
                <a:gd name="T12" fmla="*/ 524 w 578"/>
                <a:gd name="T13" fmla="*/ 548 h 733"/>
                <a:gd name="T14" fmla="*/ 397 w 578"/>
                <a:gd name="T15" fmla="*/ 395 h 733"/>
                <a:gd name="T16" fmla="*/ 479 w 578"/>
                <a:gd name="T17" fmla="*/ 395 h 733"/>
                <a:gd name="T18" fmla="*/ 381 w 578"/>
                <a:gd name="T19" fmla="*/ 265 h 733"/>
                <a:gd name="T20" fmla="*/ 458 w 578"/>
                <a:gd name="T21" fmla="*/ 265 h 733"/>
                <a:gd name="T22" fmla="*/ 354 w 578"/>
                <a:gd name="T23" fmla="*/ 151 h 733"/>
                <a:gd name="T24" fmla="*/ 427 w 578"/>
                <a:gd name="T25" fmla="*/ 151 h 733"/>
                <a:gd name="T26" fmla="*/ 289 w 578"/>
                <a:gd name="T27" fmla="*/ 0 h 733"/>
                <a:gd name="T28" fmla="*/ 151 w 578"/>
                <a:gd name="T29" fmla="*/ 151 h 733"/>
                <a:gd name="T30" fmla="*/ 224 w 578"/>
                <a:gd name="T31" fmla="*/ 151 h 733"/>
                <a:gd name="T32" fmla="*/ 119 w 578"/>
                <a:gd name="T33" fmla="*/ 265 h 733"/>
                <a:gd name="T34" fmla="*/ 197 w 578"/>
                <a:gd name="T35" fmla="*/ 265 h 733"/>
                <a:gd name="T36" fmla="*/ 99 w 578"/>
                <a:gd name="T37" fmla="*/ 395 h 733"/>
                <a:gd name="T38" fmla="*/ 181 w 578"/>
                <a:gd name="T39" fmla="*/ 395 h 733"/>
                <a:gd name="T40" fmla="*/ 54 w 578"/>
                <a:gd name="T41" fmla="*/ 548 h 733"/>
                <a:gd name="T42" fmla="*/ 153 w 578"/>
                <a:gd name="T43" fmla="*/ 548 h 733"/>
                <a:gd name="T44" fmla="*/ 0 w 578"/>
                <a:gd name="T45" fmla="*/ 733 h 733"/>
                <a:gd name="T46" fmla="*/ 578 w 578"/>
                <a:gd name="T47" fmla="*/ 733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78" h="733">
                  <a:moveTo>
                    <a:pt x="289" y="265"/>
                  </a:moveTo>
                  <a:lnTo>
                    <a:pt x="290" y="265"/>
                  </a:lnTo>
                  <a:lnTo>
                    <a:pt x="288" y="265"/>
                  </a:lnTo>
                  <a:lnTo>
                    <a:pt x="289" y="265"/>
                  </a:lnTo>
                  <a:close/>
                  <a:moveTo>
                    <a:pt x="578" y="733"/>
                  </a:moveTo>
                  <a:lnTo>
                    <a:pt x="425" y="548"/>
                  </a:lnTo>
                  <a:lnTo>
                    <a:pt x="524" y="548"/>
                  </a:lnTo>
                  <a:lnTo>
                    <a:pt x="397" y="395"/>
                  </a:lnTo>
                  <a:lnTo>
                    <a:pt x="479" y="395"/>
                  </a:lnTo>
                  <a:lnTo>
                    <a:pt x="381" y="265"/>
                  </a:lnTo>
                  <a:lnTo>
                    <a:pt x="458" y="265"/>
                  </a:lnTo>
                  <a:lnTo>
                    <a:pt x="354" y="151"/>
                  </a:lnTo>
                  <a:lnTo>
                    <a:pt x="427" y="151"/>
                  </a:lnTo>
                  <a:lnTo>
                    <a:pt x="289" y="0"/>
                  </a:lnTo>
                  <a:lnTo>
                    <a:pt x="151" y="151"/>
                  </a:lnTo>
                  <a:lnTo>
                    <a:pt x="224" y="151"/>
                  </a:lnTo>
                  <a:lnTo>
                    <a:pt x="119" y="265"/>
                  </a:lnTo>
                  <a:lnTo>
                    <a:pt x="197" y="265"/>
                  </a:lnTo>
                  <a:lnTo>
                    <a:pt x="99" y="395"/>
                  </a:lnTo>
                  <a:lnTo>
                    <a:pt x="181" y="395"/>
                  </a:lnTo>
                  <a:lnTo>
                    <a:pt x="54" y="548"/>
                  </a:lnTo>
                  <a:lnTo>
                    <a:pt x="153" y="548"/>
                  </a:lnTo>
                  <a:lnTo>
                    <a:pt x="0" y="733"/>
                  </a:lnTo>
                  <a:lnTo>
                    <a:pt x="578" y="7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55" name="Freeform 45">
              <a:extLst>
                <a:ext uri="{FF2B5EF4-FFF2-40B4-BE49-F238E27FC236}">
                  <a16:creationId xmlns:a16="http://schemas.microsoft.com/office/drawing/2014/main" id="{3C871FFE-DCEC-4D91-8736-D5292212D5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00650" y="223838"/>
              <a:ext cx="219075" cy="555625"/>
            </a:xfrm>
            <a:custGeom>
              <a:avLst/>
              <a:gdLst>
                <a:gd name="T0" fmla="*/ 136 w 289"/>
                <a:gd name="T1" fmla="*/ 548 h 733"/>
                <a:gd name="T2" fmla="*/ 235 w 289"/>
                <a:gd name="T3" fmla="*/ 548 h 733"/>
                <a:gd name="T4" fmla="*/ 108 w 289"/>
                <a:gd name="T5" fmla="*/ 395 h 733"/>
                <a:gd name="T6" fmla="*/ 190 w 289"/>
                <a:gd name="T7" fmla="*/ 395 h 733"/>
                <a:gd name="T8" fmla="*/ 92 w 289"/>
                <a:gd name="T9" fmla="*/ 265 h 733"/>
                <a:gd name="T10" fmla="*/ 169 w 289"/>
                <a:gd name="T11" fmla="*/ 265 h 733"/>
                <a:gd name="T12" fmla="*/ 65 w 289"/>
                <a:gd name="T13" fmla="*/ 151 h 733"/>
                <a:gd name="T14" fmla="*/ 138 w 289"/>
                <a:gd name="T15" fmla="*/ 151 h 733"/>
                <a:gd name="T16" fmla="*/ 0 w 289"/>
                <a:gd name="T17" fmla="*/ 0 h 733"/>
                <a:gd name="T18" fmla="*/ 0 w 289"/>
                <a:gd name="T19" fmla="*/ 265 h 733"/>
                <a:gd name="T20" fmla="*/ 1 w 289"/>
                <a:gd name="T21" fmla="*/ 265 h 733"/>
                <a:gd name="T22" fmla="*/ 0 w 289"/>
                <a:gd name="T23" fmla="*/ 265 h 733"/>
                <a:gd name="T24" fmla="*/ 0 w 289"/>
                <a:gd name="T25" fmla="*/ 733 h 733"/>
                <a:gd name="T26" fmla="*/ 289 w 289"/>
                <a:gd name="T27" fmla="*/ 733 h 733"/>
                <a:gd name="T28" fmla="*/ 136 w 289"/>
                <a:gd name="T29" fmla="*/ 548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9" h="733">
                  <a:moveTo>
                    <a:pt x="136" y="548"/>
                  </a:moveTo>
                  <a:lnTo>
                    <a:pt x="235" y="548"/>
                  </a:lnTo>
                  <a:lnTo>
                    <a:pt x="108" y="395"/>
                  </a:lnTo>
                  <a:lnTo>
                    <a:pt x="190" y="395"/>
                  </a:lnTo>
                  <a:lnTo>
                    <a:pt x="92" y="265"/>
                  </a:lnTo>
                  <a:lnTo>
                    <a:pt x="169" y="265"/>
                  </a:lnTo>
                  <a:lnTo>
                    <a:pt x="65" y="151"/>
                  </a:lnTo>
                  <a:lnTo>
                    <a:pt x="138" y="151"/>
                  </a:lnTo>
                  <a:lnTo>
                    <a:pt x="0" y="0"/>
                  </a:lnTo>
                  <a:lnTo>
                    <a:pt x="0" y="265"/>
                  </a:lnTo>
                  <a:lnTo>
                    <a:pt x="1" y="265"/>
                  </a:lnTo>
                  <a:lnTo>
                    <a:pt x="0" y="265"/>
                  </a:lnTo>
                  <a:lnTo>
                    <a:pt x="0" y="733"/>
                  </a:lnTo>
                  <a:lnTo>
                    <a:pt x="289" y="733"/>
                  </a:lnTo>
                  <a:lnTo>
                    <a:pt x="136" y="5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grpSp>
        <p:nvGrpSpPr>
          <p:cNvPr id="43" name="그룹 105">
            <a:extLst>
              <a:ext uri="{FF2B5EF4-FFF2-40B4-BE49-F238E27FC236}">
                <a16:creationId xmlns:a16="http://schemas.microsoft.com/office/drawing/2014/main" id="{00D333D9-7A05-44B6-B44A-09A5404DF3F9}"/>
              </a:ext>
            </a:extLst>
          </p:cNvPr>
          <p:cNvGrpSpPr/>
          <p:nvPr/>
        </p:nvGrpSpPr>
        <p:grpSpPr>
          <a:xfrm rot="242710">
            <a:off x="1324598" y="6062869"/>
            <a:ext cx="382353" cy="200999"/>
            <a:chOff x="9777413" y="344488"/>
            <a:chExt cx="919163" cy="496888"/>
          </a:xfrm>
          <a:solidFill>
            <a:srgbClr val="3A876B">
              <a:lumMod val="40000"/>
              <a:lumOff val="60000"/>
            </a:srgbClr>
          </a:solidFill>
        </p:grpSpPr>
        <p:sp>
          <p:nvSpPr>
            <p:cNvPr id="51" name="Freeform 27">
              <a:extLst>
                <a:ext uri="{FF2B5EF4-FFF2-40B4-BE49-F238E27FC236}">
                  <a16:creationId xmlns:a16="http://schemas.microsoft.com/office/drawing/2014/main" id="{FFF157EC-1FA6-4918-B286-081FC6D2E9F6}"/>
                </a:ext>
              </a:extLst>
            </p:cNvPr>
            <p:cNvSpPr>
              <a:spLocks/>
            </p:cNvSpPr>
            <p:nvPr/>
          </p:nvSpPr>
          <p:spPr bwMode="auto">
            <a:xfrm>
              <a:off x="9777413" y="344488"/>
              <a:ext cx="919163" cy="496888"/>
            </a:xfrm>
            <a:custGeom>
              <a:avLst/>
              <a:gdLst>
                <a:gd name="T0" fmla="*/ 1175 w 1211"/>
                <a:gd name="T1" fmla="*/ 654 h 654"/>
                <a:gd name="T2" fmla="*/ 14 w 1211"/>
                <a:gd name="T3" fmla="*/ 654 h 654"/>
                <a:gd name="T4" fmla="*/ 145 w 1211"/>
                <a:gd name="T5" fmla="*/ 583 h 654"/>
                <a:gd name="T6" fmla="*/ 0 w 1211"/>
                <a:gd name="T7" fmla="*/ 593 h 654"/>
                <a:gd name="T8" fmla="*/ 145 w 1211"/>
                <a:gd name="T9" fmla="*/ 507 h 654"/>
                <a:gd name="T10" fmla="*/ 0 w 1211"/>
                <a:gd name="T11" fmla="*/ 460 h 654"/>
                <a:gd name="T12" fmla="*/ 125 w 1211"/>
                <a:gd name="T13" fmla="*/ 450 h 654"/>
                <a:gd name="T14" fmla="*/ 11 w 1211"/>
                <a:gd name="T15" fmla="*/ 399 h 654"/>
                <a:gd name="T16" fmla="*/ 173 w 1211"/>
                <a:gd name="T17" fmla="*/ 372 h 654"/>
                <a:gd name="T18" fmla="*/ 74 w 1211"/>
                <a:gd name="T19" fmla="*/ 305 h 654"/>
                <a:gd name="T20" fmla="*/ 205 w 1211"/>
                <a:gd name="T21" fmla="*/ 290 h 654"/>
                <a:gd name="T22" fmla="*/ 137 w 1211"/>
                <a:gd name="T23" fmla="*/ 231 h 654"/>
                <a:gd name="T24" fmla="*/ 261 w 1211"/>
                <a:gd name="T25" fmla="*/ 209 h 654"/>
                <a:gd name="T26" fmla="*/ 193 w 1211"/>
                <a:gd name="T27" fmla="*/ 140 h 654"/>
                <a:gd name="T28" fmla="*/ 326 w 1211"/>
                <a:gd name="T29" fmla="*/ 136 h 654"/>
                <a:gd name="T30" fmla="*/ 279 w 1211"/>
                <a:gd name="T31" fmla="*/ 62 h 654"/>
                <a:gd name="T32" fmla="*/ 463 w 1211"/>
                <a:gd name="T33" fmla="*/ 110 h 654"/>
                <a:gd name="T34" fmla="*/ 415 w 1211"/>
                <a:gd name="T35" fmla="*/ 17 h 654"/>
                <a:gd name="T36" fmla="*/ 552 w 1211"/>
                <a:gd name="T37" fmla="*/ 96 h 654"/>
                <a:gd name="T38" fmla="*/ 557 w 1211"/>
                <a:gd name="T39" fmla="*/ 17 h 654"/>
                <a:gd name="T40" fmla="*/ 634 w 1211"/>
                <a:gd name="T41" fmla="*/ 84 h 654"/>
                <a:gd name="T42" fmla="*/ 699 w 1211"/>
                <a:gd name="T43" fmla="*/ 0 h 654"/>
                <a:gd name="T44" fmla="*/ 696 w 1211"/>
                <a:gd name="T45" fmla="*/ 96 h 654"/>
                <a:gd name="T46" fmla="*/ 814 w 1211"/>
                <a:gd name="T47" fmla="*/ 40 h 654"/>
                <a:gd name="T48" fmla="*/ 770 w 1211"/>
                <a:gd name="T49" fmla="*/ 123 h 654"/>
                <a:gd name="T50" fmla="*/ 879 w 1211"/>
                <a:gd name="T51" fmla="*/ 62 h 654"/>
                <a:gd name="T52" fmla="*/ 856 w 1211"/>
                <a:gd name="T53" fmla="*/ 155 h 654"/>
                <a:gd name="T54" fmla="*/ 972 w 1211"/>
                <a:gd name="T55" fmla="*/ 122 h 654"/>
                <a:gd name="T56" fmla="*/ 948 w 1211"/>
                <a:gd name="T57" fmla="*/ 195 h 654"/>
                <a:gd name="T58" fmla="*/ 1066 w 1211"/>
                <a:gd name="T59" fmla="*/ 184 h 654"/>
                <a:gd name="T60" fmla="*/ 1004 w 1211"/>
                <a:gd name="T61" fmla="*/ 260 h 654"/>
                <a:gd name="T62" fmla="*/ 1140 w 1211"/>
                <a:gd name="T63" fmla="*/ 266 h 654"/>
                <a:gd name="T64" fmla="*/ 1068 w 1211"/>
                <a:gd name="T65" fmla="*/ 337 h 654"/>
                <a:gd name="T66" fmla="*/ 1175 w 1211"/>
                <a:gd name="T67" fmla="*/ 357 h 654"/>
                <a:gd name="T68" fmla="*/ 1093 w 1211"/>
                <a:gd name="T69" fmla="*/ 399 h 654"/>
                <a:gd name="T70" fmla="*/ 1181 w 1211"/>
                <a:gd name="T71" fmla="*/ 448 h 654"/>
                <a:gd name="T72" fmla="*/ 1095 w 1211"/>
                <a:gd name="T73" fmla="*/ 500 h 654"/>
                <a:gd name="T74" fmla="*/ 1211 w 1211"/>
                <a:gd name="T75" fmla="*/ 561 h 654"/>
                <a:gd name="T76" fmla="*/ 1104 w 1211"/>
                <a:gd name="T77" fmla="*/ 591 h 654"/>
                <a:gd name="T78" fmla="*/ 1175 w 1211"/>
                <a:gd name="T79" fmla="*/ 654 h 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11" h="654">
                  <a:moveTo>
                    <a:pt x="1175" y="654"/>
                  </a:moveTo>
                  <a:lnTo>
                    <a:pt x="14" y="654"/>
                  </a:lnTo>
                  <a:cubicBezTo>
                    <a:pt x="14" y="654"/>
                    <a:pt x="37" y="596"/>
                    <a:pt x="145" y="583"/>
                  </a:cubicBezTo>
                  <a:cubicBezTo>
                    <a:pt x="145" y="583"/>
                    <a:pt x="86" y="561"/>
                    <a:pt x="0" y="593"/>
                  </a:cubicBezTo>
                  <a:cubicBezTo>
                    <a:pt x="0" y="593"/>
                    <a:pt x="15" y="539"/>
                    <a:pt x="145" y="507"/>
                  </a:cubicBezTo>
                  <a:cubicBezTo>
                    <a:pt x="145" y="507"/>
                    <a:pt x="35" y="503"/>
                    <a:pt x="0" y="460"/>
                  </a:cubicBezTo>
                  <a:cubicBezTo>
                    <a:pt x="0" y="460"/>
                    <a:pt x="69" y="480"/>
                    <a:pt x="125" y="450"/>
                  </a:cubicBezTo>
                  <a:cubicBezTo>
                    <a:pt x="125" y="450"/>
                    <a:pt x="62" y="389"/>
                    <a:pt x="11" y="399"/>
                  </a:cubicBezTo>
                  <a:cubicBezTo>
                    <a:pt x="11" y="399"/>
                    <a:pt x="61" y="355"/>
                    <a:pt x="173" y="372"/>
                  </a:cubicBezTo>
                  <a:cubicBezTo>
                    <a:pt x="173" y="372"/>
                    <a:pt x="113" y="300"/>
                    <a:pt x="74" y="305"/>
                  </a:cubicBezTo>
                  <a:cubicBezTo>
                    <a:pt x="74" y="305"/>
                    <a:pt x="110" y="271"/>
                    <a:pt x="205" y="290"/>
                  </a:cubicBezTo>
                  <a:cubicBezTo>
                    <a:pt x="205" y="290"/>
                    <a:pt x="174" y="237"/>
                    <a:pt x="137" y="231"/>
                  </a:cubicBezTo>
                  <a:cubicBezTo>
                    <a:pt x="137" y="231"/>
                    <a:pt x="154" y="184"/>
                    <a:pt x="261" y="209"/>
                  </a:cubicBezTo>
                  <a:cubicBezTo>
                    <a:pt x="261" y="209"/>
                    <a:pt x="244" y="143"/>
                    <a:pt x="193" y="140"/>
                  </a:cubicBezTo>
                  <a:cubicBezTo>
                    <a:pt x="193" y="140"/>
                    <a:pt x="253" y="102"/>
                    <a:pt x="326" y="136"/>
                  </a:cubicBezTo>
                  <a:cubicBezTo>
                    <a:pt x="326" y="136"/>
                    <a:pt x="308" y="67"/>
                    <a:pt x="279" y="62"/>
                  </a:cubicBezTo>
                  <a:cubicBezTo>
                    <a:pt x="279" y="62"/>
                    <a:pt x="418" y="62"/>
                    <a:pt x="463" y="110"/>
                  </a:cubicBezTo>
                  <a:cubicBezTo>
                    <a:pt x="463" y="110"/>
                    <a:pt x="444" y="47"/>
                    <a:pt x="415" y="17"/>
                  </a:cubicBezTo>
                  <a:cubicBezTo>
                    <a:pt x="415" y="17"/>
                    <a:pt x="548" y="43"/>
                    <a:pt x="552" y="96"/>
                  </a:cubicBezTo>
                  <a:cubicBezTo>
                    <a:pt x="552" y="96"/>
                    <a:pt x="569" y="57"/>
                    <a:pt x="557" y="17"/>
                  </a:cubicBezTo>
                  <a:cubicBezTo>
                    <a:pt x="557" y="17"/>
                    <a:pt x="626" y="35"/>
                    <a:pt x="634" y="84"/>
                  </a:cubicBezTo>
                  <a:cubicBezTo>
                    <a:pt x="634" y="84"/>
                    <a:pt x="660" y="12"/>
                    <a:pt x="699" y="0"/>
                  </a:cubicBezTo>
                  <a:cubicBezTo>
                    <a:pt x="699" y="0"/>
                    <a:pt x="684" y="68"/>
                    <a:pt x="696" y="96"/>
                  </a:cubicBezTo>
                  <a:cubicBezTo>
                    <a:pt x="696" y="96"/>
                    <a:pt x="757" y="59"/>
                    <a:pt x="814" y="40"/>
                  </a:cubicBezTo>
                  <a:cubicBezTo>
                    <a:pt x="814" y="40"/>
                    <a:pt x="770" y="85"/>
                    <a:pt x="770" y="123"/>
                  </a:cubicBezTo>
                  <a:cubicBezTo>
                    <a:pt x="770" y="123"/>
                    <a:pt x="827" y="66"/>
                    <a:pt x="879" y="62"/>
                  </a:cubicBezTo>
                  <a:cubicBezTo>
                    <a:pt x="879" y="62"/>
                    <a:pt x="811" y="136"/>
                    <a:pt x="856" y="155"/>
                  </a:cubicBezTo>
                  <a:cubicBezTo>
                    <a:pt x="856" y="155"/>
                    <a:pt x="913" y="116"/>
                    <a:pt x="972" y="122"/>
                  </a:cubicBezTo>
                  <a:cubicBezTo>
                    <a:pt x="972" y="122"/>
                    <a:pt x="930" y="170"/>
                    <a:pt x="948" y="195"/>
                  </a:cubicBezTo>
                  <a:cubicBezTo>
                    <a:pt x="948" y="195"/>
                    <a:pt x="1001" y="170"/>
                    <a:pt x="1066" y="184"/>
                  </a:cubicBezTo>
                  <a:cubicBezTo>
                    <a:pt x="1066" y="184"/>
                    <a:pt x="977" y="231"/>
                    <a:pt x="1004" y="260"/>
                  </a:cubicBezTo>
                  <a:cubicBezTo>
                    <a:pt x="1004" y="260"/>
                    <a:pt x="1072" y="244"/>
                    <a:pt x="1140" y="266"/>
                  </a:cubicBezTo>
                  <a:cubicBezTo>
                    <a:pt x="1140" y="266"/>
                    <a:pt x="1057" y="310"/>
                    <a:pt x="1068" y="337"/>
                  </a:cubicBezTo>
                  <a:cubicBezTo>
                    <a:pt x="1068" y="337"/>
                    <a:pt x="1113" y="342"/>
                    <a:pt x="1175" y="357"/>
                  </a:cubicBezTo>
                  <a:cubicBezTo>
                    <a:pt x="1175" y="357"/>
                    <a:pt x="1114" y="367"/>
                    <a:pt x="1093" y="399"/>
                  </a:cubicBezTo>
                  <a:cubicBezTo>
                    <a:pt x="1093" y="399"/>
                    <a:pt x="1131" y="399"/>
                    <a:pt x="1181" y="448"/>
                  </a:cubicBezTo>
                  <a:cubicBezTo>
                    <a:pt x="1181" y="448"/>
                    <a:pt x="1101" y="453"/>
                    <a:pt x="1095" y="500"/>
                  </a:cubicBezTo>
                  <a:cubicBezTo>
                    <a:pt x="1095" y="500"/>
                    <a:pt x="1155" y="496"/>
                    <a:pt x="1211" y="561"/>
                  </a:cubicBezTo>
                  <a:cubicBezTo>
                    <a:pt x="1211" y="561"/>
                    <a:pt x="1110" y="541"/>
                    <a:pt x="1104" y="591"/>
                  </a:cubicBezTo>
                  <a:cubicBezTo>
                    <a:pt x="1158" y="591"/>
                    <a:pt x="1174" y="643"/>
                    <a:pt x="1175" y="6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52" name="Freeform 28">
              <a:extLst>
                <a:ext uri="{FF2B5EF4-FFF2-40B4-BE49-F238E27FC236}">
                  <a16:creationId xmlns:a16="http://schemas.microsoft.com/office/drawing/2014/main" id="{D18DF8D0-66D9-41DE-B2AC-065D773FCB42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8700" y="441326"/>
              <a:ext cx="660400" cy="357188"/>
            </a:xfrm>
            <a:custGeom>
              <a:avLst/>
              <a:gdLst>
                <a:gd name="T0" fmla="*/ 844 w 870"/>
                <a:gd name="T1" fmla="*/ 470 h 470"/>
                <a:gd name="T2" fmla="*/ 11 w 870"/>
                <a:gd name="T3" fmla="*/ 470 h 470"/>
                <a:gd name="T4" fmla="*/ 105 w 870"/>
                <a:gd name="T5" fmla="*/ 419 h 470"/>
                <a:gd name="T6" fmla="*/ 0 w 870"/>
                <a:gd name="T7" fmla="*/ 426 h 470"/>
                <a:gd name="T8" fmla="*/ 105 w 870"/>
                <a:gd name="T9" fmla="*/ 364 h 470"/>
                <a:gd name="T10" fmla="*/ 0 w 870"/>
                <a:gd name="T11" fmla="*/ 330 h 470"/>
                <a:gd name="T12" fmla="*/ 90 w 870"/>
                <a:gd name="T13" fmla="*/ 323 h 470"/>
                <a:gd name="T14" fmla="*/ 8 w 870"/>
                <a:gd name="T15" fmla="*/ 287 h 470"/>
                <a:gd name="T16" fmla="*/ 125 w 870"/>
                <a:gd name="T17" fmla="*/ 267 h 470"/>
                <a:gd name="T18" fmla="*/ 54 w 870"/>
                <a:gd name="T19" fmla="*/ 219 h 470"/>
                <a:gd name="T20" fmla="*/ 147 w 870"/>
                <a:gd name="T21" fmla="*/ 208 h 470"/>
                <a:gd name="T22" fmla="*/ 99 w 870"/>
                <a:gd name="T23" fmla="*/ 166 h 470"/>
                <a:gd name="T24" fmla="*/ 188 w 870"/>
                <a:gd name="T25" fmla="*/ 150 h 470"/>
                <a:gd name="T26" fmla="*/ 139 w 870"/>
                <a:gd name="T27" fmla="*/ 101 h 470"/>
                <a:gd name="T28" fmla="*/ 235 w 870"/>
                <a:gd name="T29" fmla="*/ 97 h 470"/>
                <a:gd name="T30" fmla="*/ 201 w 870"/>
                <a:gd name="T31" fmla="*/ 44 h 470"/>
                <a:gd name="T32" fmla="*/ 333 w 870"/>
                <a:gd name="T33" fmla="*/ 79 h 470"/>
                <a:gd name="T34" fmla="*/ 298 w 870"/>
                <a:gd name="T35" fmla="*/ 13 h 470"/>
                <a:gd name="T36" fmla="*/ 397 w 870"/>
                <a:gd name="T37" fmla="*/ 69 h 470"/>
                <a:gd name="T38" fmla="*/ 400 w 870"/>
                <a:gd name="T39" fmla="*/ 13 h 470"/>
                <a:gd name="T40" fmla="*/ 456 w 870"/>
                <a:gd name="T41" fmla="*/ 60 h 470"/>
                <a:gd name="T42" fmla="*/ 502 w 870"/>
                <a:gd name="T43" fmla="*/ 0 h 470"/>
                <a:gd name="T44" fmla="*/ 500 w 870"/>
                <a:gd name="T45" fmla="*/ 69 h 470"/>
                <a:gd name="T46" fmla="*/ 585 w 870"/>
                <a:gd name="T47" fmla="*/ 28 h 470"/>
                <a:gd name="T48" fmla="*/ 553 w 870"/>
                <a:gd name="T49" fmla="*/ 88 h 470"/>
                <a:gd name="T50" fmla="*/ 632 w 870"/>
                <a:gd name="T51" fmla="*/ 44 h 470"/>
                <a:gd name="T52" fmla="*/ 615 w 870"/>
                <a:gd name="T53" fmla="*/ 111 h 470"/>
                <a:gd name="T54" fmla="*/ 698 w 870"/>
                <a:gd name="T55" fmla="*/ 88 h 470"/>
                <a:gd name="T56" fmla="*/ 681 w 870"/>
                <a:gd name="T57" fmla="*/ 140 h 470"/>
                <a:gd name="T58" fmla="*/ 766 w 870"/>
                <a:gd name="T59" fmla="*/ 132 h 470"/>
                <a:gd name="T60" fmla="*/ 721 w 870"/>
                <a:gd name="T61" fmla="*/ 187 h 470"/>
                <a:gd name="T62" fmla="*/ 819 w 870"/>
                <a:gd name="T63" fmla="*/ 191 h 470"/>
                <a:gd name="T64" fmla="*/ 768 w 870"/>
                <a:gd name="T65" fmla="*/ 242 h 470"/>
                <a:gd name="T66" fmla="*/ 844 w 870"/>
                <a:gd name="T67" fmla="*/ 256 h 470"/>
                <a:gd name="T68" fmla="*/ 785 w 870"/>
                <a:gd name="T69" fmla="*/ 286 h 470"/>
                <a:gd name="T70" fmla="*/ 849 w 870"/>
                <a:gd name="T71" fmla="*/ 322 h 470"/>
                <a:gd name="T72" fmla="*/ 786 w 870"/>
                <a:gd name="T73" fmla="*/ 359 h 470"/>
                <a:gd name="T74" fmla="*/ 870 w 870"/>
                <a:gd name="T75" fmla="*/ 403 h 470"/>
                <a:gd name="T76" fmla="*/ 793 w 870"/>
                <a:gd name="T77" fmla="*/ 424 h 470"/>
                <a:gd name="T78" fmla="*/ 844 w 870"/>
                <a:gd name="T79" fmla="*/ 47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70" h="470">
                  <a:moveTo>
                    <a:pt x="844" y="470"/>
                  </a:moveTo>
                  <a:lnTo>
                    <a:pt x="11" y="470"/>
                  </a:lnTo>
                  <a:cubicBezTo>
                    <a:pt x="11" y="470"/>
                    <a:pt x="27" y="428"/>
                    <a:pt x="105" y="419"/>
                  </a:cubicBezTo>
                  <a:cubicBezTo>
                    <a:pt x="105" y="419"/>
                    <a:pt x="62" y="403"/>
                    <a:pt x="0" y="426"/>
                  </a:cubicBezTo>
                  <a:cubicBezTo>
                    <a:pt x="0" y="426"/>
                    <a:pt x="11" y="387"/>
                    <a:pt x="105" y="364"/>
                  </a:cubicBezTo>
                  <a:cubicBezTo>
                    <a:pt x="105" y="364"/>
                    <a:pt x="25" y="361"/>
                    <a:pt x="0" y="330"/>
                  </a:cubicBezTo>
                  <a:cubicBezTo>
                    <a:pt x="0" y="330"/>
                    <a:pt x="50" y="344"/>
                    <a:pt x="90" y="323"/>
                  </a:cubicBezTo>
                  <a:cubicBezTo>
                    <a:pt x="90" y="323"/>
                    <a:pt x="45" y="279"/>
                    <a:pt x="8" y="287"/>
                  </a:cubicBezTo>
                  <a:cubicBezTo>
                    <a:pt x="8" y="287"/>
                    <a:pt x="44" y="255"/>
                    <a:pt x="125" y="267"/>
                  </a:cubicBezTo>
                  <a:cubicBezTo>
                    <a:pt x="125" y="267"/>
                    <a:pt x="82" y="216"/>
                    <a:pt x="54" y="219"/>
                  </a:cubicBezTo>
                  <a:cubicBezTo>
                    <a:pt x="54" y="219"/>
                    <a:pt x="79" y="194"/>
                    <a:pt x="147" y="208"/>
                  </a:cubicBezTo>
                  <a:cubicBezTo>
                    <a:pt x="147" y="208"/>
                    <a:pt x="125" y="170"/>
                    <a:pt x="99" y="166"/>
                  </a:cubicBezTo>
                  <a:cubicBezTo>
                    <a:pt x="99" y="166"/>
                    <a:pt x="111" y="132"/>
                    <a:pt x="188" y="150"/>
                  </a:cubicBezTo>
                  <a:cubicBezTo>
                    <a:pt x="188" y="150"/>
                    <a:pt x="176" y="103"/>
                    <a:pt x="139" y="101"/>
                  </a:cubicBezTo>
                  <a:cubicBezTo>
                    <a:pt x="139" y="101"/>
                    <a:pt x="182" y="73"/>
                    <a:pt x="235" y="97"/>
                  </a:cubicBezTo>
                  <a:cubicBezTo>
                    <a:pt x="235" y="97"/>
                    <a:pt x="222" y="48"/>
                    <a:pt x="201" y="44"/>
                  </a:cubicBezTo>
                  <a:cubicBezTo>
                    <a:pt x="201" y="44"/>
                    <a:pt x="300" y="44"/>
                    <a:pt x="333" y="79"/>
                  </a:cubicBezTo>
                  <a:cubicBezTo>
                    <a:pt x="333" y="79"/>
                    <a:pt x="319" y="34"/>
                    <a:pt x="298" y="13"/>
                  </a:cubicBezTo>
                  <a:cubicBezTo>
                    <a:pt x="298" y="13"/>
                    <a:pt x="394" y="31"/>
                    <a:pt x="397" y="69"/>
                  </a:cubicBezTo>
                  <a:cubicBezTo>
                    <a:pt x="397" y="69"/>
                    <a:pt x="409" y="41"/>
                    <a:pt x="400" y="13"/>
                  </a:cubicBezTo>
                  <a:cubicBezTo>
                    <a:pt x="400" y="13"/>
                    <a:pt x="450" y="25"/>
                    <a:pt x="456" y="60"/>
                  </a:cubicBezTo>
                  <a:cubicBezTo>
                    <a:pt x="456" y="60"/>
                    <a:pt x="475" y="8"/>
                    <a:pt x="502" y="0"/>
                  </a:cubicBezTo>
                  <a:cubicBezTo>
                    <a:pt x="502" y="0"/>
                    <a:pt x="491" y="49"/>
                    <a:pt x="500" y="69"/>
                  </a:cubicBezTo>
                  <a:cubicBezTo>
                    <a:pt x="500" y="69"/>
                    <a:pt x="544" y="42"/>
                    <a:pt x="585" y="28"/>
                  </a:cubicBezTo>
                  <a:cubicBezTo>
                    <a:pt x="585" y="28"/>
                    <a:pt x="553" y="61"/>
                    <a:pt x="553" y="88"/>
                  </a:cubicBezTo>
                  <a:cubicBezTo>
                    <a:pt x="553" y="88"/>
                    <a:pt x="594" y="47"/>
                    <a:pt x="632" y="44"/>
                  </a:cubicBezTo>
                  <a:cubicBezTo>
                    <a:pt x="632" y="44"/>
                    <a:pt x="583" y="97"/>
                    <a:pt x="615" y="111"/>
                  </a:cubicBezTo>
                  <a:cubicBezTo>
                    <a:pt x="615" y="111"/>
                    <a:pt x="656" y="83"/>
                    <a:pt x="698" y="88"/>
                  </a:cubicBezTo>
                  <a:cubicBezTo>
                    <a:pt x="698" y="88"/>
                    <a:pt x="668" y="122"/>
                    <a:pt x="681" y="140"/>
                  </a:cubicBezTo>
                  <a:cubicBezTo>
                    <a:pt x="681" y="140"/>
                    <a:pt x="719" y="122"/>
                    <a:pt x="766" y="132"/>
                  </a:cubicBezTo>
                  <a:cubicBezTo>
                    <a:pt x="766" y="132"/>
                    <a:pt x="702" y="166"/>
                    <a:pt x="721" y="187"/>
                  </a:cubicBezTo>
                  <a:cubicBezTo>
                    <a:pt x="721" y="187"/>
                    <a:pt x="770" y="175"/>
                    <a:pt x="819" y="191"/>
                  </a:cubicBezTo>
                  <a:cubicBezTo>
                    <a:pt x="819" y="191"/>
                    <a:pt x="759" y="223"/>
                    <a:pt x="768" y="242"/>
                  </a:cubicBezTo>
                  <a:cubicBezTo>
                    <a:pt x="768" y="242"/>
                    <a:pt x="800" y="246"/>
                    <a:pt x="844" y="256"/>
                  </a:cubicBezTo>
                  <a:cubicBezTo>
                    <a:pt x="844" y="256"/>
                    <a:pt x="800" y="263"/>
                    <a:pt x="785" y="286"/>
                  </a:cubicBezTo>
                  <a:cubicBezTo>
                    <a:pt x="785" y="286"/>
                    <a:pt x="813" y="286"/>
                    <a:pt x="849" y="322"/>
                  </a:cubicBezTo>
                  <a:cubicBezTo>
                    <a:pt x="849" y="322"/>
                    <a:pt x="791" y="325"/>
                    <a:pt x="786" y="359"/>
                  </a:cubicBezTo>
                  <a:cubicBezTo>
                    <a:pt x="786" y="359"/>
                    <a:pt x="830" y="356"/>
                    <a:pt x="870" y="403"/>
                  </a:cubicBezTo>
                  <a:cubicBezTo>
                    <a:pt x="870" y="403"/>
                    <a:pt x="798" y="389"/>
                    <a:pt x="793" y="424"/>
                  </a:cubicBezTo>
                  <a:cubicBezTo>
                    <a:pt x="832" y="424"/>
                    <a:pt x="844" y="462"/>
                    <a:pt x="844" y="470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grpSp>
        <p:nvGrpSpPr>
          <p:cNvPr id="44" name="그룹 108">
            <a:extLst>
              <a:ext uri="{FF2B5EF4-FFF2-40B4-BE49-F238E27FC236}">
                <a16:creationId xmlns:a16="http://schemas.microsoft.com/office/drawing/2014/main" id="{02904B6B-2702-4C83-858A-78E75B2707AF}"/>
              </a:ext>
            </a:extLst>
          </p:cNvPr>
          <p:cNvGrpSpPr/>
          <p:nvPr/>
        </p:nvGrpSpPr>
        <p:grpSpPr>
          <a:xfrm rot="20918691">
            <a:off x="4719798" y="6059393"/>
            <a:ext cx="413309" cy="231192"/>
            <a:chOff x="7121525" y="190501"/>
            <a:chExt cx="896938" cy="515937"/>
          </a:xfrm>
          <a:solidFill>
            <a:srgbClr val="3A876B">
              <a:lumMod val="40000"/>
              <a:lumOff val="60000"/>
            </a:srgbClr>
          </a:solidFill>
        </p:grpSpPr>
        <p:sp>
          <p:nvSpPr>
            <p:cNvPr id="49" name="Freeform 41">
              <a:extLst>
                <a:ext uri="{FF2B5EF4-FFF2-40B4-BE49-F238E27FC236}">
                  <a16:creationId xmlns:a16="http://schemas.microsoft.com/office/drawing/2014/main" id="{123516DB-F6C6-4A60-BD31-47088652C5DF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1525" y="190501"/>
              <a:ext cx="896938" cy="481013"/>
            </a:xfrm>
            <a:custGeom>
              <a:avLst/>
              <a:gdLst>
                <a:gd name="T0" fmla="*/ 1180 w 1181"/>
                <a:gd name="T1" fmla="*/ 486 h 634"/>
                <a:gd name="T2" fmla="*/ 1024 w 1181"/>
                <a:gd name="T3" fmla="*/ 634 h 634"/>
                <a:gd name="T4" fmla="*/ 134 w 1181"/>
                <a:gd name="T5" fmla="*/ 634 h 634"/>
                <a:gd name="T6" fmla="*/ 0 w 1181"/>
                <a:gd name="T7" fmla="*/ 504 h 634"/>
                <a:gd name="T8" fmla="*/ 0 w 1181"/>
                <a:gd name="T9" fmla="*/ 503 h 634"/>
                <a:gd name="T10" fmla="*/ 23 w 1181"/>
                <a:gd name="T11" fmla="*/ 418 h 634"/>
                <a:gd name="T12" fmla="*/ 169 w 1181"/>
                <a:gd name="T13" fmla="*/ 334 h 634"/>
                <a:gd name="T14" fmla="*/ 214 w 1181"/>
                <a:gd name="T15" fmla="*/ 340 h 634"/>
                <a:gd name="T16" fmla="*/ 214 w 1181"/>
                <a:gd name="T17" fmla="*/ 334 h 634"/>
                <a:gd name="T18" fmla="*/ 383 w 1181"/>
                <a:gd name="T19" fmla="*/ 165 h 634"/>
                <a:gd name="T20" fmla="*/ 497 w 1181"/>
                <a:gd name="T21" fmla="*/ 210 h 634"/>
                <a:gd name="T22" fmla="*/ 977 w 1181"/>
                <a:gd name="T23" fmla="*/ 316 h 634"/>
                <a:gd name="T24" fmla="*/ 976 w 1181"/>
                <a:gd name="T25" fmla="*/ 337 h 634"/>
                <a:gd name="T26" fmla="*/ 1027 w 1181"/>
                <a:gd name="T27" fmla="*/ 328 h 634"/>
                <a:gd name="T28" fmla="*/ 1167 w 1181"/>
                <a:gd name="T29" fmla="*/ 418 h 634"/>
                <a:gd name="T30" fmla="*/ 1180 w 1181"/>
                <a:gd name="T31" fmla="*/ 486 h 6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1" h="634">
                  <a:moveTo>
                    <a:pt x="1180" y="486"/>
                  </a:moveTo>
                  <a:cubicBezTo>
                    <a:pt x="1178" y="569"/>
                    <a:pt x="1107" y="634"/>
                    <a:pt x="1024" y="634"/>
                  </a:cubicBezTo>
                  <a:lnTo>
                    <a:pt x="134" y="634"/>
                  </a:lnTo>
                  <a:cubicBezTo>
                    <a:pt x="62" y="634"/>
                    <a:pt x="1" y="577"/>
                    <a:pt x="0" y="504"/>
                  </a:cubicBezTo>
                  <a:cubicBezTo>
                    <a:pt x="0" y="504"/>
                    <a:pt x="0" y="503"/>
                    <a:pt x="0" y="503"/>
                  </a:cubicBezTo>
                  <a:cubicBezTo>
                    <a:pt x="0" y="472"/>
                    <a:pt x="8" y="443"/>
                    <a:pt x="23" y="418"/>
                  </a:cubicBezTo>
                  <a:cubicBezTo>
                    <a:pt x="52" y="368"/>
                    <a:pt x="107" y="334"/>
                    <a:pt x="169" y="334"/>
                  </a:cubicBezTo>
                  <a:cubicBezTo>
                    <a:pt x="185" y="334"/>
                    <a:pt x="200" y="336"/>
                    <a:pt x="214" y="340"/>
                  </a:cubicBezTo>
                  <a:cubicBezTo>
                    <a:pt x="214" y="338"/>
                    <a:pt x="214" y="336"/>
                    <a:pt x="214" y="334"/>
                  </a:cubicBezTo>
                  <a:cubicBezTo>
                    <a:pt x="214" y="241"/>
                    <a:pt x="289" y="165"/>
                    <a:pt x="383" y="165"/>
                  </a:cubicBezTo>
                  <a:cubicBezTo>
                    <a:pt x="427" y="165"/>
                    <a:pt x="467" y="182"/>
                    <a:pt x="497" y="210"/>
                  </a:cubicBezTo>
                  <a:cubicBezTo>
                    <a:pt x="594" y="0"/>
                    <a:pt x="977" y="31"/>
                    <a:pt x="977" y="316"/>
                  </a:cubicBezTo>
                  <a:cubicBezTo>
                    <a:pt x="977" y="323"/>
                    <a:pt x="977" y="330"/>
                    <a:pt x="976" y="337"/>
                  </a:cubicBezTo>
                  <a:cubicBezTo>
                    <a:pt x="992" y="331"/>
                    <a:pt x="1009" y="328"/>
                    <a:pt x="1027" y="328"/>
                  </a:cubicBezTo>
                  <a:cubicBezTo>
                    <a:pt x="1089" y="328"/>
                    <a:pt x="1143" y="365"/>
                    <a:pt x="1167" y="418"/>
                  </a:cubicBezTo>
                  <a:cubicBezTo>
                    <a:pt x="1176" y="439"/>
                    <a:pt x="1181" y="462"/>
                    <a:pt x="1180" y="4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50" name="Freeform 42">
              <a:extLst>
                <a:ext uri="{FF2B5EF4-FFF2-40B4-BE49-F238E27FC236}">
                  <a16:creationId xmlns:a16="http://schemas.microsoft.com/office/drawing/2014/main" id="{72289B04-454E-4727-8AC1-A2900B3025C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9163" y="369888"/>
              <a:ext cx="625475" cy="336550"/>
            </a:xfrm>
            <a:custGeom>
              <a:avLst/>
              <a:gdLst>
                <a:gd name="T0" fmla="*/ 824 w 824"/>
                <a:gd name="T1" fmla="*/ 339 h 443"/>
                <a:gd name="T2" fmla="*/ 714 w 824"/>
                <a:gd name="T3" fmla="*/ 443 h 443"/>
                <a:gd name="T4" fmla="*/ 93 w 824"/>
                <a:gd name="T5" fmla="*/ 443 h 443"/>
                <a:gd name="T6" fmla="*/ 0 w 824"/>
                <a:gd name="T7" fmla="*/ 352 h 443"/>
                <a:gd name="T8" fmla="*/ 0 w 824"/>
                <a:gd name="T9" fmla="*/ 351 h 443"/>
                <a:gd name="T10" fmla="*/ 16 w 824"/>
                <a:gd name="T11" fmla="*/ 292 h 443"/>
                <a:gd name="T12" fmla="*/ 118 w 824"/>
                <a:gd name="T13" fmla="*/ 233 h 443"/>
                <a:gd name="T14" fmla="*/ 149 w 824"/>
                <a:gd name="T15" fmla="*/ 238 h 443"/>
                <a:gd name="T16" fmla="*/ 149 w 824"/>
                <a:gd name="T17" fmla="*/ 233 h 443"/>
                <a:gd name="T18" fmla="*/ 267 w 824"/>
                <a:gd name="T19" fmla="*/ 115 h 443"/>
                <a:gd name="T20" fmla="*/ 347 w 824"/>
                <a:gd name="T21" fmla="*/ 147 h 443"/>
                <a:gd name="T22" fmla="*/ 682 w 824"/>
                <a:gd name="T23" fmla="*/ 221 h 443"/>
                <a:gd name="T24" fmla="*/ 681 w 824"/>
                <a:gd name="T25" fmla="*/ 236 h 443"/>
                <a:gd name="T26" fmla="*/ 717 w 824"/>
                <a:gd name="T27" fmla="*/ 229 h 443"/>
                <a:gd name="T28" fmla="*/ 814 w 824"/>
                <a:gd name="T29" fmla="*/ 292 h 443"/>
                <a:gd name="T30" fmla="*/ 824 w 824"/>
                <a:gd name="T31" fmla="*/ 339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24" h="443">
                  <a:moveTo>
                    <a:pt x="824" y="339"/>
                  </a:moveTo>
                  <a:cubicBezTo>
                    <a:pt x="822" y="397"/>
                    <a:pt x="773" y="443"/>
                    <a:pt x="714" y="443"/>
                  </a:cubicBezTo>
                  <a:lnTo>
                    <a:pt x="93" y="443"/>
                  </a:lnTo>
                  <a:cubicBezTo>
                    <a:pt x="43" y="443"/>
                    <a:pt x="0" y="403"/>
                    <a:pt x="0" y="352"/>
                  </a:cubicBezTo>
                  <a:lnTo>
                    <a:pt x="0" y="351"/>
                  </a:lnTo>
                  <a:cubicBezTo>
                    <a:pt x="0" y="330"/>
                    <a:pt x="6" y="309"/>
                    <a:pt x="16" y="292"/>
                  </a:cubicBezTo>
                  <a:cubicBezTo>
                    <a:pt x="36" y="257"/>
                    <a:pt x="74" y="233"/>
                    <a:pt x="118" y="233"/>
                  </a:cubicBezTo>
                  <a:cubicBezTo>
                    <a:pt x="129" y="233"/>
                    <a:pt x="139" y="235"/>
                    <a:pt x="149" y="238"/>
                  </a:cubicBezTo>
                  <a:cubicBezTo>
                    <a:pt x="149" y="236"/>
                    <a:pt x="149" y="235"/>
                    <a:pt x="149" y="233"/>
                  </a:cubicBezTo>
                  <a:cubicBezTo>
                    <a:pt x="149" y="168"/>
                    <a:pt x="202" y="115"/>
                    <a:pt x="267" y="115"/>
                  </a:cubicBezTo>
                  <a:cubicBezTo>
                    <a:pt x="298" y="115"/>
                    <a:pt x="326" y="127"/>
                    <a:pt x="347" y="147"/>
                  </a:cubicBezTo>
                  <a:cubicBezTo>
                    <a:pt x="414" y="0"/>
                    <a:pt x="682" y="22"/>
                    <a:pt x="682" y="221"/>
                  </a:cubicBezTo>
                  <a:cubicBezTo>
                    <a:pt x="682" y="226"/>
                    <a:pt x="681" y="231"/>
                    <a:pt x="681" y="236"/>
                  </a:cubicBezTo>
                  <a:cubicBezTo>
                    <a:pt x="692" y="232"/>
                    <a:pt x="704" y="229"/>
                    <a:pt x="717" y="229"/>
                  </a:cubicBezTo>
                  <a:cubicBezTo>
                    <a:pt x="760" y="229"/>
                    <a:pt x="797" y="255"/>
                    <a:pt x="814" y="292"/>
                  </a:cubicBezTo>
                  <a:cubicBezTo>
                    <a:pt x="821" y="306"/>
                    <a:pt x="824" y="322"/>
                    <a:pt x="824" y="339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grpSp>
        <p:nvGrpSpPr>
          <p:cNvPr id="45" name="그룹 111">
            <a:extLst>
              <a:ext uri="{FF2B5EF4-FFF2-40B4-BE49-F238E27FC236}">
                <a16:creationId xmlns:a16="http://schemas.microsoft.com/office/drawing/2014/main" id="{1A0D3661-6198-4640-AA53-706A34B7452F}"/>
              </a:ext>
            </a:extLst>
          </p:cNvPr>
          <p:cNvGrpSpPr/>
          <p:nvPr/>
        </p:nvGrpSpPr>
        <p:grpSpPr>
          <a:xfrm>
            <a:off x="9901455" y="6334958"/>
            <a:ext cx="413797" cy="217529"/>
            <a:chOff x="9777413" y="344488"/>
            <a:chExt cx="919163" cy="496888"/>
          </a:xfrm>
          <a:solidFill>
            <a:srgbClr val="3A876B">
              <a:lumMod val="40000"/>
              <a:lumOff val="60000"/>
            </a:srgbClr>
          </a:solidFill>
        </p:grpSpPr>
        <p:sp>
          <p:nvSpPr>
            <p:cNvPr id="47" name="Freeform 27">
              <a:extLst>
                <a:ext uri="{FF2B5EF4-FFF2-40B4-BE49-F238E27FC236}">
                  <a16:creationId xmlns:a16="http://schemas.microsoft.com/office/drawing/2014/main" id="{3F23DCAE-397D-4470-8065-7C6D3D0CD2FB}"/>
                </a:ext>
              </a:extLst>
            </p:cNvPr>
            <p:cNvSpPr>
              <a:spLocks/>
            </p:cNvSpPr>
            <p:nvPr/>
          </p:nvSpPr>
          <p:spPr bwMode="auto">
            <a:xfrm>
              <a:off x="9777413" y="344488"/>
              <a:ext cx="919163" cy="496888"/>
            </a:xfrm>
            <a:custGeom>
              <a:avLst/>
              <a:gdLst>
                <a:gd name="T0" fmla="*/ 1175 w 1211"/>
                <a:gd name="T1" fmla="*/ 654 h 654"/>
                <a:gd name="T2" fmla="*/ 14 w 1211"/>
                <a:gd name="T3" fmla="*/ 654 h 654"/>
                <a:gd name="T4" fmla="*/ 145 w 1211"/>
                <a:gd name="T5" fmla="*/ 583 h 654"/>
                <a:gd name="T6" fmla="*/ 0 w 1211"/>
                <a:gd name="T7" fmla="*/ 593 h 654"/>
                <a:gd name="T8" fmla="*/ 145 w 1211"/>
                <a:gd name="T9" fmla="*/ 507 h 654"/>
                <a:gd name="T10" fmla="*/ 0 w 1211"/>
                <a:gd name="T11" fmla="*/ 460 h 654"/>
                <a:gd name="T12" fmla="*/ 125 w 1211"/>
                <a:gd name="T13" fmla="*/ 450 h 654"/>
                <a:gd name="T14" fmla="*/ 11 w 1211"/>
                <a:gd name="T15" fmla="*/ 399 h 654"/>
                <a:gd name="T16" fmla="*/ 173 w 1211"/>
                <a:gd name="T17" fmla="*/ 372 h 654"/>
                <a:gd name="T18" fmla="*/ 74 w 1211"/>
                <a:gd name="T19" fmla="*/ 305 h 654"/>
                <a:gd name="T20" fmla="*/ 205 w 1211"/>
                <a:gd name="T21" fmla="*/ 290 h 654"/>
                <a:gd name="T22" fmla="*/ 137 w 1211"/>
                <a:gd name="T23" fmla="*/ 231 h 654"/>
                <a:gd name="T24" fmla="*/ 261 w 1211"/>
                <a:gd name="T25" fmla="*/ 209 h 654"/>
                <a:gd name="T26" fmla="*/ 193 w 1211"/>
                <a:gd name="T27" fmla="*/ 140 h 654"/>
                <a:gd name="T28" fmla="*/ 326 w 1211"/>
                <a:gd name="T29" fmla="*/ 136 h 654"/>
                <a:gd name="T30" fmla="*/ 279 w 1211"/>
                <a:gd name="T31" fmla="*/ 62 h 654"/>
                <a:gd name="T32" fmla="*/ 463 w 1211"/>
                <a:gd name="T33" fmla="*/ 110 h 654"/>
                <a:gd name="T34" fmla="*/ 415 w 1211"/>
                <a:gd name="T35" fmla="*/ 17 h 654"/>
                <a:gd name="T36" fmla="*/ 552 w 1211"/>
                <a:gd name="T37" fmla="*/ 96 h 654"/>
                <a:gd name="T38" fmla="*/ 557 w 1211"/>
                <a:gd name="T39" fmla="*/ 17 h 654"/>
                <a:gd name="T40" fmla="*/ 634 w 1211"/>
                <a:gd name="T41" fmla="*/ 84 h 654"/>
                <a:gd name="T42" fmla="*/ 699 w 1211"/>
                <a:gd name="T43" fmla="*/ 0 h 654"/>
                <a:gd name="T44" fmla="*/ 696 w 1211"/>
                <a:gd name="T45" fmla="*/ 96 h 654"/>
                <a:gd name="T46" fmla="*/ 814 w 1211"/>
                <a:gd name="T47" fmla="*/ 40 h 654"/>
                <a:gd name="T48" fmla="*/ 770 w 1211"/>
                <a:gd name="T49" fmla="*/ 123 h 654"/>
                <a:gd name="T50" fmla="*/ 879 w 1211"/>
                <a:gd name="T51" fmla="*/ 62 h 654"/>
                <a:gd name="T52" fmla="*/ 856 w 1211"/>
                <a:gd name="T53" fmla="*/ 155 h 654"/>
                <a:gd name="T54" fmla="*/ 972 w 1211"/>
                <a:gd name="T55" fmla="*/ 122 h 654"/>
                <a:gd name="T56" fmla="*/ 948 w 1211"/>
                <a:gd name="T57" fmla="*/ 195 h 654"/>
                <a:gd name="T58" fmla="*/ 1066 w 1211"/>
                <a:gd name="T59" fmla="*/ 184 h 654"/>
                <a:gd name="T60" fmla="*/ 1004 w 1211"/>
                <a:gd name="T61" fmla="*/ 260 h 654"/>
                <a:gd name="T62" fmla="*/ 1140 w 1211"/>
                <a:gd name="T63" fmla="*/ 266 h 654"/>
                <a:gd name="T64" fmla="*/ 1068 w 1211"/>
                <a:gd name="T65" fmla="*/ 337 h 654"/>
                <a:gd name="T66" fmla="*/ 1175 w 1211"/>
                <a:gd name="T67" fmla="*/ 357 h 654"/>
                <a:gd name="T68" fmla="*/ 1093 w 1211"/>
                <a:gd name="T69" fmla="*/ 399 h 654"/>
                <a:gd name="T70" fmla="*/ 1181 w 1211"/>
                <a:gd name="T71" fmla="*/ 448 h 654"/>
                <a:gd name="T72" fmla="*/ 1095 w 1211"/>
                <a:gd name="T73" fmla="*/ 500 h 654"/>
                <a:gd name="T74" fmla="*/ 1211 w 1211"/>
                <a:gd name="T75" fmla="*/ 561 h 654"/>
                <a:gd name="T76" fmla="*/ 1104 w 1211"/>
                <a:gd name="T77" fmla="*/ 591 h 654"/>
                <a:gd name="T78" fmla="*/ 1175 w 1211"/>
                <a:gd name="T79" fmla="*/ 654 h 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11" h="654">
                  <a:moveTo>
                    <a:pt x="1175" y="654"/>
                  </a:moveTo>
                  <a:lnTo>
                    <a:pt x="14" y="654"/>
                  </a:lnTo>
                  <a:cubicBezTo>
                    <a:pt x="14" y="654"/>
                    <a:pt x="37" y="596"/>
                    <a:pt x="145" y="583"/>
                  </a:cubicBezTo>
                  <a:cubicBezTo>
                    <a:pt x="145" y="583"/>
                    <a:pt x="86" y="561"/>
                    <a:pt x="0" y="593"/>
                  </a:cubicBezTo>
                  <a:cubicBezTo>
                    <a:pt x="0" y="593"/>
                    <a:pt x="15" y="539"/>
                    <a:pt x="145" y="507"/>
                  </a:cubicBezTo>
                  <a:cubicBezTo>
                    <a:pt x="145" y="507"/>
                    <a:pt x="35" y="503"/>
                    <a:pt x="0" y="460"/>
                  </a:cubicBezTo>
                  <a:cubicBezTo>
                    <a:pt x="0" y="460"/>
                    <a:pt x="69" y="480"/>
                    <a:pt x="125" y="450"/>
                  </a:cubicBezTo>
                  <a:cubicBezTo>
                    <a:pt x="125" y="450"/>
                    <a:pt x="62" y="389"/>
                    <a:pt x="11" y="399"/>
                  </a:cubicBezTo>
                  <a:cubicBezTo>
                    <a:pt x="11" y="399"/>
                    <a:pt x="61" y="355"/>
                    <a:pt x="173" y="372"/>
                  </a:cubicBezTo>
                  <a:cubicBezTo>
                    <a:pt x="173" y="372"/>
                    <a:pt x="113" y="300"/>
                    <a:pt x="74" y="305"/>
                  </a:cubicBezTo>
                  <a:cubicBezTo>
                    <a:pt x="74" y="305"/>
                    <a:pt x="110" y="271"/>
                    <a:pt x="205" y="290"/>
                  </a:cubicBezTo>
                  <a:cubicBezTo>
                    <a:pt x="205" y="290"/>
                    <a:pt x="174" y="237"/>
                    <a:pt x="137" y="231"/>
                  </a:cubicBezTo>
                  <a:cubicBezTo>
                    <a:pt x="137" y="231"/>
                    <a:pt x="154" y="184"/>
                    <a:pt x="261" y="209"/>
                  </a:cubicBezTo>
                  <a:cubicBezTo>
                    <a:pt x="261" y="209"/>
                    <a:pt x="244" y="143"/>
                    <a:pt x="193" y="140"/>
                  </a:cubicBezTo>
                  <a:cubicBezTo>
                    <a:pt x="193" y="140"/>
                    <a:pt x="253" y="102"/>
                    <a:pt x="326" y="136"/>
                  </a:cubicBezTo>
                  <a:cubicBezTo>
                    <a:pt x="326" y="136"/>
                    <a:pt x="308" y="67"/>
                    <a:pt x="279" y="62"/>
                  </a:cubicBezTo>
                  <a:cubicBezTo>
                    <a:pt x="279" y="62"/>
                    <a:pt x="418" y="62"/>
                    <a:pt x="463" y="110"/>
                  </a:cubicBezTo>
                  <a:cubicBezTo>
                    <a:pt x="463" y="110"/>
                    <a:pt x="444" y="47"/>
                    <a:pt x="415" y="17"/>
                  </a:cubicBezTo>
                  <a:cubicBezTo>
                    <a:pt x="415" y="17"/>
                    <a:pt x="548" y="43"/>
                    <a:pt x="552" y="96"/>
                  </a:cubicBezTo>
                  <a:cubicBezTo>
                    <a:pt x="552" y="96"/>
                    <a:pt x="569" y="57"/>
                    <a:pt x="557" y="17"/>
                  </a:cubicBezTo>
                  <a:cubicBezTo>
                    <a:pt x="557" y="17"/>
                    <a:pt x="626" y="35"/>
                    <a:pt x="634" y="84"/>
                  </a:cubicBezTo>
                  <a:cubicBezTo>
                    <a:pt x="634" y="84"/>
                    <a:pt x="660" y="12"/>
                    <a:pt x="699" y="0"/>
                  </a:cubicBezTo>
                  <a:cubicBezTo>
                    <a:pt x="699" y="0"/>
                    <a:pt x="684" y="68"/>
                    <a:pt x="696" y="96"/>
                  </a:cubicBezTo>
                  <a:cubicBezTo>
                    <a:pt x="696" y="96"/>
                    <a:pt x="757" y="59"/>
                    <a:pt x="814" y="40"/>
                  </a:cubicBezTo>
                  <a:cubicBezTo>
                    <a:pt x="814" y="40"/>
                    <a:pt x="770" y="85"/>
                    <a:pt x="770" y="123"/>
                  </a:cubicBezTo>
                  <a:cubicBezTo>
                    <a:pt x="770" y="123"/>
                    <a:pt x="827" y="66"/>
                    <a:pt x="879" y="62"/>
                  </a:cubicBezTo>
                  <a:cubicBezTo>
                    <a:pt x="879" y="62"/>
                    <a:pt x="811" y="136"/>
                    <a:pt x="856" y="155"/>
                  </a:cubicBezTo>
                  <a:cubicBezTo>
                    <a:pt x="856" y="155"/>
                    <a:pt x="913" y="116"/>
                    <a:pt x="972" y="122"/>
                  </a:cubicBezTo>
                  <a:cubicBezTo>
                    <a:pt x="972" y="122"/>
                    <a:pt x="930" y="170"/>
                    <a:pt x="948" y="195"/>
                  </a:cubicBezTo>
                  <a:cubicBezTo>
                    <a:pt x="948" y="195"/>
                    <a:pt x="1001" y="170"/>
                    <a:pt x="1066" y="184"/>
                  </a:cubicBezTo>
                  <a:cubicBezTo>
                    <a:pt x="1066" y="184"/>
                    <a:pt x="977" y="231"/>
                    <a:pt x="1004" y="260"/>
                  </a:cubicBezTo>
                  <a:cubicBezTo>
                    <a:pt x="1004" y="260"/>
                    <a:pt x="1072" y="244"/>
                    <a:pt x="1140" y="266"/>
                  </a:cubicBezTo>
                  <a:cubicBezTo>
                    <a:pt x="1140" y="266"/>
                    <a:pt x="1057" y="310"/>
                    <a:pt x="1068" y="337"/>
                  </a:cubicBezTo>
                  <a:cubicBezTo>
                    <a:pt x="1068" y="337"/>
                    <a:pt x="1113" y="342"/>
                    <a:pt x="1175" y="357"/>
                  </a:cubicBezTo>
                  <a:cubicBezTo>
                    <a:pt x="1175" y="357"/>
                    <a:pt x="1114" y="367"/>
                    <a:pt x="1093" y="399"/>
                  </a:cubicBezTo>
                  <a:cubicBezTo>
                    <a:pt x="1093" y="399"/>
                    <a:pt x="1131" y="399"/>
                    <a:pt x="1181" y="448"/>
                  </a:cubicBezTo>
                  <a:cubicBezTo>
                    <a:pt x="1181" y="448"/>
                    <a:pt x="1101" y="453"/>
                    <a:pt x="1095" y="500"/>
                  </a:cubicBezTo>
                  <a:cubicBezTo>
                    <a:pt x="1095" y="500"/>
                    <a:pt x="1155" y="496"/>
                    <a:pt x="1211" y="561"/>
                  </a:cubicBezTo>
                  <a:cubicBezTo>
                    <a:pt x="1211" y="561"/>
                    <a:pt x="1110" y="541"/>
                    <a:pt x="1104" y="591"/>
                  </a:cubicBezTo>
                  <a:cubicBezTo>
                    <a:pt x="1158" y="591"/>
                    <a:pt x="1174" y="643"/>
                    <a:pt x="1175" y="6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48" name="Freeform 28">
              <a:extLst>
                <a:ext uri="{FF2B5EF4-FFF2-40B4-BE49-F238E27FC236}">
                  <a16:creationId xmlns:a16="http://schemas.microsoft.com/office/drawing/2014/main" id="{3115AA68-7816-4932-BAF8-49990CE15FB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18700" y="441326"/>
              <a:ext cx="660400" cy="357188"/>
            </a:xfrm>
            <a:custGeom>
              <a:avLst/>
              <a:gdLst>
                <a:gd name="T0" fmla="*/ 844 w 870"/>
                <a:gd name="T1" fmla="*/ 470 h 470"/>
                <a:gd name="T2" fmla="*/ 11 w 870"/>
                <a:gd name="T3" fmla="*/ 470 h 470"/>
                <a:gd name="T4" fmla="*/ 105 w 870"/>
                <a:gd name="T5" fmla="*/ 419 h 470"/>
                <a:gd name="T6" fmla="*/ 0 w 870"/>
                <a:gd name="T7" fmla="*/ 426 h 470"/>
                <a:gd name="T8" fmla="*/ 105 w 870"/>
                <a:gd name="T9" fmla="*/ 364 h 470"/>
                <a:gd name="T10" fmla="*/ 0 w 870"/>
                <a:gd name="T11" fmla="*/ 330 h 470"/>
                <a:gd name="T12" fmla="*/ 90 w 870"/>
                <a:gd name="T13" fmla="*/ 323 h 470"/>
                <a:gd name="T14" fmla="*/ 8 w 870"/>
                <a:gd name="T15" fmla="*/ 287 h 470"/>
                <a:gd name="T16" fmla="*/ 125 w 870"/>
                <a:gd name="T17" fmla="*/ 267 h 470"/>
                <a:gd name="T18" fmla="*/ 54 w 870"/>
                <a:gd name="T19" fmla="*/ 219 h 470"/>
                <a:gd name="T20" fmla="*/ 147 w 870"/>
                <a:gd name="T21" fmla="*/ 208 h 470"/>
                <a:gd name="T22" fmla="*/ 99 w 870"/>
                <a:gd name="T23" fmla="*/ 166 h 470"/>
                <a:gd name="T24" fmla="*/ 188 w 870"/>
                <a:gd name="T25" fmla="*/ 150 h 470"/>
                <a:gd name="T26" fmla="*/ 139 w 870"/>
                <a:gd name="T27" fmla="*/ 101 h 470"/>
                <a:gd name="T28" fmla="*/ 235 w 870"/>
                <a:gd name="T29" fmla="*/ 97 h 470"/>
                <a:gd name="T30" fmla="*/ 201 w 870"/>
                <a:gd name="T31" fmla="*/ 44 h 470"/>
                <a:gd name="T32" fmla="*/ 333 w 870"/>
                <a:gd name="T33" fmla="*/ 79 h 470"/>
                <a:gd name="T34" fmla="*/ 298 w 870"/>
                <a:gd name="T35" fmla="*/ 13 h 470"/>
                <a:gd name="T36" fmla="*/ 397 w 870"/>
                <a:gd name="T37" fmla="*/ 69 h 470"/>
                <a:gd name="T38" fmla="*/ 400 w 870"/>
                <a:gd name="T39" fmla="*/ 13 h 470"/>
                <a:gd name="T40" fmla="*/ 456 w 870"/>
                <a:gd name="T41" fmla="*/ 60 h 470"/>
                <a:gd name="T42" fmla="*/ 502 w 870"/>
                <a:gd name="T43" fmla="*/ 0 h 470"/>
                <a:gd name="T44" fmla="*/ 500 w 870"/>
                <a:gd name="T45" fmla="*/ 69 h 470"/>
                <a:gd name="T46" fmla="*/ 585 w 870"/>
                <a:gd name="T47" fmla="*/ 28 h 470"/>
                <a:gd name="T48" fmla="*/ 553 w 870"/>
                <a:gd name="T49" fmla="*/ 88 h 470"/>
                <a:gd name="T50" fmla="*/ 632 w 870"/>
                <a:gd name="T51" fmla="*/ 44 h 470"/>
                <a:gd name="T52" fmla="*/ 615 w 870"/>
                <a:gd name="T53" fmla="*/ 111 h 470"/>
                <a:gd name="T54" fmla="*/ 698 w 870"/>
                <a:gd name="T55" fmla="*/ 88 h 470"/>
                <a:gd name="T56" fmla="*/ 681 w 870"/>
                <a:gd name="T57" fmla="*/ 140 h 470"/>
                <a:gd name="T58" fmla="*/ 766 w 870"/>
                <a:gd name="T59" fmla="*/ 132 h 470"/>
                <a:gd name="T60" fmla="*/ 721 w 870"/>
                <a:gd name="T61" fmla="*/ 187 h 470"/>
                <a:gd name="T62" fmla="*/ 819 w 870"/>
                <a:gd name="T63" fmla="*/ 191 h 470"/>
                <a:gd name="T64" fmla="*/ 768 w 870"/>
                <a:gd name="T65" fmla="*/ 242 h 470"/>
                <a:gd name="T66" fmla="*/ 844 w 870"/>
                <a:gd name="T67" fmla="*/ 256 h 470"/>
                <a:gd name="T68" fmla="*/ 785 w 870"/>
                <a:gd name="T69" fmla="*/ 286 h 470"/>
                <a:gd name="T70" fmla="*/ 849 w 870"/>
                <a:gd name="T71" fmla="*/ 322 h 470"/>
                <a:gd name="T72" fmla="*/ 786 w 870"/>
                <a:gd name="T73" fmla="*/ 359 h 470"/>
                <a:gd name="T74" fmla="*/ 870 w 870"/>
                <a:gd name="T75" fmla="*/ 403 h 470"/>
                <a:gd name="T76" fmla="*/ 793 w 870"/>
                <a:gd name="T77" fmla="*/ 424 h 470"/>
                <a:gd name="T78" fmla="*/ 844 w 870"/>
                <a:gd name="T79" fmla="*/ 47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70" h="470">
                  <a:moveTo>
                    <a:pt x="844" y="470"/>
                  </a:moveTo>
                  <a:lnTo>
                    <a:pt x="11" y="470"/>
                  </a:lnTo>
                  <a:cubicBezTo>
                    <a:pt x="11" y="470"/>
                    <a:pt x="27" y="428"/>
                    <a:pt x="105" y="419"/>
                  </a:cubicBezTo>
                  <a:cubicBezTo>
                    <a:pt x="105" y="419"/>
                    <a:pt x="62" y="403"/>
                    <a:pt x="0" y="426"/>
                  </a:cubicBezTo>
                  <a:cubicBezTo>
                    <a:pt x="0" y="426"/>
                    <a:pt x="11" y="387"/>
                    <a:pt x="105" y="364"/>
                  </a:cubicBezTo>
                  <a:cubicBezTo>
                    <a:pt x="105" y="364"/>
                    <a:pt x="25" y="361"/>
                    <a:pt x="0" y="330"/>
                  </a:cubicBezTo>
                  <a:cubicBezTo>
                    <a:pt x="0" y="330"/>
                    <a:pt x="50" y="344"/>
                    <a:pt x="90" y="323"/>
                  </a:cubicBezTo>
                  <a:cubicBezTo>
                    <a:pt x="90" y="323"/>
                    <a:pt x="45" y="279"/>
                    <a:pt x="8" y="287"/>
                  </a:cubicBezTo>
                  <a:cubicBezTo>
                    <a:pt x="8" y="287"/>
                    <a:pt x="44" y="255"/>
                    <a:pt x="125" y="267"/>
                  </a:cubicBezTo>
                  <a:cubicBezTo>
                    <a:pt x="125" y="267"/>
                    <a:pt x="82" y="216"/>
                    <a:pt x="54" y="219"/>
                  </a:cubicBezTo>
                  <a:cubicBezTo>
                    <a:pt x="54" y="219"/>
                    <a:pt x="79" y="194"/>
                    <a:pt x="147" y="208"/>
                  </a:cubicBezTo>
                  <a:cubicBezTo>
                    <a:pt x="147" y="208"/>
                    <a:pt x="125" y="170"/>
                    <a:pt x="99" y="166"/>
                  </a:cubicBezTo>
                  <a:cubicBezTo>
                    <a:pt x="99" y="166"/>
                    <a:pt x="111" y="132"/>
                    <a:pt x="188" y="150"/>
                  </a:cubicBezTo>
                  <a:cubicBezTo>
                    <a:pt x="188" y="150"/>
                    <a:pt x="176" y="103"/>
                    <a:pt x="139" y="101"/>
                  </a:cubicBezTo>
                  <a:cubicBezTo>
                    <a:pt x="139" y="101"/>
                    <a:pt x="182" y="73"/>
                    <a:pt x="235" y="97"/>
                  </a:cubicBezTo>
                  <a:cubicBezTo>
                    <a:pt x="235" y="97"/>
                    <a:pt x="222" y="48"/>
                    <a:pt x="201" y="44"/>
                  </a:cubicBezTo>
                  <a:cubicBezTo>
                    <a:pt x="201" y="44"/>
                    <a:pt x="300" y="44"/>
                    <a:pt x="333" y="79"/>
                  </a:cubicBezTo>
                  <a:cubicBezTo>
                    <a:pt x="333" y="79"/>
                    <a:pt x="319" y="34"/>
                    <a:pt x="298" y="13"/>
                  </a:cubicBezTo>
                  <a:cubicBezTo>
                    <a:pt x="298" y="13"/>
                    <a:pt x="394" y="31"/>
                    <a:pt x="397" y="69"/>
                  </a:cubicBezTo>
                  <a:cubicBezTo>
                    <a:pt x="397" y="69"/>
                    <a:pt x="409" y="41"/>
                    <a:pt x="400" y="13"/>
                  </a:cubicBezTo>
                  <a:cubicBezTo>
                    <a:pt x="400" y="13"/>
                    <a:pt x="450" y="25"/>
                    <a:pt x="456" y="60"/>
                  </a:cubicBezTo>
                  <a:cubicBezTo>
                    <a:pt x="456" y="60"/>
                    <a:pt x="475" y="8"/>
                    <a:pt x="502" y="0"/>
                  </a:cubicBezTo>
                  <a:cubicBezTo>
                    <a:pt x="502" y="0"/>
                    <a:pt x="491" y="49"/>
                    <a:pt x="500" y="69"/>
                  </a:cubicBezTo>
                  <a:cubicBezTo>
                    <a:pt x="500" y="69"/>
                    <a:pt x="544" y="42"/>
                    <a:pt x="585" y="28"/>
                  </a:cubicBezTo>
                  <a:cubicBezTo>
                    <a:pt x="585" y="28"/>
                    <a:pt x="553" y="61"/>
                    <a:pt x="553" y="88"/>
                  </a:cubicBezTo>
                  <a:cubicBezTo>
                    <a:pt x="553" y="88"/>
                    <a:pt x="594" y="47"/>
                    <a:pt x="632" y="44"/>
                  </a:cubicBezTo>
                  <a:cubicBezTo>
                    <a:pt x="632" y="44"/>
                    <a:pt x="583" y="97"/>
                    <a:pt x="615" y="111"/>
                  </a:cubicBezTo>
                  <a:cubicBezTo>
                    <a:pt x="615" y="111"/>
                    <a:pt x="656" y="83"/>
                    <a:pt x="698" y="88"/>
                  </a:cubicBezTo>
                  <a:cubicBezTo>
                    <a:pt x="698" y="88"/>
                    <a:pt x="668" y="122"/>
                    <a:pt x="681" y="140"/>
                  </a:cubicBezTo>
                  <a:cubicBezTo>
                    <a:pt x="681" y="140"/>
                    <a:pt x="719" y="122"/>
                    <a:pt x="766" y="132"/>
                  </a:cubicBezTo>
                  <a:cubicBezTo>
                    <a:pt x="766" y="132"/>
                    <a:pt x="702" y="166"/>
                    <a:pt x="721" y="187"/>
                  </a:cubicBezTo>
                  <a:cubicBezTo>
                    <a:pt x="721" y="187"/>
                    <a:pt x="770" y="175"/>
                    <a:pt x="819" y="191"/>
                  </a:cubicBezTo>
                  <a:cubicBezTo>
                    <a:pt x="819" y="191"/>
                    <a:pt x="759" y="223"/>
                    <a:pt x="768" y="242"/>
                  </a:cubicBezTo>
                  <a:cubicBezTo>
                    <a:pt x="768" y="242"/>
                    <a:pt x="800" y="246"/>
                    <a:pt x="844" y="256"/>
                  </a:cubicBezTo>
                  <a:cubicBezTo>
                    <a:pt x="844" y="256"/>
                    <a:pt x="800" y="263"/>
                    <a:pt x="785" y="286"/>
                  </a:cubicBezTo>
                  <a:cubicBezTo>
                    <a:pt x="785" y="286"/>
                    <a:pt x="813" y="286"/>
                    <a:pt x="849" y="322"/>
                  </a:cubicBezTo>
                  <a:cubicBezTo>
                    <a:pt x="849" y="322"/>
                    <a:pt x="791" y="325"/>
                    <a:pt x="786" y="359"/>
                  </a:cubicBezTo>
                  <a:cubicBezTo>
                    <a:pt x="786" y="359"/>
                    <a:pt x="830" y="356"/>
                    <a:pt x="870" y="403"/>
                  </a:cubicBezTo>
                  <a:cubicBezTo>
                    <a:pt x="870" y="403"/>
                    <a:pt x="798" y="389"/>
                    <a:pt x="793" y="424"/>
                  </a:cubicBezTo>
                  <a:cubicBezTo>
                    <a:pt x="832" y="424"/>
                    <a:pt x="844" y="462"/>
                    <a:pt x="844" y="470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775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727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맑은 고딕" panose="020B0503020000020004" pitchFamily="50" charset="-127"/>
                <a:cs typeface="+mn-cs"/>
              </a:endParaRPr>
            </a:p>
          </p:txBody>
        </p:sp>
      </p:grpSp>
      <p:sp>
        <p:nvSpPr>
          <p:cNvPr id="46" name="직사각형 14">
            <a:extLst>
              <a:ext uri="{FF2B5EF4-FFF2-40B4-BE49-F238E27FC236}">
                <a16:creationId xmlns:a16="http://schemas.microsoft.com/office/drawing/2014/main" id="{03855FCE-9E02-49C9-BFF1-E3D6DDF9821A}"/>
              </a:ext>
            </a:extLst>
          </p:cNvPr>
          <p:cNvSpPr/>
          <p:nvPr/>
        </p:nvSpPr>
        <p:spPr>
          <a:xfrm flipH="1">
            <a:off x="-1748" y="6105103"/>
            <a:ext cx="10383838" cy="1147497"/>
          </a:xfrm>
          <a:custGeom>
            <a:avLst/>
            <a:gdLst>
              <a:gd name="connsiteX0" fmla="*/ 0 w 12192000"/>
              <a:gd name="connsiteY0" fmla="*/ 0 h 1136469"/>
              <a:gd name="connsiteX1" fmla="*/ 12192000 w 12192000"/>
              <a:gd name="connsiteY1" fmla="*/ 0 h 1136469"/>
              <a:gd name="connsiteX2" fmla="*/ 12192000 w 12192000"/>
              <a:gd name="connsiteY2" fmla="*/ 1136469 h 1136469"/>
              <a:gd name="connsiteX3" fmla="*/ 0 w 12192000"/>
              <a:gd name="connsiteY3" fmla="*/ 1136469 h 1136469"/>
              <a:gd name="connsiteX4" fmla="*/ 0 w 12192000"/>
              <a:gd name="connsiteY4" fmla="*/ 0 h 1136469"/>
              <a:gd name="connsiteX0" fmla="*/ 0 w 12192000"/>
              <a:gd name="connsiteY0" fmla="*/ 200395 h 1336864"/>
              <a:gd name="connsiteX1" fmla="*/ 1488332 w 12192000"/>
              <a:gd name="connsiteY1" fmla="*/ 6 h 1336864"/>
              <a:gd name="connsiteX2" fmla="*/ 12192000 w 12192000"/>
              <a:gd name="connsiteY2" fmla="*/ 200395 h 1336864"/>
              <a:gd name="connsiteX3" fmla="*/ 12192000 w 12192000"/>
              <a:gd name="connsiteY3" fmla="*/ 1336864 h 1336864"/>
              <a:gd name="connsiteX4" fmla="*/ 0 w 12192000"/>
              <a:gd name="connsiteY4" fmla="*/ 1336864 h 1336864"/>
              <a:gd name="connsiteX5" fmla="*/ 0 w 12192000"/>
              <a:gd name="connsiteY5" fmla="*/ 200395 h 1336864"/>
              <a:gd name="connsiteX0" fmla="*/ 0 w 12192000"/>
              <a:gd name="connsiteY0" fmla="*/ 794367 h 1930836"/>
              <a:gd name="connsiteX1" fmla="*/ 1488332 w 12192000"/>
              <a:gd name="connsiteY1" fmla="*/ 593978 h 1930836"/>
              <a:gd name="connsiteX2" fmla="*/ 5184843 w 12192000"/>
              <a:gd name="connsiteY2" fmla="*/ 591 h 1930836"/>
              <a:gd name="connsiteX3" fmla="*/ 12192000 w 12192000"/>
              <a:gd name="connsiteY3" fmla="*/ 794367 h 1930836"/>
              <a:gd name="connsiteX4" fmla="*/ 12192000 w 12192000"/>
              <a:gd name="connsiteY4" fmla="*/ 1930836 h 1930836"/>
              <a:gd name="connsiteX5" fmla="*/ 0 w 12192000"/>
              <a:gd name="connsiteY5" fmla="*/ 1930836 h 1930836"/>
              <a:gd name="connsiteX6" fmla="*/ 0 w 12192000"/>
              <a:gd name="connsiteY6" fmla="*/ 794367 h 1930836"/>
              <a:gd name="connsiteX0" fmla="*/ 0 w 12192000"/>
              <a:gd name="connsiteY0" fmla="*/ 794367 h 1930836"/>
              <a:gd name="connsiteX1" fmla="*/ 1488332 w 12192000"/>
              <a:gd name="connsiteY1" fmla="*/ 593978 h 1930836"/>
              <a:gd name="connsiteX2" fmla="*/ 5184843 w 12192000"/>
              <a:gd name="connsiteY2" fmla="*/ 591 h 1930836"/>
              <a:gd name="connsiteX3" fmla="*/ 8365787 w 12192000"/>
              <a:gd name="connsiteY3" fmla="*/ 623161 h 1930836"/>
              <a:gd name="connsiteX4" fmla="*/ 12192000 w 12192000"/>
              <a:gd name="connsiteY4" fmla="*/ 794367 h 1930836"/>
              <a:gd name="connsiteX5" fmla="*/ 12192000 w 12192000"/>
              <a:gd name="connsiteY5" fmla="*/ 1930836 h 1930836"/>
              <a:gd name="connsiteX6" fmla="*/ 0 w 12192000"/>
              <a:gd name="connsiteY6" fmla="*/ 1930836 h 1930836"/>
              <a:gd name="connsiteX7" fmla="*/ 0 w 12192000"/>
              <a:gd name="connsiteY7" fmla="*/ 794367 h 1930836"/>
              <a:gd name="connsiteX0" fmla="*/ 0 w 12192000"/>
              <a:gd name="connsiteY0" fmla="*/ 794367 h 1930836"/>
              <a:gd name="connsiteX1" fmla="*/ 1488332 w 12192000"/>
              <a:gd name="connsiteY1" fmla="*/ 593978 h 1930836"/>
              <a:gd name="connsiteX2" fmla="*/ 5184843 w 12192000"/>
              <a:gd name="connsiteY2" fmla="*/ 591 h 1930836"/>
              <a:gd name="connsiteX3" fmla="*/ 8365787 w 12192000"/>
              <a:gd name="connsiteY3" fmla="*/ 623161 h 1930836"/>
              <a:gd name="connsiteX4" fmla="*/ 10758791 w 12192000"/>
              <a:gd name="connsiteY4" fmla="*/ 272965 h 1930836"/>
              <a:gd name="connsiteX5" fmla="*/ 12192000 w 12192000"/>
              <a:gd name="connsiteY5" fmla="*/ 794367 h 1930836"/>
              <a:gd name="connsiteX6" fmla="*/ 12192000 w 12192000"/>
              <a:gd name="connsiteY6" fmla="*/ 1930836 h 1930836"/>
              <a:gd name="connsiteX7" fmla="*/ 0 w 12192000"/>
              <a:gd name="connsiteY7" fmla="*/ 1930836 h 1930836"/>
              <a:gd name="connsiteX8" fmla="*/ 0 w 12192000"/>
              <a:gd name="connsiteY8" fmla="*/ 794367 h 1930836"/>
              <a:gd name="connsiteX0" fmla="*/ 0 w 12192000"/>
              <a:gd name="connsiteY0" fmla="*/ 794284 h 1930753"/>
              <a:gd name="connsiteX1" fmla="*/ 1527243 w 12192000"/>
              <a:gd name="connsiteY1" fmla="*/ 700899 h 1930753"/>
              <a:gd name="connsiteX2" fmla="*/ 5184843 w 12192000"/>
              <a:gd name="connsiteY2" fmla="*/ 508 h 1930753"/>
              <a:gd name="connsiteX3" fmla="*/ 8365787 w 12192000"/>
              <a:gd name="connsiteY3" fmla="*/ 623078 h 1930753"/>
              <a:gd name="connsiteX4" fmla="*/ 10758791 w 12192000"/>
              <a:gd name="connsiteY4" fmla="*/ 272882 h 1930753"/>
              <a:gd name="connsiteX5" fmla="*/ 12192000 w 12192000"/>
              <a:gd name="connsiteY5" fmla="*/ 794284 h 1930753"/>
              <a:gd name="connsiteX6" fmla="*/ 12192000 w 12192000"/>
              <a:gd name="connsiteY6" fmla="*/ 1930753 h 1930753"/>
              <a:gd name="connsiteX7" fmla="*/ 0 w 12192000"/>
              <a:gd name="connsiteY7" fmla="*/ 1930753 h 1930753"/>
              <a:gd name="connsiteX8" fmla="*/ 0 w 12192000"/>
              <a:gd name="connsiteY8" fmla="*/ 794284 h 1930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1930753">
                <a:moveTo>
                  <a:pt x="0" y="794284"/>
                </a:moveTo>
                <a:cubicBezTo>
                  <a:pt x="418289" y="795581"/>
                  <a:pt x="1108954" y="699602"/>
                  <a:pt x="1527243" y="700899"/>
                </a:cubicBezTo>
                <a:cubicBezTo>
                  <a:pt x="2778869" y="723597"/>
                  <a:pt x="3933217" y="-22190"/>
                  <a:pt x="5184843" y="508"/>
                </a:cubicBezTo>
                <a:cubicBezTo>
                  <a:pt x="6222460" y="117240"/>
                  <a:pt x="7328170" y="506346"/>
                  <a:pt x="8365787" y="623078"/>
                </a:cubicBezTo>
                <a:cubicBezTo>
                  <a:pt x="9247762" y="668474"/>
                  <a:pt x="9876816" y="227486"/>
                  <a:pt x="10758791" y="272882"/>
                </a:cubicBezTo>
                <a:lnTo>
                  <a:pt x="12192000" y="794284"/>
                </a:lnTo>
                <a:lnTo>
                  <a:pt x="12192000" y="1930753"/>
                </a:lnTo>
                <a:lnTo>
                  <a:pt x="0" y="1930753"/>
                </a:lnTo>
                <a:lnTo>
                  <a:pt x="0" y="794284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8775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727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15" name="그룹 14"/>
          <p:cNvGrpSpPr/>
          <p:nvPr userDrawn="1"/>
        </p:nvGrpSpPr>
        <p:grpSpPr>
          <a:xfrm>
            <a:off x="402558" y="90347"/>
            <a:ext cx="3584445" cy="2912340"/>
            <a:chOff x="1836497" y="718754"/>
            <a:chExt cx="6917955" cy="5349463"/>
          </a:xfrm>
        </p:grpSpPr>
        <p:pic>
          <p:nvPicPr>
            <p:cNvPr id="16" name="Picture 10"/>
            <p:cNvPicPr>
              <a:picLocks noChangeAspect="1"/>
            </p:cNvPicPr>
            <p:nvPr userDrawn="1"/>
          </p:nvPicPr>
          <p:blipFill>
            <a:blip r:embed="rId2" cstate="screen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345906">
              <a:off x="6030057" y="718754"/>
              <a:ext cx="904791" cy="1016382"/>
            </a:xfrm>
            <a:prstGeom prst="rect">
              <a:avLst/>
            </a:prstGeom>
          </p:spPr>
        </p:pic>
        <p:grpSp>
          <p:nvGrpSpPr>
            <p:cNvPr id="17" name="그룹 16"/>
            <p:cNvGrpSpPr/>
            <p:nvPr userDrawn="1"/>
          </p:nvGrpSpPr>
          <p:grpSpPr>
            <a:xfrm>
              <a:off x="1836497" y="1008451"/>
              <a:ext cx="6917955" cy="5059766"/>
              <a:chOff x="1836497" y="1008451"/>
              <a:chExt cx="6917955" cy="5059766"/>
            </a:xfrm>
          </p:grpSpPr>
          <p:sp>
            <p:nvSpPr>
              <p:cNvPr id="18" name="Oval 1"/>
              <p:cNvSpPr/>
              <p:nvPr userDrawn="1"/>
            </p:nvSpPr>
            <p:spPr>
              <a:xfrm>
                <a:off x="2650440" y="1096774"/>
                <a:ext cx="5380074" cy="4971443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87752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27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19" name="Picture 7"/>
              <p:cNvPicPr>
                <a:picLocks noChangeAspect="1"/>
              </p:cNvPicPr>
              <p:nvPr userDrawn="1"/>
            </p:nvPicPr>
            <p:blipFill>
              <a:blip r:embed="rId3" cstate="screen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632787" y="1256262"/>
                <a:ext cx="1610659" cy="1809307"/>
              </a:xfrm>
              <a:prstGeom prst="rect">
                <a:avLst/>
              </a:prstGeom>
            </p:spPr>
          </p:pic>
          <p:pic>
            <p:nvPicPr>
              <p:cNvPr id="20" name="Picture 8"/>
              <p:cNvPicPr>
                <a:picLocks noChangeAspect="1"/>
              </p:cNvPicPr>
              <p:nvPr userDrawn="1"/>
            </p:nvPicPr>
            <p:blipFill>
              <a:blip r:embed="rId4" cstate="screen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065933" y="2962534"/>
                <a:ext cx="1252880" cy="1407400"/>
              </a:xfrm>
              <a:prstGeom prst="rect">
                <a:avLst/>
              </a:prstGeom>
            </p:spPr>
          </p:pic>
          <p:pic>
            <p:nvPicPr>
              <p:cNvPr id="21" name="Picture 9"/>
              <p:cNvPicPr>
                <a:picLocks noChangeAspect="1"/>
              </p:cNvPicPr>
              <p:nvPr userDrawn="1"/>
            </p:nvPicPr>
            <p:blipFill>
              <a:blip r:embed="rId2" cstate="screen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1345906">
                <a:off x="2012161" y="2003484"/>
                <a:ext cx="904791" cy="1016382"/>
              </a:xfrm>
              <a:prstGeom prst="rect">
                <a:avLst/>
              </a:prstGeom>
            </p:spPr>
          </p:pic>
          <p:pic>
            <p:nvPicPr>
              <p:cNvPr id="22" name="Picture 26"/>
              <p:cNvPicPr>
                <a:picLocks noChangeAspect="1"/>
              </p:cNvPicPr>
              <p:nvPr userDrawn="1"/>
            </p:nvPicPr>
            <p:blipFill>
              <a:blip r:embed="rId5" cstate="screen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863372" y="1256262"/>
                <a:ext cx="1297615" cy="1457654"/>
              </a:xfrm>
              <a:prstGeom prst="rect">
                <a:avLst/>
              </a:prstGeom>
            </p:spPr>
          </p:pic>
          <p:pic>
            <p:nvPicPr>
              <p:cNvPr id="23" name="Picture 12"/>
              <p:cNvPicPr>
                <a:picLocks noChangeAspect="1"/>
              </p:cNvPicPr>
              <p:nvPr userDrawn="1"/>
            </p:nvPicPr>
            <p:blipFill>
              <a:blip r:embed="rId6" cstate="screen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20061987">
                <a:off x="8148025" y="2446186"/>
                <a:ext cx="606427" cy="681220"/>
              </a:xfrm>
              <a:prstGeom prst="rect">
                <a:avLst/>
              </a:prstGeom>
            </p:spPr>
          </p:pic>
          <p:pic>
            <p:nvPicPr>
              <p:cNvPr id="24" name="Picture 14"/>
              <p:cNvPicPr>
                <a:picLocks noChangeAspect="1"/>
              </p:cNvPicPr>
              <p:nvPr userDrawn="1"/>
            </p:nvPicPr>
            <p:blipFill>
              <a:blip r:embed="rId7" cstate="screen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20061987">
                <a:off x="1836497" y="1008451"/>
                <a:ext cx="517665" cy="581511"/>
              </a:xfrm>
              <a:prstGeom prst="rect">
                <a:avLst/>
              </a:prstGeom>
            </p:spPr>
          </p:pic>
          <p:pic>
            <p:nvPicPr>
              <p:cNvPr id="25" name="Picture 15"/>
              <p:cNvPicPr>
                <a:picLocks noChangeAspect="1"/>
              </p:cNvPicPr>
              <p:nvPr userDrawn="1"/>
            </p:nvPicPr>
            <p:blipFill>
              <a:blip r:embed="rId8" cstate="screen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20061987">
                <a:off x="4376515" y="4792131"/>
                <a:ext cx="1003670" cy="1127456"/>
              </a:xfrm>
              <a:prstGeom prst="rect">
                <a:avLst/>
              </a:prstGeom>
            </p:spPr>
          </p:pic>
          <p:pic>
            <p:nvPicPr>
              <p:cNvPr id="26" name="Picture 16"/>
              <p:cNvPicPr>
                <a:picLocks noChangeAspect="1"/>
              </p:cNvPicPr>
              <p:nvPr userDrawn="1"/>
            </p:nvPicPr>
            <p:blipFill>
              <a:blip r:embed="rId9" cstate="screen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546326" y="1433386"/>
                <a:ext cx="776127" cy="871848"/>
              </a:xfrm>
              <a:prstGeom prst="rect">
                <a:avLst/>
              </a:prstGeom>
            </p:spPr>
          </p:pic>
          <p:pic>
            <p:nvPicPr>
              <p:cNvPr id="27" name="Picture 17"/>
              <p:cNvPicPr>
                <a:picLocks noChangeAspect="1"/>
              </p:cNvPicPr>
              <p:nvPr userDrawn="1"/>
            </p:nvPicPr>
            <p:blipFill>
              <a:blip r:embed="rId10" cstate="screen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169252" y="4157841"/>
                <a:ext cx="1243348" cy="1396692"/>
              </a:xfrm>
              <a:prstGeom prst="rect">
                <a:avLst/>
              </a:prstGeom>
            </p:spPr>
          </p:pic>
        </p:grpSp>
      </p:grpSp>
      <p:sp>
        <p:nvSpPr>
          <p:cNvPr id="10" name="TextBox 9"/>
          <p:cNvSpPr txBox="1"/>
          <p:nvPr userDrawn="1"/>
        </p:nvSpPr>
        <p:spPr>
          <a:xfrm>
            <a:off x="88153" y="6985351"/>
            <a:ext cx="6777856" cy="2400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5471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※ </a:t>
            </a:r>
            <a:r>
              <a:rPr kumimoji="0" lang="ko-KR" altLang="en-US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본 자료는 컨설턴트 교육용으로 </a:t>
            </a:r>
            <a:r>
              <a:rPr kumimoji="0" lang="ko-KR" altLang="en-US" sz="960" b="1" i="0" u="none" strike="noStrike" kern="1200" cap="none" spc="0" normalizeH="0" baseline="0" noProof="0" dirty="0" err="1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환급금</a:t>
            </a:r>
            <a:r>
              <a:rPr kumimoji="0" lang="ko-KR" altLang="en-US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 및 보험금 지급의 근거가 될 수 없으며 고객안내자료로 활용할 수 없습니다</a:t>
            </a:r>
            <a:r>
              <a:rPr kumimoji="0" lang="en-US" altLang="ko-KR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.</a:t>
            </a:r>
            <a:endParaRPr kumimoji="0" lang="ko-KR" altLang="en-US" sz="960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교보서체 Bold" panose="020B0600000101010101" pitchFamily="50" charset="-127"/>
              <a:ea typeface="교보서체 Bold" panose="020B0600000101010101" pitchFamily="50" charset="-127"/>
              <a:cs typeface="+mn-cs"/>
            </a:endParaRPr>
          </a:p>
        </p:txBody>
      </p:sp>
      <p:sp>
        <p:nvSpPr>
          <p:cNvPr id="93" name="슬라이드 번호 개체 틀 2"/>
          <p:cNvSpPr txBox="1">
            <a:spLocks/>
          </p:cNvSpPr>
          <p:nvPr userDrawn="1"/>
        </p:nvSpPr>
        <p:spPr>
          <a:xfrm>
            <a:off x="9691481" y="6967999"/>
            <a:ext cx="631527" cy="322319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91202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0" lang="en-US" altLang="ko-KR" sz="1200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912025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  <p:sp>
        <p:nvSpPr>
          <p:cNvPr id="94" name="직사각형 93"/>
          <p:cNvSpPr/>
          <p:nvPr userDrawn="1"/>
        </p:nvSpPr>
        <p:spPr>
          <a:xfrm>
            <a:off x="8936335" y="243061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7701915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2"/>
          <p:cNvSpPr txBox="1">
            <a:spLocks/>
          </p:cNvSpPr>
          <p:nvPr userDrawn="1"/>
        </p:nvSpPr>
        <p:spPr>
          <a:xfrm>
            <a:off x="9691481" y="6967999"/>
            <a:ext cx="631527" cy="322319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91202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0" lang="en-US" altLang="ko-KR" sz="1200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912025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  <p:sp>
        <p:nvSpPr>
          <p:cNvPr id="5" name="직사각형 4"/>
          <p:cNvSpPr/>
          <p:nvPr userDrawn="1"/>
        </p:nvSpPr>
        <p:spPr>
          <a:xfrm>
            <a:off x="8936335" y="243061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959568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그림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4" y="2"/>
            <a:ext cx="10387751" cy="7257341"/>
          </a:xfrm>
          <a:prstGeom prst="rect">
            <a:avLst/>
          </a:prstGeom>
        </p:spPr>
      </p:pic>
      <p:sp>
        <p:nvSpPr>
          <p:cNvPr id="6" name="슬라이드 번호 개체 틀 2"/>
          <p:cNvSpPr txBox="1">
            <a:spLocks/>
          </p:cNvSpPr>
          <p:nvPr userDrawn="1"/>
        </p:nvSpPr>
        <p:spPr>
          <a:xfrm>
            <a:off x="9691481" y="6967999"/>
            <a:ext cx="631527" cy="322319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91202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0" lang="en-US" altLang="ko-KR" sz="1200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912025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  <p:sp>
        <p:nvSpPr>
          <p:cNvPr id="4" name="직사각형 3"/>
          <p:cNvSpPr/>
          <p:nvPr userDrawn="1"/>
        </p:nvSpPr>
        <p:spPr>
          <a:xfrm>
            <a:off x="8936335" y="243061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331625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 userDrawn="1"/>
        </p:nvSpPr>
        <p:spPr>
          <a:xfrm>
            <a:off x="0" y="2"/>
            <a:ext cx="10383838" cy="19699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139" tIns="43069" rIns="86139" bIns="43069" anchor="ctr"/>
          <a:lstStyle/>
          <a:p>
            <a:pPr marL="0" marR="0" lvl="0" indent="0" algn="ctr" defTabSz="937589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9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1123" y="1036351"/>
            <a:ext cx="10384963" cy="52856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직사각형 3"/>
          <p:cNvSpPr>
            <a:spLocks noChangeArrowheads="1"/>
          </p:cNvSpPr>
          <p:nvPr userDrawn="1"/>
        </p:nvSpPr>
        <p:spPr bwMode="auto">
          <a:xfrm>
            <a:off x="9156163" y="171298"/>
            <a:ext cx="983902" cy="348021"/>
          </a:xfrm>
          <a:prstGeom prst="rect">
            <a:avLst/>
          </a:prstGeom>
          <a:noFill/>
          <a:ln w="15875">
            <a:solidFill>
              <a:schemeClr val="bg1">
                <a:lumMod val="65000"/>
              </a:schemeClr>
            </a:solidFill>
            <a:prstDash val="sysDot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110714" tIns="73807" rIns="93735" bIns="73807">
            <a:spAutoFit/>
          </a:bodyPr>
          <a:lstStyle/>
          <a:p>
            <a:pPr marL="0" marR="0" lvl="0" indent="0" algn="ctr" defTabSz="9373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9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</a:p>
        </p:txBody>
      </p:sp>
      <p:pic>
        <p:nvPicPr>
          <p:cNvPr id="5" name="그림 9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1427" y="4193386"/>
            <a:ext cx="8621885" cy="30497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그림 5"/>
          <p:cNvPicPr>
            <a:picLocks noChangeAspect="1"/>
          </p:cNvPicPr>
          <p:nvPr userDrawn="1"/>
        </p:nvPicPr>
        <p:blipFill rotWithShape="1">
          <a:blip r:embed="rId4" cstate="screen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l="980" t="6506"/>
          <a:stretch/>
        </p:blipFill>
        <p:spPr>
          <a:xfrm>
            <a:off x="-24664" y="-1"/>
            <a:ext cx="5870882" cy="7516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30989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6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9" y="1670975"/>
            <a:ext cx="10363313" cy="3676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그림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9315" y="2374630"/>
            <a:ext cx="2456629" cy="1479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그림 8" descr="그림2.png"/>
          <p:cNvPicPr>
            <a:picLocks noChangeAspect="1"/>
          </p:cNvPicPr>
          <p:nvPr userDrawn="1"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6188" y="104123"/>
            <a:ext cx="2530834" cy="33167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그림 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8397"/>
            <a:ext cx="10366471" cy="72464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직사각형 5"/>
          <p:cNvSpPr>
            <a:spLocks noChangeArrowheads="1"/>
          </p:cNvSpPr>
          <p:nvPr userDrawn="1"/>
        </p:nvSpPr>
        <p:spPr bwMode="auto">
          <a:xfrm>
            <a:off x="157881" y="518926"/>
            <a:ext cx="3555482" cy="4695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6175" tIns="43087" rIns="86175" bIns="43087">
            <a:spAutoFit/>
          </a:bodyPr>
          <a:lstStyle>
            <a:lvl1pPr defTabSz="941388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defTabSz="941388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defTabSz="941388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defTabSz="941388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defTabSz="941388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defTabSz="9413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defTabSz="9413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defTabSz="9413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defTabSz="9413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0" marR="0" lvl="0" indent="0" algn="l" defTabSz="93621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486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나눔고딕 ExtraBold" pitchFamily="50" charset="-127"/>
                <a:ea typeface="나눔고딕 ExtraBold" pitchFamily="50" charset="-127"/>
                <a:cs typeface="+mn-cs"/>
              </a:rPr>
              <a:t>20</a:t>
            </a:r>
            <a:r>
              <a:rPr kumimoji="0" lang="en-US" altLang="ko-KR" sz="2486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나눔고딕 ExtraBold" pitchFamily="50" charset="-127"/>
                <a:ea typeface="나눔고딕 ExtraBold" pitchFamily="50" charset="-127"/>
                <a:cs typeface="+mn-cs"/>
              </a:rPr>
              <a:t>20.</a:t>
            </a:r>
            <a:r>
              <a:rPr kumimoji="0" lang="en-US" altLang="ko-KR" sz="2486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나눔고딕 ExtraBold" pitchFamily="50" charset="-127"/>
                <a:ea typeface="나눔고딕 ExtraBold" pitchFamily="50" charset="-127"/>
                <a:cs typeface="+mn-cs"/>
              </a:rPr>
              <a:t> </a:t>
            </a:r>
            <a:r>
              <a:rPr kumimoji="0" lang="en-US" altLang="ko-KR" sz="2486" b="1" i="0" u="none" strike="noStrike" kern="1200" cap="none" spc="0" normalizeH="0" baseline="0" noProof="0">
                <a:ln>
                  <a:noFill/>
                </a:ln>
                <a:solidFill>
                  <a:srgbClr val="FF5050"/>
                </a:solidFill>
                <a:effectLst/>
                <a:uLnTx/>
                <a:uFillTx/>
                <a:latin typeface="나눔고딕 ExtraBold" pitchFamily="50" charset="-127"/>
                <a:ea typeface="나눔고딕 ExtraBold" pitchFamily="50" charset="-127"/>
                <a:cs typeface="+mn-cs"/>
              </a:rPr>
              <a:t>07</a:t>
            </a:r>
            <a:endParaRPr kumimoji="0" lang="ko-KR" altLang="en-US" sz="2486" b="0" i="0" u="none" strike="noStrike" kern="1200" cap="none" spc="0" normalizeH="0" baseline="0" noProof="0">
              <a:ln>
                <a:noFill/>
              </a:ln>
              <a:solidFill>
                <a:srgbClr val="FF5050"/>
              </a:solidFill>
              <a:effectLst/>
              <a:uLnTx/>
              <a:uFillTx/>
              <a:latin typeface="나눔고딕 ExtraBold" pitchFamily="50" charset="-127"/>
              <a:ea typeface="나눔고딕 ExtraBold" pitchFamily="50" charset="-127"/>
              <a:cs typeface="+mn-cs"/>
            </a:endParaRPr>
          </a:p>
        </p:txBody>
      </p:sp>
      <p:pic>
        <p:nvPicPr>
          <p:cNvPr id="7" name="그림 6"/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944883" y="1836947"/>
            <a:ext cx="1582289" cy="1003902"/>
          </a:xfrm>
          <a:prstGeom prst="rect">
            <a:avLst/>
          </a:prstGeom>
        </p:spPr>
      </p:pic>
      <p:pic>
        <p:nvPicPr>
          <p:cNvPr id="8" name="그림 13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4550" y="700298"/>
            <a:ext cx="1231472" cy="854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그림 14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3449" y="1382122"/>
            <a:ext cx="304711" cy="471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438025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209344" y="6979145"/>
            <a:ext cx="4717823" cy="2234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7873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85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※ </a:t>
            </a:r>
            <a:r>
              <a:rPr kumimoji="0" lang="ko-KR" altLang="en-US" sz="85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본 교육자료는 컨설턴트 교육용으로 고객안내자료로 활용할 수 없습니다</a:t>
            </a:r>
            <a:r>
              <a:rPr kumimoji="0" lang="en-US" altLang="ko-KR" sz="85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852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A051203C-953B-C138-CB18-F071051940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/>
          <a:srcRect b="90962"/>
          <a:stretch/>
        </p:blipFill>
        <p:spPr>
          <a:xfrm>
            <a:off x="768" y="671"/>
            <a:ext cx="10387752" cy="6559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511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2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57" y="1680"/>
            <a:ext cx="10386996" cy="7256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0311991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 userDrawn="1"/>
        </p:nvSpPr>
        <p:spPr>
          <a:xfrm>
            <a:off x="0" y="2"/>
            <a:ext cx="10383838" cy="19699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139" tIns="43069" rIns="86139" bIns="43069" anchor="ctr"/>
          <a:lstStyle/>
          <a:p>
            <a:pPr marL="0" marR="0" lvl="0" indent="0" algn="ctr" defTabSz="937589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9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1120" y="1036351"/>
            <a:ext cx="10384963" cy="52856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직사각형 3"/>
          <p:cNvSpPr>
            <a:spLocks noChangeArrowheads="1"/>
          </p:cNvSpPr>
          <p:nvPr userDrawn="1"/>
        </p:nvSpPr>
        <p:spPr bwMode="auto">
          <a:xfrm>
            <a:off x="9156163" y="171298"/>
            <a:ext cx="983902" cy="348021"/>
          </a:xfrm>
          <a:prstGeom prst="rect">
            <a:avLst/>
          </a:prstGeom>
          <a:noFill/>
          <a:ln w="15875">
            <a:solidFill>
              <a:schemeClr val="bg1">
                <a:lumMod val="65000"/>
              </a:schemeClr>
            </a:solidFill>
            <a:prstDash val="sysDot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110714" tIns="73807" rIns="93735" bIns="73807">
            <a:spAutoFit/>
          </a:bodyPr>
          <a:lstStyle/>
          <a:p>
            <a:pPr marL="0" marR="0" lvl="0" indent="0" algn="ctr" defTabSz="9373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9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</a:p>
        </p:txBody>
      </p:sp>
      <p:pic>
        <p:nvPicPr>
          <p:cNvPr id="5" name="그림 9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1427" y="4193386"/>
            <a:ext cx="8621885" cy="30497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그림 5"/>
          <p:cNvPicPr>
            <a:picLocks noChangeAspect="1"/>
          </p:cNvPicPr>
          <p:nvPr userDrawn="1"/>
        </p:nvPicPr>
        <p:blipFill rotWithShape="1">
          <a:blip r:embed="rId4" cstate="screen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l="980" t="6506"/>
          <a:stretch/>
        </p:blipFill>
        <p:spPr>
          <a:xfrm>
            <a:off x="-24664" y="-1"/>
            <a:ext cx="5870882" cy="7516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98254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6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9" y="1670975"/>
            <a:ext cx="10363313" cy="3676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그림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9315" y="2374630"/>
            <a:ext cx="2456629" cy="1479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그림 8" descr="그림2.png"/>
          <p:cNvPicPr>
            <a:picLocks noChangeAspect="1"/>
          </p:cNvPicPr>
          <p:nvPr userDrawn="1"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6188" y="104123"/>
            <a:ext cx="2530834" cy="33167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그림 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8397"/>
            <a:ext cx="10366471" cy="72464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직사각형 5"/>
          <p:cNvSpPr>
            <a:spLocks noChangeArrowheads="1"/>
          </p:cNvSpPr>
          <p:nvPr userDrawn="1"/>
        </p:nvSpPr>
        <p:spPr bwMode="auto">
          <a:xfrm>
            <a:off x="157881" y="518926"/>
            <a:ext cx="3555482" cy="4695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6175" tIns="43087" rIns="86175" bIns="43087">
            <a:spAutoFit/>
          </a:bodyPr>
          <a:lstStyle>
            <a:lvl1pPr defTabSz="941388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defTabSz="941388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defTabSz="941388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defTabSz="941388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defTabSz="941388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defTabSz="9413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defTabSz="9413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defTabSz="9413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defTabSz="9413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0" marR="0" lvl="0" indent="0" algn="l" defTabSz="93621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486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나눔고딕 ExtraBold" pitchFamily="50" charset="-127"/>
                <a:ea typeface="나눔고딕 ExtraBold" pitchFamily="50" charset="-127"/>
                <a:cs typeface="+mn-cs"/>
              </a:rPr>
              <a:t>20</a:t>
            </a:r>
            <a:r>
              <a:rPr kumimoji="0" lang="en-US" altLang="ko-KR" sz="2486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나눔고딕 ExtraBold" pitchFamily="50" charset="-127"/>
                <a:ea typeface="나눔고딕 ExtraBold" pitchFamily="50" charset="-127"/>
                <a:cs typeface="+mn-cs"/>
              </a:rPr>
              <a:t>20.</a:t>
            </a:r>
            <a:r>
              <a:rPr kumimoji="0" lang="en-US" altLang="ko-KR" sz="2486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나눔고딕 ExtraBold" pitchFamily="50" charset="-127"/>
                <a:ea typeface="나눔고딕 ExtraBold" pitchFamily="50" charset="-127"/>
                <a:cs typeface="+mn-cs"/>
              </a:rPr>
              <a:t> </a:t>
            </a:r>
            <a:r>
              <a:rPr kumimoji="0" lang="en-US" altLang="ko-KR" sz="2486" b="1" i="0" u="none" strike="noStrike" kern="1200" cap="none" spc="0" normalizeH="0" baseline="0" noProof="0">
                <a:ln>
                  <a:noFill/>
                </a:ln>
                <a:solidFill>
                  <a:srgbClr val="FF5050"/>
                </a:solidFill>
                <a:effectLst/>
                <a:uLnTx/>
                <a:uFillTx/>
                <a:latin typeface="나눔고딕 ExtraBold" pitchFamily="50" charset="-127"/>
                <a:ea typeface="나눔고딕 ExtraBold" pitchFamily="50" charset="-127"/>
                <a:cs typeface="+mn-cs"/>
              </a:rPr>
              <a:t>07</a:t>
            </a:r>
            <a:endParaRPr kumimoji="0" lang="ko-KR" altLang="en-US" sz="2486" b="0" i="0" u="none" strike="noStrike" kern="1200" cap="none" spc="0" normalizeH="0" baseline="0" noProof="0">
              <a:ln>
                <a:noFill/>
              </a:ln>
              <a:solidFill>
                <a:srgbClr val="FF5050"/>
              </a:solidFill>
              <a:effectLst/>
              <a:uLnTx/>
              <a:uFillTx/>
              <a:latin typeface="나눔고딕 ExtraBold" pitchFamily="50" charset="-127"/>
              <a:ea typeface="나눔고딕 ExtraBold" pitchFamily="50" charset="-127"/>
              <a:cs typeface="+mn-cs"/>
            </a:endParaRPr>
          </a:p>
        </p:txBody>
      </p:sp>
      <p:pic>
        <p:nvPicPr>
          <p:cNvPr id="7" name="그림 6"/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944886" y="1836947"/>
            <a:ext cx="1582289" cy="1003902"/>
          </a:xfrm>
          <a:prstGeom prst="rect">
            <a:avLst/>
          </a:prstGeom>
        </p:spPr>
      </p:pic>
      <p:pic>
        <p:nvPicPr>
          <p:cNvPr id="8" name="그림 13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4550" y="700298"/>
            <a:ext cx="1231472" cy="854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그림 14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3449" y="1382122"/>
            <a:ext cx="304711" cy="471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562919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6621779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57" y="1680"/>
            <a:ext cx="10386996" cy="7256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9090084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57" y="1680"/>
            <a:ext cx="10386996" cy="7256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4376446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57" y="1680"/>
            <a:ext cx="10386996" cy="7256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6789692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 userDrawn="1"/>
        </p:nvSpPr>
        <p:spPr>
          <a:xfrm>
            <a:off x="0" y="2"/>
            <a:ext cx="10383838" cy="19699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6139" tIns="43069" rIns="86139" bIns="43069" anchor="ctr"/>
          <a:lstStyle/>
          <a:p>
            <a:pPr marL="0" marR="0" lvl="0" indent="0" algn="ctr" defTabSz="937589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9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1120" y="1036351"/>
            <a:ext cx="10384963" cy="52856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직사각형 3"/>
          <p:cNvSpPr>
            <a:spLocks noChangeArrowheads="1"/>
          </p:cNvSpPr>
          <p:nvPr userDrawn="1"/>
        </p:nvSpPr>
        <p:spPr bwMode="auto">
          <a:xfrm>
            <a:off x="9156163" y="171298"/>
            <a:ext cx="983902" cy="348021"/>
          </a:xfrm>
          <a:prstGeom prst="rect">
            <a:avLst/>
          </a:prstGeom>
          <a:noFill/>
          <a:ln w="15875">
            <a:solidFill>
              <a:schemeClr val="bg1">
                <a:lumMod val="65000"/>
              </a:schemeClr>
            </a:solidFill>
            <a:prstDash val="sysDot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110714" tIns="73807" rIns="93735" bIns="73807">
            <a:spAutoFit/>
          </a:bodyPr>
          <a:lstStyle/>
          <a:p>
            <a:pPr marL="0" marR="0" lvl="0" indent="0" algn="ctr" defTabSz="9373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9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</a:p>
        </p:txBody>
      </p:sp>
      <p:pic>
        <p:nvPicPr>
          <p:cNvPr id="5" name="그림 9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1427" y="4193386"/>
            <a:ext cx="8621885" cy="30497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그림 5"/>
          <p:cNvPicPr>
            <a:picLocks noChangeAspect="1"/>
          </p:cNvPicPr>
          <p:nvPr userDrawn="1"/>
        </p:nvPicPr>
        <p:blipFill rotWithShape="1">
          <a:blip r:embed="rId4" cstate="screen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l="980" t="6506"/>
          <a:stretch/>
        </p:blipFill>
        <p:spPr>
          <a:xfrm>
            <a:off x="-24664" y="-1"/>
            <a:ext cx="5870882" cy="7516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452186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6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9" y="1670975"/>
            <a:ext cx="10363313" cy="3676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그림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9315" y="2374630"/>
            <a:ext cx="2456629" cy="1479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그림 8" descr="그림2.png"/>
          <p:cNvPicPr>
            <a:picLocks noChangeAspect="1"/>
          </p:cNvPicPr>
          <p:nvPr userDrawn="1"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6188" y="104123"/>
            <a:ext cx="2530834" cy="33167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그림 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8397"/>
            <a:ext cx="10366471" cy="72464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직사각형 5"/>
          <p:cNvSpPr>
            <a:spLocks noChangeArrowheads="1"/>
          </p:cNvSpPr>
          <p:nvPr userDrawn="1"/>
        </p:nvSpPr>
        <p:spPr bwMode="auto">
          <a:xfrm>
            <a:off x="157881" y="518926"/>
            <a:ext cx="3555482" cy="4695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6175" tIns="43087" rIns="86175" bIns="43087">
            <a:spAutoFit/>
          </a:bodyPr>
          <a:lstStyle>
            <a:lvl1pPr defTabSz="941388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defTabSz="941388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defTabSz="941388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defTabSz="941388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defTabSz="941388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defTabSz="9413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defTabSz="9413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defTabSz="9413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defTabSz="941388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0" marR="0" lvl="0" indent="0" algn="l" defTabSz="93621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486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나눔고딕 ExtraBold" pitchFamily="50" charset="-127"/>
                <a:ea typeface="나눔고딕 ExtraBold" pitchFamily="50" charset="-127"/>
                <a:cs typeface="+mn-cs"/>
              </a:rPr>
              <a:t>20</a:t>
            </a:r>
            <a:r>
              <a:rPr kumimoji="0" lang="en-US" altLang="ko-KR" sz="2486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나눔고딕 ExtraBold" pitchFamily="50" charset="-127"/>
                <a:ea typeface="나눔고딕 ExtraBold" pitchFamily="50" charset="-127"/>
                <a:cs typeface="+mn-cs"/>
              </a:rPr>
              <a:t>20.</a:t>
            </a:r>
            <a:r>
              <a:rPr kumimoji="0" lang="en-US" altLang="ko-KR" sz="2486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나눔고딕 ExtraBold" pitchFamily="50" charset="-127"/>
                <a:ea typeface="나눔고딕 ExtraBold" pitchFamily="50" charset="-127"/>
                <a:cs typeface="+mn-cs"/>
              </a:rPr>
              <a:t> </a:t>
            </a:r>
            <a:r>
              <a:rPr kumimoji="0" lang="en-US" altLang="ko-KR" sz="2486" b="1" i="0" u="none" strike="noStrike" kern="1200" cap="none" spc="0" normalizeH="0" baseline="0" noProof="0">
                <a:ln>
                  <a:noFill/>
                </a:ln>
                <a:solidFill>
                  <a:srgbClr val="FF5050"/>
                </a:solidFill>
                <a:effectLst/>
                <a:uLnTx/>
                <a:uFillTx/>
                <a:latin typeface="나눔고딕 ExtraBold" pitchFamily="50" charset="-127"/>
                <a:ea typeface="나눔고딕 ExtraBold" pitchFamily="50" charset="-127"/>
                <a:cs typeface="+mn-cs"/>
              </a:rPr>
              <a:t>07</a:t>
            </a:r>
            <a:endParaRPr kumimoji="0" lang="ko-KR" altLang="en-US" sz="2486" b="0" i="0" u="none" strike="noStrike" kern="1200" cap="none" spc="0" normalizeH="0" baseline="0" noProof="0">
              <a:ln>
                <a:noFill/>
              </a:ln>
              <a:solidFill>
                <a:srgbClr val="FF5050"/>
              </a:solidFill>
              <a:effectLst/>
              <a:uLnTx/>
              <a:uFillTx/>
              <a:latin typeface="나눔고딕 ExtraBold" pitchFamily="50" charset="-127"/>
              <a:ea typeface="나눔고딕 ExtraBold" pitchFamily="50" charset="-127"/>
              <a:cs typeface="+mn-cs"/>
            </a:endParaRPr>
          </a:p>
        </p:txBody>
      </p:sp>
      <p:pic>
        <p:nvPicPr>
          <p:cNvPr id="7" name="그림 6"/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944886" y="1836947"/>
            <a:ext cx="1582289" cy="1003902"/>
          </a:xfrm>
          <a:prstGeom prst="rect">
            <a:avLst/>
          </a:prstGeom>
        </p:spPr>
      </p:pic>
      <p:pic>
        <p:nvPicPr>
          <p:cNvPr id="8" name="그림 13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4550" y="700298"/>
            <a:ext cx="1231472" cy="854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그림 14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3449" y="1382122"/>
            <a:ext cx="304711" cy="471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4045582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11530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5EC4F2-CB72-470C-864A-9B4FC1CBD08E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24325534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57" y="1680"/>
            <a:ext cx="10386996" cy="7256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3367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57" y="1680"/>
            <a:ext cx="10386996" cy="7256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7349178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57" y="1680"/>
            <a:ext cx="10386996" cy="7256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595464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1" y="3"/>
            <a:ext cx="10387751" cy="7257339"/>
          </a:xfrm>
          <a:prstGeom prst="rect">
            <a:avLst/>
          </a:prstGeom>
        </p:spPr>
      </p:pic>
      <p:sp>
        <p:nvSpPr>
          <p:cNvPr id="4" name="Rectangle 5"/>
          <p:cNvSpPr>
            <a:spLocks noChangeArrowheads="1"/>
          </p:cNvSpPr>
          <p:nvPr userDrawn="1"/>
        </p:nvSpPr>
        <p:spPr bwMode="auto">
          <a:xfrm>
            <a:off x="8603824" y="421797"/>
            <a:ext cx="1417329" cy="251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5412" tIns="47708" rIns="95412" bIns="47708"/>
          <a:lstStyle/>
          <a:p>
            <a:pPr marL="0" marR="0" lvl="0" indent="0" algn="r" defTabSz="95471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44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fld id="{16B1565D-7790-4B20-9C8C-6E71895AF331}" type="slidenum">
              <a:rPr kumimoji="0" lang="ko-KR" altLang="en-US" sz="1344" b="1" i="0" u="none" strike="noStrike" kern="1200" cap="none" spc="0" normalizeH="0" baseline="0" noProof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pPr marL="0" marR="0" lvl="0" indent="0" algn="r" defTabSz="95471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344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671614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직사각형 69"/>
          <p:cNvSpPr/>
          <p:nvPr userDrawn="1"/>
        </p:nvSpPr>
        <p:spPr>
          <a:xfrm>
            <a:off x="0" y="957"/>
            <a:ext cx="10393492" cy="5508952"/>
          </a:xfrm>
          <a:prstGeom prst="rect">
            <a:avLst/>
          </a:prstGeom>
          <a:solidFill>
            <a:srgbClr val="1414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7755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727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" name="직사각형 2"/>
          <p:cNvSpPr/>
          <p:nvPr userDrawn="1"/>
        </p:nvSpPr>
        <p:spPr>
          <a:xfrm>
            <a:off x="5899" y="0"/>
            <a:ext cx="10383838" cy="5508952"/>
          </a:xfrm>
          <a:prstGeom prst="rect">
            <a:avLst/>
          </a:prstGeom>
          <a:solidFill>
            <a:srgbClr val="28B4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7755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727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31" name="그룹 30"/>
          <p:cNvGrpSpPr/>
          <p:nvPr userDrawn="1"/>
        </p:nvGrpSpPr>
        <p:grpSpPr>
          <a:xfrm>
            <a:off x="7121206" y="462100"/>
            <a:ext cx="1472929" cy="1424021"/>
            <a:chOff x="4076603" y="444233"/>
            <a:chExt cx="4038794" cy="4038794"/>
          </a:xfrm>
        </p:grpSpPr>
        <p:pic>
          <p:nvPicPr>
            <p:cNvPr id="32" name="Picture 3">
              <a:extLst>
                <a:ext uri="{FF2B5EF4-FFF2-40B4-BE49-F238E27FC236}">
                  <a16:creationId xmlns:a16="http://schemas.microsoft.com/office/drawing/2014/main" id="{0D5B3350-42C3-4696-A1FE-1725F9CDD35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76603" y="444233"/>
              <a:ext cx="4038794" cy="4038794"/>
            </a:xfrm>
            <a:prstGeom prst="rect">
              <a:avLst/>
            </a:prstGeom>
          </p:spPr>
        </p:pic>
        <p:grpSp>
          <p:nvGrpSpPr>
            <p:cNvPr id="33" name="Graphic 41">
              <a:extLst>
                <a:ext uri="{FF2B5EF4-FFF2-40B4-BE49-F238E27FC236}">
                  <a16:creationId xmlns:a16="http://schemas.microsoft.com/office/drawing/2014/main" id="{D7262360-67F1-4448-BF07-E01B8E9FF6B4}"/>
                </a:ext>
              </a:extLst>
            </p:cNvPr>
            <p:cNvGrpSpPr/>
            <p:nvPr/>
          </p:nvGrpSpPr>
          <p:grpSpPr>
            <a:xfrm rot="21353393">
              <a:off x="5233062" y="697190"/>
              <a:ext cx="1789835" cy="478318"/>
              <a:chOff x="837065" y="3215210"/>
              <a:chExt cx="5524500" cy="1476375"/>
            </a:xfrm>
            <a:solidFill>
              <a:schemeClr val="bg1"/>
            </a:solidFill>
          </p:grpSpPr>
          <p:sp>
            <p:nvSpPr>
              <p:cNvPr id="66" name="Freeform: Shape 35">
                <a:extLst>
                  <a:ext uri="{FF2B5EF4-FFF2-40B4-BE49-F238E27FC236}">
                    <a16:creationId xmlns:a16="http://schemas.microsoft.com/office/drawing/2014/main" id="{EC3369C2-9A79-4A82-A061-FBC22166BC7B}"/>
                  </a:ext>
                </a:extLst>
              </p:cNvPr>
              <p:cNvSpPr/>
              <p:nvPr/>
            </p:nvSpPr>
            <p:spPr>
              <a:xfrm>
                <a:off x="3514032" y="3259501"/>
                <a:ext cx="1504950" cy="1152525"/>
              </a:xfrm>
              <a:custGeom>
                <a:avLst/>
                <a:gdLst>
                  <a:gd name="connsiteX0" fmla="*/ 614873 w 1504950"/>
                  <a:gd name="connsiteY0" fmla="*/ 7144 h 1152525"/>
                  <a:gd name="connsiteX1" fmla="*/ 621540 w 1504950"/>
                  <a:gd name="connsiteY1" fmla="*/ 8096 h 1152525"/>
                  <a:gd name="connsiteX2" fmla="*/ 626303 w 1504950"/>
                  <a:gd name="connsiteY2" fmla="*/ 10954 h 1152525"/>
                  <a:gd name="connsiteX3" fmla="*/ 631065 w 1504950"/>
                  <a:gd name="connsiteY3" fmla="*/ 16669 h 1152525"/>
                  <a:gd name="connsiteX4" fmla="*/ 643448 w 1504950"/>
                  <a:gd name="connsiteY4" fmla="*/ 27146 h 1152525"/>
                  <a:gd name="connsiteX5" fmla="*/ 645353 w 1504950"/>
                  <a:gd name="connsiteY5" fmla="*/ 26194 h 1152525"/>
                  <a:gd name="connsiteX6" fmla="*/ 646305 w 1504950"/>
                  <a:gd name="connsiteY6" fmla="*/ 25241 h 1152525"/>
                  <a:gd name="connsiteX7" fmla="*/ 649163 w 1504950"/>
                  <a:gd name="connsiteY7" fmla="*/ 21431 h 1152525"/>
                  <a:gd name="connsiteX8" fmla="*/ 662498 w 1504950"/>
                  <a:gd name="connsiteY8" fmla="*/ 10954 h 1152525"/>
                  <a:gd name="connsiteX9" fmla="*/ 670118 w 1504950"/>
                  <a:gd name="connsiteY9" fmla="*/ 10954 h 1152525"/>
                  <a:gd name="connsiteX10" fmla="*/ 672023 w 1504950"/>
                  <a:gd name="connsiteY10" fmla="*/ 10954 h 1152525"/>
                  <a:gd name="connsiteX11" fmla="*/ 677738 w 1504950"/>
                  <a:gd name="connsiteY11" fmla="*/ 15716 h 1152525"/>
                  <a:gd name="connsiteX12" fmla="*/ 678690 w 1504950"/>
                  <a:gd name="connsiteY12" fmla="*/ 20479 h 1152525"/>
                  <a:gd name="connsiteX13" fmla="*/ 676785 w 1504950"/>
                  <a:gd name="connsiteY13" fmla="*/ 30004 h 1152525"/>
                  <a:gd name="connsiteX14" fmla="*/ 670118 w 1504950"/>
                  <a:gd name="connsiteY14" fmla="*/ 47149 h 1152525"/>
                  <a:gd name="connsiteX15" fmla="*/ 669165 w 1504950"/>
                  <a:gd name="connsiteY15" fmla="*/ 49054 h 1152525"/>
                  <a:gd name="connsiteX16" fmla="*/ 666308 w 1504950"/>
                  <a:gd name="connsiteY16" fmla="*/ 56674 h 1152525"/>
                  <a:gd name="connsiteX17" fmla="*/ 651068 w 1504950"/>
                  <a:gd name="connsiteY17" fmla="*/ 77629 h 1152525"/>
                  <a:gd name="connsiteX18" fmla="*/ 638685 w 1504950"/>
                  <a:gd name="connsiteY18" fmla="*/ 99536 h 1152525"/>
                  <a:gd name="connsiteX19" fmla="*/ 635828 w 1504950"/>
                  <a:gd name="connsiteY19" fmla="*/ 108109 h 1152525"/>
                  <a:gd name="connsiteX20" fmla="*/ 633923 w 1504950"/>
                  <a:gd name="connsiteY20" fmla="*/ 117634 h 1152525"/>
                  <a:gd name="connsiteX21" fmla="*/ 632970 w 1504950"/>
                  <a:gd name="connsiteY21" fmla="*/ 136684 h 1152525"/>
                  <a:gd name="connsiteX22" fmla="*/ 632970 w 1504950"/>
                  <a:gd name="connsiteY22" fmla="*/ 137636 h 1152525"/>
                  <a:gd name="connsiteX23" fmla="*/ 631065 w 1504950"/>
                  <a:gd name="connsiteY23" fmla="*/ 150019 h 1152525"/>
                  <a:gd name="connsiteX24" fmla="*/ 629160 w 1504950"/>
                  <a:gd name="connsiteY24" fmla="*/ 154781 h 1152525"/>
                  <a:gd name="connsiteX25" fmla="*/ 626303 w 1504950"/>
                  <a:gd name="connsiteY25" fmla="*/ 164306 h 1152525"/>
                  <a:gd name="connsiteX26" fmla="*/ 624398 w 1504950"/>
                  <a:gd name="connsiteY26" fmla="*/ 167164 h 1152525"/>
                  <a:gd name="connsiteX27" fmla="*/ 629160 w 1504950"/>
                  <a:gd name="connsiteY27" fmla="*/ 172879 h 1152525"/>
                  <a:gd name="connsiteX28" fmla="*/ 632970 w 1504950"/>
                  <a:gd name="connsiteY28" fmla="*/ 178594 h 1152525"/>
                  <a:gd name="connsiteX29" fmla="*/ 639638 w 1504950"/>
                  <a:gd name="connsiteY29" fmla="*/ 185261 h 1152525"/>
                  <a:gd name="connsiteX30" fmla="*/ 648210 w 1504950"/>
                  <a:gd name="connsiteY30" fmla="*/ 191929 h 1152525"/>
                  <a:gd name="connsiteX31" fmla="*/ 652020 w 1504950"/>
                  <a:gd name="connsiteY31" fmla="*/ 194786 h 1152525"/>
                  <a:gd name="connsiteX32" fmla="*/ 658688 w 1504950"/>
                  <a:gd name="connsiteY32" fmla="*/ 195739 h 1152525"/>
                  <a:gd name="connsiteX33" fmla="*/ 669165 w 1504950"/>
                  <a:gd name="connsiteY33" fmla="*/ 194786 h 1152525"/>
                  <a:gd name="connsiteX34" fmla="*/ 678690 w 1504950"/>
                  <a:gd name="connsiteY34" fmla="*/ 191929 h 1152525"/>
                  <a:gd name="connsiteX35" fmla="*/ 681548 w 1504950"/>
                  <a:gd name="connsiteY35" fmla="*/ 190976 h 1152525"/>
                  <a:gd name="connsiteX36" fmla="*/ 686310 w 1504950"/>
                  <a:gd name="connsiteY36" fmla="*/ 189071 h 1152525"/>
                  <a:gd name="connsiteX37" fmla="*/ 691073 w 1504950"/>
                  <a:gd name="connsiteY37" fmla="*/ 186214 h 1152525"/>
                  <a:gd name="connsiteX38" fmla="*/ 696788 w 1504950"/>
                  <a:gd name="connsiteY38" fmla="*/ 182404 h 1152525"/>
                  <a:gd name="connsiteX39" fmla="*/ 702503 w 1504950"/>
                  <a:gd name="connsiteY39" fmla="*/ 177641 h 1152525"/>
                  <a:gd name="connsiteX40" fmla="*/ 706313 w 1504950"/>
                  <a:gd name="connsiteY40" fmla="*/ 173831 h 1152525"/>
                  <a:gd name="connsiteX41" fmla="*/ 713933 w 1504950"/>
                  <a:gd name="connsiteY41" fmla="*/ 166211 h 1152525"/>
                  <a:gd name="connsiteX42" fmla="*/ 728220 w 1504950"/>
                  <a:gd name="connsiteY42" fmla="*/ 144304 h 1152525"/>
                  <a:gd name="connsiteX43" fmla="*/ 730125 w 1504950"/>
                  <a:gd name="connsiteY43" fmla="*/ 139541 h 1152525"/>
                  <a:gd name="connsiteX44" fmla="*/ 732030 w 1504950"/>
                  <a:gd name="connsiteY44" fmla="*/ 133826 h 1152525"/>
                  <a:gd name="connsiteX45" fmla="*/ 737745 w 1504950"/>
                  <a:gd name="connsiteY45" fmla="*/ 116681 h 1152525"/>
                  <a:gd name="connsiteX46" fmla="*/ 742508 w 1504950"/>
                  <a:gd name="connsiteY46" fmla="*/ 110014 h 1152525"/>
                  <a:gd name="connsiteX47" fmla="*/ 744413 w 1504950"/>
                  <a:gd name="connsiteY47" fmla="*/ 107156 h 1152525"/>
                  <a:gd name="connsiteX48" fmla="*/ 749175 w 1504950"/>
                  <a:gd name="connsiteY48" fmla="*/ 102394 h 1152525"/>
                  <a:gd name="connsiteX49" fmla="*/ 753938 w 1504950"/>
                  <a:gd name="connsiteY49" fmla="*/ 98584 h 1152525"/>
                  <a:gd name="connsiteX50" fmla="*/ 760605 w 1504950"/>
                  <a:gd name="connsiteY50" fmla="*/ 97631 h 1152525"/>
                  <a:gd name="connsiteX51" fmla="*/ 762510 w 1504950"/>
                  <a:gd name="connsiteY51" fmla="*/ 97631 h 1152525"/>
                  <a:gd name="connsiteX52" fmla="*/ 764415 w 1504950"/>
                  <a:gd name="connsiteY52" fmla="*/ 98584 h 1152525"/>
                  <a:gd name="connsiteX53" fmla="*/ 766320 w 1504950"/>
                  <a:gd name="connsiteY53" fmla="*/ 100489 h 1152525"/>
                  <a:gd name="connsiteX54" fmla="*/ 767273 w 1504950"/>
                  <a:gd name="connsiteY54" fmla="*/ 103346 h 1152525"/>
                  <a:gd name="connsiteX55" fmla="*/ 768225 w 1504950"/>
                  <a:gd name="connsiteY55" fmla="*/ 105251 h 1152525"/>
                  <a:gd name="connsiteX56" fmla="*/ 766320 w 1504950"/>
                  <a:gd name="connsiteY56" fmla="*/ 111919 h 1152525"/>
                  <a:gd name="connsiteX57" fmla="*/ 757748 w 1504950"/>
                  <a:gd name="connsiteY57" fmla="*/ 138589 h 1152525"/>
                  <a:gd name="connsiteX58" fmla="*/ 753938 w 1504950"/>
                  <a:gd name="connsiteY58" fmla="*/ 149066 h 1152525"/>
                  <a:gd name="connsiteX59" fmla="*/ 753938 w 1504950"/>
                  <a:gd name="connsiteY59" fmla="*/ 158591 h 1152525"/>
                  <a:gd name="connsiteX60" fmla="*/ 755843 w 1504950"/>
                  <a:gd name="connsiteY60" fmla="*/ 161449 h 1152525"/>
                  <a:gd name="connsiteX61" fmla="*/ 759653 w 1504950"/>
                  <a:gd name="connsiteY61" fmla="*/ 164306 h 1152525"/>
                  <a:gd name="connsiteX62" fmla="*/ 764415 w 1504950"/>
                  <a:gd name="connsiteY62" fmla="*/ 165259 h 1152525"/>
                  <a:gd name="connsiteX63" fmla="*/ 772035 w 1504950"/>
                  <a:gd name="connsiteY63" fmla="*/ 165259 h 1152525"/>
                  <a:gd name="connsiteX64" fmla="*/ 781560 w 1504950"/>
                  <a:gd name="connsiteY64" fmla="*/ 162401 h 1152525"/>
                  <a:gd name="connsiteX65" fmla="*/ 800610 w 1504950"/>
                  <a:gd name="connsiteY65" fmla="*/ 153829 h 1152525"/>
                  <a:gd name="connsiteX66" fmla="*/ 816803 w 1504950"/>
                  <a:gd name="connsiteY66" fmla="*/ 147161 h 1152525"/>
                  <a:gd name="connsiteX67" fmla="*/ 820613 w 1504950"/>
                  <a:gd name="connsiteY67" fmla="*/ 147161 h 1152525"/>
                  <a:gd name="connsiteX68" fmla="*/ 823470 w 1504950"/>
                  <a:gd name="connsiteY68" fmla="*/ 149066 h 1152525"/>
                  <a:gd name="connsiteX69" fmla="*/ 825375 w 1504950"/>
                  <a:gd name="connsiteY69" fmla="*/ 150971 h 1152525"/>
                  <a:gd name="connsiteX70" fmla="*/ 825375 w 1504950"/>
                  <a:gd name="connsiteY70" fmla="*/ 155734 h 1152525"/>
                  <a:gd name="connsiteX71" fmla="*/ 823470 w 1504950"/>
                  <a:gd name="connsiteY71" fmla="*/ 160496 h 1152525"/>
                  <a:gd name="connsiteX72" fmla="*/ 823470 w 1504950"/>
                  <a:gd name="connsiteY72" fmla="*/ 161449 h 1152525"/>
                  <a:gd name="connsiteX73" fmla="*/ 821565 w 1504950"/>
                  <a:gd name="connsiteY73" fmla="*/ 166211 h 1152525"/>
                  <a:gd name="connsiteX74" fmla="*/ 821565 w 1504950"/>
                  <a:gd name="connsiteY74" fmla="*/ 167164 h 1152525"/>
                  <a:gd name="connsiteX75" fmla="*/ 820613 w 1504950"/>
                  <a:gd name="connsiteY75" fmla="*/ 170021 h 1152525"/>
                  <a:gd name="connsiteX76" fmla="*/ 817755 w 1504950"/>
                  <a:gd name="connsiteY76" fmla="*/ 172879 h 1152525"/>
                  <a:gd name="connsiteX77" fmla="*/ 814898 w 1504950"/>
                  <a:gd name="connsiteY77" fmla="*/ 177641 h 1152525"/>
                  <a:gd name="connsiteX78" fmla="*/ 811088 w 1504950"/>
                  <a:gd name="connsiteY78" fmla="*/ 181451 h 1152525"/>
                  <a:gd name="connsiteX79" fmla="*/ 803468 w 1504950"/>
                  <a:gd name="connsiteY79" fmla="*/ 187166 h 1152525"/>
                  <a:gd name="connsiteX80" fmla="*/ 792038 w 1504950"/>
                  <a:gd name="connsiteY80" fmla="*/ 191929 h 1152525"/>
                  <a:gd name="connsiteX81" fmla="*/ 779655 w 1504950"/>
                  <a:gd name="connsiteY81" fmla="*/ 194786 h 1152525"/>
                  <a:gd name="connsiteX82" fmla="*/ 775845 w 1504950"/>
                  <a:gd name="connsiteY82" fmla="*/ 195739 h 1152525"/>
                  <a:gd name="connsiteX83" fmla="*/ 767273 w 1504950"/>
                  <a:gd name="connsiteY83" fmla="*/ 195739 h 1152525"/>
                  <a:gd name="connsiteX84" fmla="*/ 756795 w 1504950"/>
                  <a:gd name="connsiteY84" fmla="*/ 196691 h 1152525"/>
                  <a:gd name="connsiteX85" fmla="*/ 747270 w 1504950"/>
                  <a:gd name="connsiteY85" fmla="*/ 197644 h 1152525"/>
                  <a:gd name="connsiteX86" fmla="*/ 739650 w 1504950"/>
                  <a:gd name="connsiteY86" fmla="*/ 199549 h 1152525"/>
                  <a:gd name="connsiteX87" fmla="*/ 732030 w 1504950"/>
                  <a:gd name="connsiteY87" fmla="*/ 201454 h 1152525"/>
                  <a:gd name="connsiteX88" fmla="*/ 723458 w 1504950"/>
                  <a:gd name="connsiteY88" fmla="*/ 203359 h 1152525"/>
                  <a:gd name="connsiteX89" fmla="*/ 698693 w 1504950"/>
                  <a:gd name="connsiteY89" fmla="*/ 213836 h 1152525"/>
                  <a:gd name="connsiteX90" fmla="*/ 674880 w 1504950"/>
                  <a:gd name="connsiteY90" fmla="*/ 234791 h 1152525"/>
                  <a:gd name="connsiteX91" fmla="*/ 671070 w 1504950"/>
                  <a:gd name="connsiteY91" fmla="*/ 241459 h 1152525"/>
                  <a:gd name="connsiteX92" fmla="*/ 668213 w 1504950"/>
                  <a:gd name="connsiteY92" fmla="*/ 249079 h 1152525"/>
                  <a:gd name="connsiteX93" fmla="*/ 666308 w 1504950"/>
                  <a:gd name="connsiteY93" fmla="*/ 263366 h 1152525"/>
                  <a:gd name="connsiteX94" fmla="*/ 664403 w 1504950"/>
                  <a:gd name="connsiteY94" fmla="*/ 277654 h 1152525"/>
                  <a:gd name="connsiteX95" fmla="*/ 663450 w 1504950"/>
                  <a:gd name="connsiteY95" fmla="*/ 283369 h 1152525"/>
                  <a:gd name="connsiteX96" fmla="*/ 659640 w 1504950"/>
                  <a:gd name="connsiteY96" fmla="*/ 294799 h 1152525"/>
                  <a:gd name="connsiteX97" fmla="*/ 658688 w 1504950"/>
                  <a:gd name="connsiteY97" fmla="*/ 297656 h 1152525"/>
                  <a:gd name="connsiteX98" fmla="*/ 633923 w 1504950"/>
                  <a:gd name="connsiteY98" fmla="*/ 332899 h 1152525"/>
                  <a:gd name="connsiteX99" fmla="*/ 622493 w 1504950"/>
                  <a:gd name="connsiteY99" fmla="*/ 342424 h 1152525"/>
                  <a:gd name="connsiteX100" fmla="*/ 610110 w 1504950"/>
                  <a:gd name="connsiteY100" fmla="*/ 350996 h 1152525"/>
                  <a:gd name="connsiteX101" fmla="*/ 574868 w 1504950"/>
                  <a:gd name="connsiteY101" fmla="*/ 367189 h 1152525"/>
                  <a:gd name="connsiteX102" fmla="*/ 552008 w 1504950"/>
                  <a:gd name="connsiteY102" fmla="*/ 373856 h 1152525"/>
                  <a:gd name="connsiteX103" fmla="*/ 470093 w 1504950"/>
                  <a:gd name="connsiteY103" fmla="*/ 412909 h 1152525"/>
                  <a:gd name="connsiteX104" fmla="*/ 468188 w 1504950"/>
                  <a:gd name="connsiteY104" fmla="*/ 411004 h 1152525"/>
                  <a:gd name="connsiteX105" fmla="*/ 468188 w 1504950"/>
                  <a:gd name="connsiteY105" fmla="*/ 418624 h 1152525"/>
                  <a:gd name="connsiteX106" fmla="*/ 513908 w 1504950"/>
                  <a:gd name="connsiteY106" fmla="*/ 537686 h 1152525"/>
                  <a:gd name="connsiteX107" fmla="*/ 600585 w 1504950"/>
                  <a:gd name="connsiteY107" fmla="*/ 638651 h 1152525"/>
                  <a:gd name="connsiteX108" fmla="*/ 680595 w 1504950"/>
                  <a:gd name="connsiteY108" fmla="*/ 693896 h 1152525"/>
                  <a:gd name="connsiteX109" fmla="*/ 793943 w 1504950"/>
                  <a:gd name="connsiteY109" fmla="*/ 722471 h 1152525"/>
                  <a:gd name="connsiteX110" fmla="*/ 831090 w 1504950"/>
                  <a:gd name="connsiteY110" fmla="*/ 727234 h 1152525"/>
                  <a:gd name="connsiteX111" fmla="*/ 899670 w 1504950"/>
                  <a:gd name="connsiteY111" fmla="*/ 731044 h 1152525"/>
                  <a:gd name="connsiteX112" fmla="*/ 1002540 w 1504950"/>
                  <a:gd name="connsiteY112" fmla="*/ 736759 h 1152525"/>
                  <a:gd name="connsiteX113" fmla="*/ 1051118 w 1504950"/>
                  <a:gd name="connsiteY113" fmla="*/ 738664 h 1152525"/>
                  <a:gd name="connsiteX114" fmla="*/ 1096838 w 1504950"/>
                  <a:gd name="connsiteY114" fmla="*/ 681514 h 1152525"/>
                  <a:gd name="connsiteX115" fmla="*/ 1126365 w 1504950"/>
                  <a:gd name="connsiteY115" fmla="*/ 639604 h 1152525"/>
                  <a:gd name="connsiteX116" fmla="*/ 1199708 w 1504950"/>
                  <a:gd name="connsiteY116" fmla="*/ 612934 h 1152525"/>
                  <a:gd name="connsiteX117" fmla="*/ 1183515 w 1504950"/>
                  <a:gd name="connsiteY117" fmla="*/ 639604 h 1152525"/>
                  <a:gd name="connsiteX118" fmla="*/ 1148273 w 1504950"/>
                  <a:gd name="connsiteY118" fmla="*/ 692944 h 1152525"/>
                  <a:gd name="connsiteX119" fmla="*/ 1143510 w 1504950"/>
                  <a:gd name="connsiteY119" fmla="*/ 708184 h 1152525"/>
                  <a:gd name="connsiteX120" fmla="*/ 1135890 w 1504950"/>
                  <a:gd name="connsiteY120" fmla="*/ 781526 h 1152525"/>
                  <a:gd name="connsiteX121" fmla="*/ 1137795 w 1504950"/>
                  <a:gd name="connsiteY121" fmla="*/ 853916 h 1152525"/>
                  <a:gd name="connsiteX122" fmla="*/ 1153035 w 1504950"/>
                  <a:gd name="connsiteY122" fmla="*/ 935831 h 1152525"/>
                  <a:gd name="connsiteX123" fmla="*/ 1241618 w 1504950"/>
                  <a:gd name="connsiteY123" fmla="*/ 954881 h 1152525"/>
                  <a:gd name="connsiteX124" fmla="*/ 1278765 w 1504950"/>
                  <a:gd name="connsiteY124" fmla="*/ 977741 h 1152525"/>
                  <a:gd name="connsiteX125" fmla="*/ 1320675 w 1504950"/>
                  <a:gd name="connsiteY125" fmla="*/ 1014889 h 1152525"/>
                  <a:gd name="connsiteX126" fmla="*/ 1428308 w 1504950"/>
                  <a:gd name="connsiteY126" fmla="*/ 1057751 h 1152525"/>
                  <a:gd name="connsiteX127" fmla="*/ 1454978 w 1504950"/>
                  <a:gd name="connsiteY127" fmla="*/ 1061561 h 1152525"/>
                  <a:gd name="connsiteX128" fmla="*/ 1499745 w 1504950"/>
                  <a:gd name="connsiteY128" fmla="*/ 1095851 h 1152525"/>
                  <a:gd name="connsiteX129" fmla="*/ 1476885 w 1504950"/>
                  <a:gd name="connsiteY129" fmla="*/ 1103471 h 1152525"/>
                  <a:gd name="connsiteX130" fmla="*/ 1456883 w 1504950"/>
                  <a:gd name="connsiteY130" fmla="*/ 1107281 h 1152525"/>
                  <a:gd name="connsiteX131" fmla="*/ 1463550 w 1504950"/>
                  <a:gd name="connsiteY131" fmla="*/ 1123474 h 1152525"/>
                  <a:gd name="connsiteX132" fmla="*/ 1457835 w 1504950"/>
                  <a:gd name="connsiteY132" fmla="*/ 1144429 h 1152525"/>
                  <a:gd name="connsiteX133" fmla="*/ 1438785 w 1504950"/>
                  <a:gd name="connsiteY133" fmla="*/ 1148239 h 1152525"/>
                  <a:gd name="connsiteX134" fmla="*/ 1428308 w 1504950"/>
                  <a:gd name="connsiteY134" fmla="*/ 1149191 h 1152525"/>
                  <a:gd name="connsiteX135" fmla="*/ 1411163 w 1504950"/>
                  <a:gd name="connsiteY135" fmla="*/ 1142524 h 1152525"/>
                  <a:gd name="connsiteX136" fmla="*/ 1381635 w 1504950"/>
                  <a:gd name="connsiteY136" fmla="*/ 1128236 h 1152525"/>
                  <a:gd name="connsiteX137" fmla="*/ 1298768 w 1504950"/>
                  <a:gd name="connsiteY137" fmla="*/ 1075849 h 1152525"/>
                  <a:gd name="connsiteX138" fmla="*/ 1256858 w 1504950"/>
                  <a:gd name="connsiteY138" fmla="*/ 1047274 h 1152525"/>
                  <a:gd name="connsiteX139" fmla="*/ 1179705 w 1504950"/>
                  <a:gd name="connsiteY139" fmla="*/ 1032986 h 1152525"/>
                  <a:gd name="connsiteX140" fmla="*/ 1113030 w 1504950"/>
                  <a:gd name="connsiteY140" fmla="*/ 1038701 h 1152525"/>
                  <a:gd name="connsiteX141" fmla="*/ 972060 w 1504950"/>
                  <a:gd name="connsiteY141" fmla="*/ 992981 h 1152525"/>
                  <a:gd name="connsiteX142" fmla="*/ 840615 w 1504950"/>
                  <a:gd name="connsiteY142" fmla="*/ 952024 h 1152525"/>
                  <a:gd name="connsiteX143" fmla="*/ 789180 w 1504950"/>
                  <a:gd name="connsiteY143" fmla="*/ 961549 h 1152525"/>
                  <a:gd name="connsiteX144" fmla="*/ 772988 w 1504950"/>
                  <a:gd name="connsiteY144" fmla="*/ 966311 h 1152525"/>
                  <a:gd name="connsiteX145" fmla="*/ 696788 w 1504950"/>
                  <a:gd name="connsiteY145" fmla="*/ 960596 h 1152525"/>
                  <a:gd name="connsiteX146" fmla="*/ 572963 w 1504950"/>
                  <a:gd name="connsiteY146" fmla="*/ 925354 h 1152525"/>
                  <a:gd name="connsiteX147" fmla="*/ 539625 w 1504950"/>
                  <a:gd name="connsiteY147" fmla="*/ 916781 h 1152525"/>
                  <a:gd name="connsiteX148" fmla="*/ 519623 w 1504950"/>
                  <a:gd name="connsiteY148" fmla="*/ 910114 h 1152525"/>
                  <a:gd name="connsiteX149" fmla="*/ 475808 w 1504950"/>
                  <a:gd name="connsiteY149" fmla="*/ 911066 h 1152525"/>
                  <a:gd name="connsiteX150" fmla="*/ 364365 w 1504950"/>
                  <a:gd name="connsiteY150" fmla="*/ 894874 h 1152525"/>
                  <a:gd name="connsiteX151" fmla="*/ 221490 w 1504950"/>
                  <a:gd name="connsiteY151" fmla="*/ 929164 h 1152525"/>
                  <a:gd name="connsiteX152" fmla="*/ 176723 w 1504950"/>
                  <a:gd name="connsiteY152" fmla="*/ 961549 h 1152525"/>
                  <a:gd name="connsiteX153" fmla="*/ 153863 w 1504950"/>
                  <a:gd name="connsiteY153" fmla="*/ 984409 h 1152525"/>
                  <a:gd name="connsiteX154" fmla="*/ 102428 w 1504950"/>
                  <a:gd name="connsiteY154" fmla="*/ 1012984 h 1152525"/>
                  <a:gd name="connsiteX155" fmla="*/ 69090 w 1504950"/>
                  <a:gd name="connsiteY155" fmla="*/ 1019651 h 1152525"/>
                  <a:gd name="connsiteX156" fmla="*/ 85283 w 1504950"/>
                  <a:gd name="connsiteY156" fmla="*/ 995839 h 1152525"/>
                  <a:gd name="connsiteX157" fmla="*/ 111000 w 1504950"/>
                  <a:gd name="connsiteY157" fmla="*/ 967264 h 1152525"/>
                  <a:gd name="connsiteX158" fmla="*/ 132908 w 1504950"/>
                  <a:gd name="connsiteY158" fmla="*/ 945356 h 1152525"/>
                  <a:gd name="connsiteX159" fmla="*/ 172913 w 1504950"/>
                  <a:gd name="connsiteY159" fmla="*/ 912019 h 1152525"/>
                  <a:gd name="connsiteX160" fmla="*/ 198630 w 1504950"/>
                  <a:gd name="connsiteY160" fmla="*/ 892969 h 1152525"/>
                  <a:gd name="connsiteX161" fmla="*/ 144338 w 1504950"/>
                  <a:gd name="connsiteY161" fmla="*/ 908209 h 1152525"/>
                  <a:gd name="connsiteX162" fmla="*/ 30990 w 1504950"/>
                  <a:gd name="connsiteY162" fmla="*/ 932021 h 1152525"/>
                  <a:gd name="connsiteX163" fmla="*/ 7178 w 1504950"/>
                  <a:gd name="connsiteY163" fmla="*/ 924401 h 1152525"/>
                  <a:gd name="connsiteX164" fmla="*/ 123383 w 1504950"/>
                  <a:gd name="connsiteY164" fmla="*/ 878681 h 1152525"/>
                  <a:gd name="connsiteX165" fmla="*/ 245303 w 1504950"/>
                  <a:gd name="connsiteY165" fmla="*/ 839629 h 1152525"/>
                  <a:gd name="connsiteX166" fmla="*/ 362460 w 1504950"/>
                  <a:gd name="connsiteY166" fmla="*/ 826294 h 1152525"/>
                  <a:gd name="connsiteX167" fmla="*/ 405323 w 1504950"/>
                  <a:gd name="connsiteY167" fmla="*/ 820579 h 1152525"/>
                  <a:gd name="connsiteX168" fmla="*/ 401513 w 1504950"/>
                  <a:gd name="connsiteY168" fmla="*/ 768191 h 1152525"/>
                  <a:gd name="connsiteX169" fmla="*/ 381510 w 1504950"/>
                  <a:gd name="connsiteY169" fmla="*/ 731044 h 1152525"/>
                  <a:gd name="connsiteX170" fmla="*/ 361508 w 1504950"/>
                  <a:gd name="connsiteY170" fmla="*/ 704374 h 1152525"/>
                  <a:gd name="connsiteX171" fmla="*/ 350078 w 1504950"/>
                  <a:gd name="connsiteY171" fmla="*/ 612934 h 1152525"/>
                  <a:gd name="connsiteX172" fmla="*/ 354840 w 1504950"/>
                  <a:gd name="connsiteY172" fmla="*/ 546259 h 1152525"/>
                  <a:gd name="connsiteX173" fmla="*/ 335790 w 1504950"/>
                  <a:gd name="connsiteY173" fmla="*/ 522446 h 1152525"/>
                  <a:gd name="connsiteX174" fmla="*/ 249113 w 1504950"/>
                  <a:gd name="connsiteY174" fmla="*/ 499586 h 1152525"/>
                  <a:gd name="connsiteX175" fmla="*/ 232920 w 1504950"/>
                  <a:gd name="connsiteY175" fmla="*/ 476726 h 1152525"/>
                  <a:gd name="connsiteX176" fmla="*/ 274830 w 1504950"/>
                  <a:gd name="connsiteY176" fmla="*/ 442436 h 1152525"/>
                  <a:gd name="connsiteX177" fmla="*/ 356745 w 1504950"/>
                  <a:gd name="connsiteY177" fmla="*/ 417671 h 1152525"/>
                  <a:gd name="connsiteX178" fmla="*/ 345315 w 1504950"/>
                  <a:gd name="connsiteY178" fmla="*/ 413861 h 1152525"/>
                  <a:gd name="connsiteX179" fmla="*/ 295785 w 1504950"/>
                  <a:gd name="connsiteY179" fmla="*/ 405289 h 1152525"/>
                  <a:gd name="connsiteX180" fmla="*/ 267210 w 1504950"/>
                  <a:gd name="connsiteY180" fmla="*/ 400526 h 1152525"/>
                  <a:gd name="connsiteX181" fmla="*/ 244350 w 1504950"/>
                  <a:gd name="connsiteY181" fmla="*/ 393859 h 1152525"/>
                  <a:gd name="connsiteX182" fmla="*/ 230063 w 1504950"/>
                  <a:gd name="connsiteY182" fmla="*/ 386239 h 1152525"/>
                  <a:gd name="connsiteX183" fmla="*/ 227205 w 1504950"/>
                  <a:gd name="connsiteY183" fmla="*/ 375761 h 1152525"/>
                  <a:gd name="connsiteX184" fmla="*/ 235778 w 1504950"/>
                  <a:gd name="connsiteY184" fmla="*/ 369094 h 1152525"/>
                  <a:gd name="connsiteX185" fmla="*/ 251018 w 1504950"/>
                  <a:gd name="connsiteY185" fmla="*/ 370999 h 1152525"/>
                  <a:gd name="connsiteX186" fmla="*/ 246255 w 1504950"/>
                  <a:gd name="connsiteY186" fmla="*/ 361474 h 1152525"/>
                  <a:gd name="connsiteX187" fmla="*/ 242445 w 1504950"/>
                  <a:gd name="connsiteY187" fmla="*/ 350996 h 1152525"/>
                  <a:gd name="connsiteX188" fmla="*/ 240540 w 1504950"/>
                  <a:gd name="connsiteY188" fmla="*/ 340519 h 1152525"/>
                  <a:gd name="connsiteX189" fmla="*/ 236730 w 1504950"/>
                  <a:gd name="connsiteY189" fmla="*/ 298609 h 1152525"/>
                  <a:gd name="connsiteX190" fmla="*/ 229110 w 1504950"/>
                  <a:gd name="connsiteY190" fmla="*/ 288131 h 1152525"/>
                  <a:gd name="connsiteX191" fmla="*/ 225300 w 1504950"/>
                  <a:gd name="connsiteY191" fmla="*/ 278606 h 1152525"/>
                  <a:gd name="connsiteX192" fmla="*/ 231015 w 1504950"/>
                  <a:gd name="connsiteY192" fmla="*/ 270034 h 1152525"/>
                  <a:gd name="connsiteX193" fmla="*/ 241493 w 1504950"/>
                  <a:gd name="connsiteY193" fmla="*/ 271939 h 1152525"/>
                  <a:gd name="connsiteX194" fmla="*/ 253875 w 1504950"/>
                  <a:gd name="connsiteY194" fmla="*/ 280511 h 1152525"/>
                  <a:gd name="connsiteX195" fmla="*/ 268163 w 1504950"/>
                  <a:gd name="connsiteY195" fmla="*/ 288131 h 1152525"/>
                  <a:gd name="connsiteX196" fmla="*/ 279593 w 1504950"/>
                  <a:gd name="connsiteY196" fmla="*/ 290989 h 1152525"/>
                  <a:gd name="connsiteX197" fmla="*/ 274830 w 1504950"/>
                  <a:gd name="connsiteY197" fmla="*/ 284321 h 1152525"/>
                  <a:gd name="connsiteX198" fmla="*/ 271020 w 1504950"/>
                  <a:gd name="connsiteY198" fmla="*/ 273844 h 1152525"/>
                  <a:gd name="connsiteX199" fmla="*/ 266258 w 1504950"/>
                  <a:gd name="connsiteY199" fmla="*/ 259556 h 1152525"/>
                  <a:gd name="connsiteX200" fmla="*/ 264353 w 1504950"/>
                  <a:gd name="connsiteY200" fmla="*/ 252889 h 1152525"/>
                  <a:gd name="connsiteX201" fmla="*/ 269115 w 1504950"/>
                  <a:gd name="connsiteY201" fmla="*/ 244316 h 1152525"/>
                  <a:gd name="connsiteX202" fmla="*/ 277688 w 1504950"/>
                  <a:gd name="connsiteY202" fmla="*/ 245269 h 1152525"/>
                  <a:gd name="connsiteX203" fmla="*/ 286260 w 1504950"/>
                  <a:gd name="connsiteY203" fmla="*/ 253841 h 1152525"/>
                  <a:gd name="connsiteX204" fmla="*/ 295785 w 1504950"/>
                  <a:gd name="connsiteY204" fmla="*/ 269081 h 1152525"/>
                  <a:gd name="connsiteX205" fmla="*/ 307215 w 1504950"/>
                  <a:gd name="connsiteY205" fmla="*/ 284321 h 1152525"/>
                  <a:gd name="connsiteX206" fmla="*/ 328170 w 1504950"/>
                  <a:gd name="connsiteY206" fmla="*/ 305276 h 1152525"/>
                  <a:gd name="connsiteX207" fmla="*/ 349125 w 1504950"/>
                  <a:gd name="connsiteY207" fmla="*/ 318611 h 1152525"/>
                  <a:gd name="connsiteX208" fmla="*/ 351983 w 1504950"/>
                  <a:gd name="connsiteY208" fmla="*/ 319564 h 1152525"/>
                  <a:gd name="connsiteX209" fmla="*/ 362460 w 1504950"/>
                  <a:gd name="connsiteY209" fmla="*/ 316706 h 1152525"/>
                  <a:gd name="connsiteX210" fmla="*/ 364365 w 1504950"/>
                  <a:gd name="connsiteY210" fmla="*/ 313849 h 1152525"/>
                  <a:gd name="connsiteX211" fmla="*/ 364365 w 1504950"/>
                  <a:gd name="connsiteY211" fmla="*/ 309086 h 1152525"/>
                  <a:gd name="connsiteX212" fmla="*/ 365318 w 1504950"/>
                  <a:gd name="connsiteY212" fmla="*/ 292894 h 1152525"/>
                  <a:gd name="connsiteX213" fmla="*/ 372938 w 1504950"/>
                  <a:gd name="connsiteY213" fmla="*/ 276701 h 1152525"/>
                  <a:gd name="connsiteX214" fmla="*/ 385320 w 1504950"/>
                  <a:gd name="connsiteY214" fmla="*/ 276701 h 1152525"/>
                  <a:gd name="connsiteX215" fmla="*/ 388178 w 1504950"/>
                  <a:gd name="connsiteY215" fmla="*/ 285274 h 1152525"/>
                  <a:gd name="connsiteX216" fmla="*/ 387225 w 1504950"/>
                  <a:gd name="connsiteY216" fmla="*/ 334804 h 1152525"/>
                  <a:gd name="connsiteX217" fmla="*/ 446280 w 1504950"/>
                  <a:gd name="connsiteY217" fmla="*/ 355759 h 1152525"/>
                  <a:gd name="connsiteX218" fmla="*/ 455805 w 1504950"/>
                  <a:gd name="connsiteY218" fmla="*/ 350996 h 1152525"/>
                  <a:gd name="connsiteX219" fmla="*/ 470093 w 1504950"/>
                  <a:gd name="connsiteY219" fmla="*/ 339566 h 1152525"/>
                  <a:gd name="connsiteX220" fmla="*/ 501525 w 1504950"/>
                  <a:gd name="connsiteY220" fmla="*/ 309086 h 1152525"/>
                  <a:gd name="connsiteX221" fmla="*/ 516765 w 1504950"/>
                  <a:gd name="connsiteY221" fmla="*/ 283369 h 1152525"/>
                  <a:gd name="connsiteX222" fmla="*/ 517718 w 1504950"/>
                  <a:gd name="connsiteY222" fmla="*/ 281464 h 1152525"/>
                  <a:gd name="connsiteX223" fmla="*/ 522480 w 1504950"/>
                  <a:gd name="connsiteY223" fmla="*/ 262414 h 1152525"/>
                  <a:gd name="connsiteX224" fmla="*/ 518670 w 1504950"/>
                  <a:gd name="connsiteY224" fmla="*/ 243364 h 1152525"/>
                  <a:gd name="connsiteX225" fmla="*/ 511050 w 1504950"/>
                  <a:gd name="connsiteY225" fmla="*/ 229076 h 1152525"/>
                  <a:gd name="connsiteX226" fmla="*/ 496763 w 1504950"/>
                  <a:gd name="connsiteY226" fmla="*/ 210979 h 1152525"/>
                  <a:gd name="connsiteX227" fmla="*/ 476760 w 1504950"/>
                  <a:gd name="connsiteY227" fmla="*/ 198596 h 1152525"/>
                  <a:gd name="connsiteX228" fmla="*/ 457710 w 1504950"/>
                  <a:gd name="connsiteY228" fmla="*/ 190024 h 1152525"/>
                  <a:gd name="connsiteX229" fmla="*/ 448185 w 1504950"/>
                  <a:gd name="connsiteY229" fmla="*/ 186214 h 1152525"/>
                  <a:gd name="connsiteX230" fmla="*/ 433898 w 1504950"/>
                  <a:gd name="connsiteY230" fmla="*/ 181451 h 1152525"/>
                  <a:gd name="connsiteX231" fmla="*/ 411038 w 1504950"/>
                  <a:gd name="connsiteY231" fmla="*/ 174784 h 1152525"/>
                  <a:gd name="connsiteX232" fmla="*/ 400560 w 1504950"/>
                  <a:gd name="connsiteY232" fmla="*/ 171926 h 1152525"/>
                  <a:gd name="connsiteX233" fmla="*/ 387225 w 1504950"/>
                  <a:gd name="connsiteY233" fmla="*/ 163354 h 1152525"/>
                  <a:gd name="connsiteX234" fmla="*/ 385320 w 1504950"/>
                  <a:gd name="connsiteY234" fmla="*/ 153829 h 1152525"/>
                  <a:gd name="connsiteX235" fmla="*/ 395798 w 1504950"/>
                  <a:gd name="connsiteY235" fmla="*/ 145256 h 1152525"/>
                  <a:gd name="connsiteX236" fmla="*/ 411038 w 1504950"/>
                  <a:gd name="connsiteY236" fmla="*/ 144304 h 1152525"/>
                  <a:gd name="connsiteX237" fmla="*/ 428183 w 1504950"/>
                  <a:gd name="connsiteY237" fmla="*/ 148114 h 1152525"/>
                  <a:gd name="connsiteX238" fmla="*/ 467235 w 1504950"/>
                  <a:gd name="connsiteY238" fmla="*/ 131921 h 1152525"/>
                  <a:gd name="connsiteX239" fmla="*/ 464378 w 1504950"/>
                  <a:gd name="connsiteY239" fmla="*/ 123349 h 1152525"/>
                  <a:gd name="connsiteX240" fmla="*/ 459615 w 1504950"/>
                  <a:gd name="connsiteY240" fmla="*/ 93821 h 1152525"/>
                  <a:gd name="connsiteX241" fmla="*/ 465330 w 1504950"/>
                  <a:gd name="connsiteY241" fmla="*/ 85249 h 1152525"/>
                  <a:gd name="connsiteX242" fmla="*/ 473903 w 1504950"/>
                  <a:gd name="connsiteY242" fmla="*/ 85249 h 1152525"/>
                  <a:gd name="connsiteX243" fmla="*/ 480570 w 1504950"/>
                  <a:gd name="connsiteY243" fmla="*/ 90964 h 1152525"/>
                  <a:gd name="connsiteX244" fmla="*/ 484380 w 1504950"/>
                  <a:gd name="connsiteY244" fmla="*/ 101441 h 1152525"/>
                  <a:gd name="connsiteX245" fmla="*/ 490095 w 1504950"/>
                  <a:gd name="connsiteY245" fmla="*/ 114776 h 1152525"/>
                  <a:gd name="connsiteX246" fmla="*/ 496763 w 1504950"/>
                  <a:gd name="connsiteY246" fmla="*/ 126206 h 1152525"/>
                  <a:gd name="connsiteX247" fmla="*/ 501525 w 1504950"/>
                  <a:gd name="connsiteY247" fmla="*/ 132874 h 1152525"/>
                  <a:gd name="connsiteX248" fmla="*/ 505335 w 1504950"/>
                  <a:gd name="connsiteY248" fmla="*/ 132874 h 1152525"/>
                  <a:gd name="connsiteX249" fmla="*/ 512003 w 1504950"/>
                  <a:gd name="connsiteY249" fmla="*/ 133826 h 1152525"/>
                  <a:gd name="connsiteX250" fmla="*/ 530100 w 1504950"/>
                  <a:gd name="connsiteY250" fmla="*/ 138589 h 1152525"/>
                  <a:gd name="connsiteX251" fmla="*/ 548198 w 1504950"/>
                  <a:gd name="connsiteY251" fmla="*/ 144304 h 1152525"/>
                  <a:gd name="connsiteX252" fmla="*/ 570105 w 1504950"/>
                  <a:gd name="connsiteY252" fmla="*/ 150019 h 1152525"/>
                  <a:gd name="connsiteX253" fmla="*/ 591060 w 1504950"/>
                  <a:gd name="connsiteY253" fmla="*/ 151924 h 1152525"/>
                  <a:gd name="connsiteX254" fmla="*/ 594870 w 1504950"/>
                  <a:gd name="connsiteY254" fmla="*/ 148114 h 1152525"/>
                  <a:gd name="connsiteX255" fmla="*/ 598680 w 1504950"/>
                  <a:gd name="connsiteY255" fmla="*/ 141446 h 1152525"/>
                  <a:gd name="connsiteX256" fmla="*/ 599633 w 1504950"/>
                  <a:gd name="connsiteY256" fmla="*/ 140494 h 1152525"/>
                  <a:gd name="connsiteX257" fmla="*/ 601538 w 1504950"/>
                  <a:gd name="connsiteY257" fmla="*/ 132874 h 1152525"/>
                  <a:gd name="connsiteX258" fmla="*/ 602490 w 1504950"/>
                  <a:gd name="connsiteY258" fmla="*/ 124301 h 1152525"/>
                  <a:gd name="connsiteX259" fmla="*/ 601538 w 1504950"/>
                  <a:gd name="connsiteY259" fmla="*/ 117634 h 1152525"/>
                  <a:gd name="connsiteX260" fmla="*/ 599633 w 1504950"/>
                  <a:gd name="connsiteY260" fmla="*/ 114776 h 1152525"/>
                  <a:gd name="connsiteX261" fmla="*/ 595823 w 1504950"/>
                  <a:gd name="connsiteY261" fmla="*/ 110966 h 1152525"/>
                  <a:gd name="connsiteX262" fmla="*/ 591060 w 1504950"/>
                  <a:gd name="connsiteY262" fmla="*/ 105251 h 1152525"/>
                  <a:gd name="connsiteX263" fmla="*/ 585345 w 1504950"/>
                  <a:gd name="connsiteY263" fmla="*/ 100489 h 1152525"/>
                  <a:gd name="connsiteX264" fmla="*/ 575820 w 1504950"/>
                  <a:gd name="connsiteY264" fmla="*/ 92869 h 1152525"/>
                  <a:gd name="connsiteX265" fmla="*/ 568200 w 1504950"/>
                  <a:gd name="connsiteY265" fmla="*/ 87154 h 1152525"/>
                  <a:gd name="connsiteX266" fmla="*/ 558675 w 1504950"/>
                  <a:gd name="connsiteY266" fmla="*/ 76676 h 1152525"/>
                  <a:gd name="connsiteX267" fmla="*/ 554865 w 1504950"/>
                  <a:gd name="connsiteY267" fmla="*/ 70009 h 1152525"/>
                  <a:gd name="connsiteX268" fmla="*/ 555818 w 1504950"/>
                  <a:gd name="connsiteY268" fmla="*/ 61436 h 1152525"/>
                  <a:gd name="connsiteX269" fmla="*/ 571058 w 1504950"/>
                  <a:gd name="connsiteY269" fmla="*/ 57626 h 1152525"/>
                  <a:gd name="connsiteX270" fmla="*/ 602490 w 1504950"/>
                  <a:gd name="connsiteY270" fmla="*/ 80486 h 1152525"/>
                  <a:gd name="connsiteX271" fmla="*/ 605348 w 1504950"/>
                  <a:gd name="connsiteY271" fmla="*/ 82391 h 1152525"/>
                  <a:gd name="connsiteX272" fmla="*/ 607253 w 1504950"/>
                  <a:gd name="connsiteY272" fmla="*/ 82391 h 1152525"/>
                  <a:gd name="connsiteX273" fmla="*/ 619635 w 1504950"/>
                  <a:gd name="connsiteY273" fmla="*/ 75724 h 1152525"/>
                  <a:gd name="connsiteX274" fmla="*/ 623445 w 1504950"/>
                  <a:gd name="connsiteY274" fmla="*/ 68104 h 1152525"/>
                  <a:gd name="connsiteX275" fmla="*/ 623445 w 1504950"/>
                  <a:gd name="connsiteY275" fmla="*/ 67151 h 1152525"/>
                  <a:gd name="connsiteX276" fmla="*/ 624398 w 1504950"/>
                  <a:gd name="connsiteY276" fmla="*/ 58579 h 1152525"/>
                  <a:gd name="connsiteX277" fmla="*/ 621540 w 1504950"/>
                  <a:gd name="connsiteY277" fmla="*/ 51911 h 1152525"/>
                  <a:gd name="connsiteX278" fmla="*/ 614873 w 1504950"/>
                  <a:gd name="connsiteY278" fmla="*/ 43339 h 1152525"/>
                  <a:gd name="connsiteX279" fmla="*/ 604395 w 1504950"/>
                  <a:gd name="connsiteY279" fmla="*/ 27146 h 1152525"/>
                  <a:gd name="connsiteX280" fmla="*/ 604395 w 1504950"/>
                  <a:gd name="connsiteY280" fmla="*/ 20479 h 1152525"/>
                  <a:gd name="connsiteX281" fmla="*/ 609158 w 1504950"/>
                  <a:gd name="connsiteY281" fmla="*/ 15716 h 1152525"/>
                  <a:gd name="connsiteX282" fmla="*/ 614873 w 1504950"/>
                  <a:gd name="connsiteY282" fmla="*/ 7144 h 1152525"/>
                  <a:gd name="connsiteX283" fmla="*/ 614873 w 1504950"/>
                  <a:gd name="connsiteY283" fmla="*/ 7144 h 1152525"/>
                  <a:gd name="connsiteX284" fmla="*/ 614873 w 1504950"/>
                  <a:gd name="connsiteY284" fmla="*/ 7144 h 1152525"/>
                  <a:gd name="connsiteX285" fmla="*/ 496763 w 1504950"/>
                  <a:gd name="connsiteY285" fmla="*/ 160496 h 1152525"/>
                  <a:gd name="connsiteX286" fmla="*/ 492000 w 1504950"/>
                  <a:gd name="connsiteY286" fmla="*/ 162401 h 1152525"/>
                  <a:gd name="connsiteX287" fmla="*/ 492000 w 1504950"/>
                  <a:gd name="connsiteY287" fmla="*/ 166211 h 1152525"/>
                  <a:gd name="connsiteX288" fmla="*/ 506288 w 1504950"/>
                  <a:gd name="connsiteY288" fmla="*/ 178594 h 1152525"/>
                  <a:gd name="connsiteX289" fmla="*/ 520575 w 1504950"/>
                  <a:gd name="connsiteY289" fmla="*/ 187166 h 1152525"/>
                  <a:gd name="connsiteX290" fmla="*/ 525338 w 1504950"/>
                  <a:gd name="connsiteY290" fmla="*/ 188119 h 1152525"/>
                  <a:gd name="connsiteX291" fmla="*/ 542483 w 1504950"/>
                  <a:gd name="connsiteY291" fmla="*/ 189071 h 1152525"/>
                  <a:gd name="connsiteX292" fmla="*/ 547245 w 1504950"/>
                  <a:gd name="connsiteY292" fmla="*/ 189071 h 1152525"/>
                  <a:gd name="connsiteX293" fmla="*/ 547245 w 1504950"/>
                  <a:gd name="connsiteY293" fmla="*/ 190024 h 1152525"/>
                  <a:gd name="connsiteX294" fmla="*/ 554865 w 1504950"/>
                  <a:gd name="connsiteY294" fmla="*/ 195739 h 1152525"/>
                  <a:gd name="connsiteX295" fmla="*/ 555818 w 1504950"/>
                  <a:gd name="connsiteY295" fmla="*/ 198596 h 1152525"/>
                  <a:gd name="connsiteX296" fmla="*/ 553913 w 1504950"/>
                  <a:gd name="connsiteY296" fmla="*/ 203359 h 1152525"/>
                  <a:gd name="connsiteX297" fmla="*/ 553913 w 1504950"/>
                  <a:gd name="connsiteY297" fmla="*/ 204311 h 1152525"/>
                  <a:gd name="connsiteX298" fmla="*/ 550103 w 1504950"/>
                  <a:gd name="connsiteY298" fmla="*/ 211931 h 1152525"/>
                  <a:gd name="connsiteX299" fmla="*/ 548198 w 1504950"/>
                  <a:gd name="connsiteY299" fmla="*/ 217646 h 1152525"/>
                  <a:gd name="connsiteX300" fmla="*/ 548198 w 1504950"/>
                  <a:gd name="connsiteY300" fmla="*/ 221456 h 1152525"/>
                  <a:gd name="connsiteX301" fmla="*/ 551055 w 1504950"/>
                  <a:gd name="connsiteY301" fmla="*/ 230981 h 1152525"/>
                  <a:gd name="connsiteX302" fmla="*/ 552960 w 1504950"/>
                  <a:gd name="connsiteY302" fmla="*/ 258604 h 1152525"/>
                  <a:gd name="connsiteX303" fmla="*/ 552960 w 1504950"/>
                  <a:gd name="connsiteY303" fmla="*/ 264319 h 1152525"/>
                  <a:gd name="connsiteX304" fmla="*/ 570105 w 1504950"/>
                  <a:gd name="connsiteY304" fmla="*/ 258604 h 1152525"/>
                  <a:gd name="connsiteX305" fmla="*/ 579630 w 1504950"/>
                  <a:gd name="connsiteY305" fmla="*/ 253841 h 1152525"/>
                  <a:gd name="connsiteX306" fmla="*/ 587250 w 1504950"/>
                  <a:gd name="connsiteY306" fmla="*/ 253841 h 1152525"/>
                  <a:gd name="connsiteX307" fmla="*/ 592965 w 1504950"/>
                  <a:gd name="connsiteY307" fmla="*/ 263366 h 1152525"/>
                  <a:gd name="connsiteX308" fmla="*/ 592013 w 1504950"/>
                  <a:gd name="connsiteY308" fmla="*/ 269081 h 1152525"/>
                  <a:gd name="connsiteX309" fmla="*/ 590108 w 1504950"/>
                  <a:gd name="connsiteY309" fmla="*/ 271939 h 1152525"/>
                  <a:gd name="connsiteX310" fmla="*/ 583440 w 1504950"/>
                  <a:gd name="connsiteY310" fmla="*/ 278606 h 1152525"/>
                  <a:gd name="connsiteX311" fmla="*/ 566295 w 1504950"/>
                  <a:gd name="connsiteY311" fmla="*/ 290036 h 1152525"/>
                  <a:gd name="connsiteX312" fmla="*/ 549150 w 1504950"/>
                  <a:gd name="connsiteY312" fmla="*/ 302419 h 1152525"/>
                  <a:gd name="connsiteX313" fmla="*/ 520575 w 1504950"/>
                  <a:gd name="connsiteY313" fmla="*/ 328136 h 1152525"/>
                  <a:gd name="connsiteX314" fmla="*/ 502478 w 1504950"/>
                  <a:gd name="connsiteY314" fmla="*/ 346234 h 1152525"/>
                  <a:gd name="connsiteX315" fmla="*/ 494858 w 1504950"/>
                  <a:gd name="connsiteY315" fmla="*/ 353854 h 1152525"/>
                  <a:gd name="connsiteX316" fmla="*/ 495810 w 1504950"/>
                  <a:gd name="connsiteY316" fmla="*/ 353854 h 1152525"/>
                  <a:gd name="connsiteX317" fmla="*/ 562485 w 1504950"/>
                  <a:gd name="connsiteY317" fmla="*/ 337661 h 1152525"/>
                  <a:gd name="connsiteX318" fmla="*/ 585345 w 1504950"/>
                  <a:gd name="connsiteY318" fmla="*/ 327184 h 1152525"/>
                  <a:gd name="connsiteX319" fmla="*/ 610110 w 1504950"/>
                  <a:gd name="connsiteY319" fmla="*/ 308134 h 1152525"/>
                  <a:gd name="connsiteX320" fmla="*/ 624398 w 1504950"/>
                  <a:gd name="connsiteY320" fmla="*/ 289084 h 1152525"/>
                  <a:gd name="connsiteX321" fmla="*/ 628208 w 1504950"/>
                  <a:gd name="connsiteY321" fmla="*/ 282416 h 1152525"/>
                  <a:gd name="connsiteX322" fmla="*/ 632970 w 1504950"/>
                  <a:gd name="connsiteY322" fmla="*/ 257651 h 1152525"/>
                  <a:gd name="connsiteX323" fmla="*/ 618683 w 1504950"/>
                  <a:gd name="connsiteY323" fmla="*/ 212884 h 1152525"/>
                  <a:gd name="connsiteX324" fmla="*/ 595823 w 1504950"/>
                  <a:gd name="connsiteY324" fmla="*/ 190976 h 1152525"/>
                  <a:gd name="connsiteX325" fmla="*/ 565343 w 1504950"/>
                  <a:gd name="connsiteY325" fmla="*/ 175736 h 1152525"/>
                  <a:gd name="connsiteX326" fmla="*/ 555818 w 1504950"/>
                  <a:gd name="connsiteY326" fmla="*/ 171926 h 1152525"/>
                  <a:gd name="connsiteX327" fmla="*/ 528195 w 1504950"/>
                  <a:gd name="connsiteY327" fmla="*/ 163354 h 1152525"/>
                  <a:gd name="connsiteX328" fmla="*/ 523433 w 1504950"/>
                  <a:gd name="connsiteY328" fmla="*/ 162401 h 1152525"/>
                  <a:gd name="connsiteX329" fmla="*/ 518670 w 1504950"/>
                  <a:gd name="connsiteY329" fmla="*/ 161449 h 1152525"/>
                  <a:gd name="connsiteX330" fmla="*/ 514860 w 1504950"/>
                  <a:gd name="connsiteY330" fmla="*/ 161449 h 1152525"/>
                  <a:gd name="connsiteX331" fmla="*/ 502478 w 1504950"/>
                  <a:gd name="connsiteY331" fmla="*/ 159544 h 1152525"/>
                  <a:gd name="connsiteX332" fmla="*/ 496763 w 1504950"/>
                  <a:gd name="connsiteY332" fmla="*/ 160496 h 1152525"/>
                  <a:gd name="connsiteX333" fmla="*/ 496763 w 1504950"/>
                  <a:gd name="connsiteY333" fmla="*/ 160496 h 1152525"/>
                  <a:gd name="connsiteX334" fmla="*/ 273878 w 1504950"/>
                  <a:gd name="connsiteY334" fmla="*/ 309086 h 1152525"/>
                  <a:gd name="connsiteX335" fmla="*/ 272925 w 1504950"/>
                  <a:gd name="connsiteY335" fmla="*/ 336709 h 1152525"/>
                  <a:gd name="connsiteX336" fmla="*/ 289118 w 1504950"/>
                  <a:gd name="connsiteY336" fmla="*/ 367189 h 1152525"/>
                  <a:gd name="connsiteX337" fmla="*/ 296738 w 1504950"/>
                  <a:gd name="connsiteY337" fmla="*/ 373856 h 1152525"/>
                  <a:gd name="connsiteX338" fmla="*/ 303405 w 1504950"/>
                  <a:gd name="connsiteY338" fmla="*/ 376714 h 1152525"/>
                  <a:gd name="connsiteX339" fmla="*/ 307215 w 1504950"/>
                  <a:gd name="connsiteY339" fmla="*/ 378619 h 1152525"/>
                  <a:gd name="connsiteX340" fmla="*/ 309120 w 1504950"/>
                  <a:gd name="connsiteY340" fmla="*/ 379571 h 1152525"/>
                  <a:gd name="connsiteX341" fmla="*/ 312930 w 1504950"/>
                  <a:gd name="connsiteY341" fmla="*/ 379571 h 1152525"/>
                  <a:gd name="connsiteX342" fmla="*/ 311025 w 1504950"/>
                  <a:gd name="connsiteY342" fmla="*/ 369094 h 1152525"/>
                  <a:gd name="connsiteX343" fmla="*/ 306263 w 1504950"/>
                  <a:gd name="connsiteY343" fmla="*/ 353854 h 1152525"/>
                  <a:gd name="connsiteX344" fmla="*/ 306263 w 1504950"/>
                  <a:gd name="connsiteY344" fmla="*/ 350044 h 1152525"/>
                  <a:gd name="connsiteX345" fmla="*/ 311025 w 1504950"/>
                  <a:gd name="connsiteY345" fmla="*/ 346234 h 1152525"/>
                  <a:gd name="connsiteX346" fmla="*/ 321503 w 1504950"/>
                  <a:gd name="connsiteY346" fmla="*/ 346234 h 1152525"/>
                  <a:gd name="connsiteX347" fmla="*/ 324360 w 1504950"/>
                  <a:gd name="connsiteY347" fmla="*/ 347186 h 1152525"/>
                  <a:gd name="connsiteX348" fmla="*/ 335790 w 1504950"/>
                  <a:gd name="connsiteY348" fmla="*/ 355759 h 1152525"/>
                  <a:gd name="connsiteX349" fmla="*/ 346268 w 1504950"/>
                  <a:gd name="connsiteY349" fmla="*/ 367189 h 1152525"/>
                  <a:gd name="connsiteX350" fmla="*/ 353888 w 1504950"/>
                  <a:gd name="connsiteY350" fmla="*/ 378619 h 1152525"/>
                  <a:gd name="connsiteX351" fmla="*/ 356745 w 1504950"/>
                  <a:gd name="connsiteY351" fmla="*/ 382429 h 1152525"/>
                  <a:gd name="connsiteX352" fmla="*/ 398655 w 1504950"/>
                  <a:gd name="connsiteY352" fmla="*/ 396716 h 1152525"/>
                  <a:gd name="connsiteX353" fmla="*/ 409133 w 1504950"/>
                  <a:gd name="connsiteY353" fmla="*/ 398621 h 1152525"/>
                  <a:gd name="connsiteX354" fmla="*/ 415800 w 1504950"/>
                  <a:gd name="connsiteY354" fmla="*/ 399574 h 1152525"/>
                  <a:gd name="connsiteX355" fmla="*/ 414848 w 1504950"/>
                  <a:gd name="connsiteY355" fmla="*/ 390049 h 1152525"/>
                  <a:gd name="connsiteX356" fmla="*/ 410085 w 1504950"/>
                  <a:gd name="connsiteY356" fmla="*/ 378619 h 1152525"/>
                  <a:gd name="connsiteX357" fmla="*/ 398655 w 1504950"/>
                  <a:gd name="connsiteY357" fmla="*/ 366236 h 1152525"/>
                  <a:gd name="connsiteX358" fmla="*/ 380558 w 1504950"/>
                  <a:gd name="connsiteY358" fmla="*/ 353854 h 1152525"/>
                  <a:gd name="connsiteX359" fmla="*/ 343410 w 1504950"/>
                  <a:gd name="connsiteY359" fmla="*/ 334804 h 1152525"/>
                  <a:gd name="connsiteX360" fmla="*/ 335790 w 1504950"/>
                  <a:gd name="connsiteY360" fmla="*/ 331946 h 1152525"/>
                  <a:gd name="connsiteX361" fmla="*/ 330075 w 1504950"/>
                  <a:gd name="connsiteY361" fmla="*/ 329089 h 1152525"/>
                  <a:gd name="connsiteX362" fmla="*/ 317693 w 1504950"/>
                  <a:gd name="connsiteY362" fmla="*/ 324326 h 1152525"/>
                  <a:gd name="connsiteX363" fmla="*/ 289118 w 1504950"/>
                  <a:gd name="connsiteY363" fmla="*/ 313849 h 1152525"/>
                  <a:gd name="connsiteX364" fmla="*/ 273878 w 1504950"/>
                  <a:gd name="connsiteY364" fmla="*/ 309086 h 1152525"/>
                  <a:gd name="connsiteX365" fmla="*/ 273878 w 1504950"/>
                  <a:gd name="connsiteY365" fmla="*/ 309086 h 1152525"/>
                  <a:gd name="connsiteX366" fmla="*/ 273878 w 1504950"/>
                  <a:gd name="connsiteY366" fmla="*/ 309086 h 1152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</a:cxnLst>
                <a:rect l="l" t="t" r="r" b="b"/>
                <a:pathLst>
                  <a:path w="1504950" h="1152525">
                    <a:moveTo>
                      <a:pt x="614873" y="7144"/>
                    </a:moveTo>
                    <a:cubicBezTo>
                      <a:pt x="617730" y="7144"/>
                      <a:pt x="619635" y="7144"/>
                      <a:pt x="621540" y="8096"/>
                    </a:cubicBezTo>
                    <a:cubicBezTo>
                      <a:pt x="623445" y="9049"/>
                      <a:pt x="624398" y="10001"/>
                      <a:pt x="626303" y="10954"/>
                    </a:cubicBezTo>
                    <a:cubicBezTo>
                      <a:pt x="628208" y="12859"/>
                      <a:pt x="630113" y="14764"/>
                      <a:pt x="631065" y="16669"/>
                    </a:cubicBezTo>
                    <a:cubicBezTo>
                      <a:pt x="633923" y="21431"/>
                      <a:pt x="638685" y="24289"/>
                      <a:pt x="643448" y="27146"/>
                    </a:cubicBezTo>
                    <a:lnTo>
                      <a:pt x="645353" y="26194"/>
                    </a:lnTo>
                    <a:lnTo>
                      <a:pt x="646305" y="25241"/>
                    </a:lnTo>
                    <a:cubicBezTo>
                      <a:pt x="647258" y="24289"/>
                      <a:pt x="648210" y="22384"/>
                      <a:pt x="649163" y="21431"/>
                    </a:cubicBezTo>
                    <a:cubicBezTo>
                      <a:pt x="652973" y="16669"/>
                      <a:pt x="656783" y="12859"/>
                      <a:pt x="662498" y="10954"/>
                    </a:cubicBezTo>
                    <a:cubicBezTo>
                      <a:pt x="664403" y="10001"/>
                      <a:pt x="667260" y="10001"/>
                      <a:pt x="670118" y="10954"/>
                    </a:cubicBezTo>
                    <a:cubicBezTo>
                      <a:pt x="671070" y="10954"/>
                      <a:pt x="671070" y="10954"/>
                      <a:pt x="672023" y="10954"/>
                    </a:cubicBezTo>
                    <a:cubicBezTo>
                      <a:pt x="674880" y="11906"/>
                      <a:pt x="676785" y="13811"/>
                      <a:pt x="677738" y="15716"/>
                    </a:cubicBezTo>
                    <a:cubicBezTo>
                      <a:pt x="678690" y="16669"/>
                      <a:pt x="678690" y="18574"/>
                      <a:pt x="678690" y="20479"/>
                    </a:cubicBezTo>
                    <a:cubicBezTo>
                      <a:pt x="678690" y="24289"/>
                      <a:pt x="677738" y="27146"/>
                      <a:pt x="676785" y="30004"/>
                    </a:cubicBezTo>
                    <a:lnTo>
                      <a:pt x="670118" y="47149"/>
                    </a:lnTo>
                    <a:cubicBezTo>
                      <a:pt x="670118" y="48101"/>
                      <a:pt x="669165" y="48101"/>
                      <a:pt x="669165" y="49054"/>
                    </a:cubicBezTo>
                    <a:cubicBezTo>
                      <a:pt x="668213" y="51911"/>
                      <a:pt x="667260" y="54769"/>
                      <a:pt x="666308" y="56674"/>
                    </a:cubicBezTo>
                    <a:cubicBezTo>
                      <a:pt x="662498" y="64294"/>
                      <a:pt x="656783" y="70961"/>
                      <a:pt x="651068" y="77629"/>
                    </a:cubicBezTo>
                    <a:cubicBezTo>
                      <a:pt x="646305" y="85249"/>
                      <a:pt x="641543" y="91916"/>
                      <a:pt x="638685" y="99536"/>
                    </a:cubicBezTo>
                    <a:cubicBezTo>
                      <a:pt x="637733" y="102394"/>
                      <a:pt x="636780" y="105251"/>
                      <a:pt x="635828" y="108109"/>
                    </a:cubicBezTo>
                    <a:cubicBezTo>
                      <a:pt x="634875" y="110966"/>
                      <a:pt x="633923" y="114776"/>
                      <a:pt x="633923" y="117634"/>
                    </a:cubicBezTo>
                    <a:cubicBezTo>
                      <a:pt x="633923" y="125254"/>
                      <a:pt x="632970" y="130016"/>
                      <a:pt x="632970" y="136684"/>
                    </a:cubicBezTo>
                    <a:cubicBezTo>
                      <a:pt x="632970" y="133826"/>
                      <a:pt x="632970" y="135731"/>
                      <a:pt x="632970" y="137636"/>
                    </a:cubicBezTo>
                    <a:cubicBezTo>
                      <a:pt x="632970" y="141446"/>
                      <a:pt x="632018" y="145256"/>
                      <a:pt x="631065" y="150019"/>
                    </a:cubicBezTo>
                    <a:cubicBezTo>
                      <a:pt x="630113" y="151924"/>
                      <a:pt x="629160" y="153829"/>
                      <a:pt x="629160" y="154781"/>
                    </a:cubicBezTo>
                    <a:cubicBezTo>
                      <a:pt x="628208" y="157639"/>
                      <a:pt x="627255" y="161449"/>
                      <a:pt x="626303" y="164306"/>
                    </a:cubicBezTo>
                    <a:cubicBezTo>
                      <a:pt x="625350" y="165259"/>
                      <a:pt x="625350" y="166211"/>
                      <a:pt x="624398" y="167164"/>
                    </a:cubicBezTo>
                    <a:lnTo>
                      <a:pt x="629160" y="172879"/>
                    </a:lnTo>
                    <a:cubicBezTo>
                      <a:pt x="630113" y="174784"/>
                      <a:pt x="631065" y="176689"/>
                      <a:pt x="632970" y="178594"/>
                    </a:cubicBezTo>
                    <a:cubicBezTo>
                      <a:pt x="634875" y="181451"/>
                      <a:pt x="636780" y="183356"/>
                      <a:pt x="639638" y="185261"/>
                    </a:cubicBezTo>
                    <a:cubicBezTo>
                      <a:pt x="641543" y="188119"/>
                      <a:pt x="644400" y="190024"/>
                      <a:pt x="648210" y="191929"/>
                    </a:cubicBezTo>
                    <a:cubicBezTo>
                      <a:pt x="649163" y="192881"/>
                      <a:pt x="651068" y="193834"/>
                      <a:pt x="652020" y="194786"/>
                    </a:cubicBezTo>
                    <a:cubicBezTo>
                      <a:pt x="653925" y="195739"/>
                      <a:pt x="656783" y="195739"/>
                      <a:pt x="658688" y="195739"/>
                    </a:cubicBezTo>
                    <a:cubicBezTo>
                      <a:pt x="662498" y="195739"/>
                      <a:pt x="665355" y="195739"/>
                      <a:pt x="669165" y="194786"/>
                    </a:cubicBezTo>
                    <a:cubicBezTo>
                      <a:pt x="672975" y="193834"/>
                      <a:pt x="675833" y="192881"/>
                      <a:pt x="678690" y="191929"/>
                    </a:cubicBezTo>
                    <a:cubicBezTo>
                      <a:pt x="678690" y="191929"/>
                      <a:pt x="680595" y="190976"/>
                      <a:pt x="681548" y="190976"/>
                    </a:cubicBezTo>
                    <a:cubicBezTo>
                      <a:pt x="682500" y="190024"/>
                      <a:pt x="684405" y="190024"/>
                      <a:pt x="686310" y="189071"/>
                    </a:cubicBezTo>
                    <a:cubicBezTo>
                      <a:pt x="687263" y="188119"/>
                      <a:pt x="689168" y="187166"/>
                      <a:pt x="691073" y="186214"/>
                    </a:cubicBezTo>
                    <a:cubicBezTo>
                      <a:pt x="692978" y="185261"/>
                      <a:pt x="694883" y="183356"/>
                      <a:pt x="696788" y="182404"/>
                    </a:cubicBezTo>
                    <a:cubicBezTo>
                      <a:pt x="699645" y="180499"/>
                      <a:pt x="700598" y="179546"/>
                      <a:pt x="702503" y="177641"/>
                    </a:cubicBezTo>
                    <a:cubicBezTo>
                      <a:pt x="703455" y="177641"/>
                      <a:pt x="704408" y="175736"/>
                      <a:pt x="706313" y="173831"/>
                    </a:cubicBezTo>
                    <a:cubicBezTo>
                      <a:pt x="709170" y="170974"/>
                      <a:pt x="712028" y="169069"/>
                      <a:pt x="713933" y="166211"/>
                    </a:cubicBezTo>
                    <a:cubicBezTo>
                      <a:pt x="719648" y="159544"/>
                      <a:pt x="724410" y="151924"/>
                      <a:pt x="728220" y="144304"/>
                    </a:cubicBezTo>
                    <a:cubicBezTo>
                      <a:pt x="729173" y="143351"/>
                      <a:pt x="730125" y="141446"/>
                      <a:pt x="730125" y="139541"/>
                    </a:cubicBezTo>
                    <a:cubicBezTo>
                      <a:pt x="731078" y="137636"/>
                      <a:pt x="731078" y="135731"/>
                      <a:pt x="732030" y="133826"/>
                    </a:cubicBezTo>
                    <a:cubicBezTo>
                      <a:pt x="733935" y="128111"/>
                      <a:pt x="735840" y="122396"/>
                      <a:pt x="737745" y="116681"/>
                    </a:cubicBezTo>
                    <a:cubicBezTo>
                      <a:pt x="738698" y="113824"/>
                      <a:pt x="740603" y="111919"/>
                      <a:pt x="742508" y="110014"/>
                    </a:cubicBezTo>
                    <a:cubicBezTo>
                      <a:pt x="743460" y="109061"/>
                      <a:pt x="744413" y="108109"/>
                      <a:pt x="744413" y="107156"/>
                    </a:cubicBezTo>
                    <a:cubicBezTo>
                      <a:pt x="745365" y="105251"/>
                      <a:pt x="747270" y="103346"/>
                      <a:pt x="749175" y="102394"/>
                    </a:cubicBezTo>
                    <a:cubicBezTo>
                      <a:pt x="751080" y="101441"/>
                      <a:pt x="752985" y="99536"/>
                      <a:pt x="753938" y="98584"/>
                    </a:cubicBezTo>
                    <a:cubicBezTo>
                      <a:pt x="755843" y="97631"/>
                      <a:pt x="757748" y="96679"/>
                      <a:pt x="760605" y="97631"/>
                    </a:cubicBezTo>
                    <a:cubicBezTo>
                      <a:pt x="761558" y="97631"/>
                      <a:pt x="761558" y="97631"/>
                      <a:pt x="762510" y="97631"/>
                    </a:cubicBezTo>
                    <a:cubicBezTo>
                      <a:pt x="763463" y="98584"/>
                      <a:pt x="764415" y="98584"/>
                      <a:pt x="764415" y="98584"/>
                    </a:cubicBezTo>
                    <a:cubicBezTo>
                      <a:pt x="765368" y="99536"/>
                      <a:pt x="765368" y="99536"/>
                      <a:pt x="766320" y="100489"/>
                    </a:cubicBezTo>
                    <a:cubicBezTo>
                      <a:pt x="767273" y="102394"/>
                      <a:pt x="767273" y="103346"/>
                      <a:pt x="767273" y="103346"/>
                    </a:cubicBezTo>
                    <a:cubicBezTo>
                      <a:pt x="767273" y="103346"/>
                      <a:pt x="768225" y="104299"/>
                      <a:pt x="768225" y="105251"/>
                    </a:cubicBezTo>
                    <a:cubicBezTo>
                      <a:pt x="767273" y="107156"/>
                      <a:pt x="767273" y="109061"/>
                      <a:pt x="766320" y="111919"/>
                    </a:cubicBezTo>
                    <a:cubicBezTo>
                      <a:pt x="764415" y="120491"/>
                      <a:pt x="761558" y="130016"/>
                      <a:pt x="757748" y="138589"/>
                    </a:cubicBezTo>
                    <a:lnTo>
                      <a:pt x="753938" y="149066"/>
                    </a:lnTo>
                    <a:cubicBezTo>
                      <a:pt x="752985" y="151924"/>
                      <a:pt x="752985" y="155734"/>
                      <a:pt x="753938" y="158591"/>
                    </a:cubicBezTo>
                    <a:cubicBezTo>
                      <a:pt x="753938" y="159544"/>
                      <a:pt x="754890" y="160496"/>
                      <a:pt x="755843" y="161449"/>
                    </a:cubicBezTo>
                    <a:cubicBezTo>
                      <a:pt x="756795" y="162401"/>
                      <a:pt x="758700" y="163354"/>
                      <a:pt x="759653" y="164306"/>
                    </a:cubicBezTo>
                    <a:cubicBezTo>
                      <a:pt x="761558" y="165259"/>
                      <a:pt x="762510" y="165259"/>
                      <a:pt x="764415" y="165259"/>
                    </a:cubicBezTo>
                    <a:cubicBezTo>
                      <a:pt x="767273" y="165259"/>
                      <a:pt x="769178" y="165259"/>
                      <a:pt x="772035" y="165259"/>
                    </a:cubicBezTo>
                    <a:cubicBezTo>
                      <a:pt x="774893" y="164306"/>
                      <a:pt x="777750" y="163354"/>
                      <a:pt x="781560" y="162401"/>
                    </a:cubicBezTo>
                    <a:cubicBezTo>
                      <a:pt x="788228" y="159544"/>
                      <a:pt x="793943" y="157639"/>
                      <a:pt x="800610" y="153829"/>
                    </a:cubicBezTo>
                    <a:cubicBezTo>
                      <a:pt x="805373" y="150971"/>
                      <a:pt x="811088" y="149066"/>
                      <a:pt x="816803" y="147161"/>
                    </a:cubicBezTo>
                    <a:cubicBezTo>
                      <a:pt x="817755" y="146209"/>
                      <a:pt x="819660" y="146209"/>
                      <a:pt x="820613" y="147161"/>
                    </a:cubicBezTo>
                    <a:cubicBezTo>
                      <a:pt x="821565" y="148114"/>
                      <a:pt x="822518" y="149066"/>
                      <a:pt x="823470" y="149066"/>
                    </a:cubicBezTo>
                    <a:cubicBezTo>
                      <a:pt x="824423" y="150019"/>
                      <a:pt x="825375" y="150019"/>
                      <a:pt x="825375" y="150971"/>
                    </a:cubicBezTo>
                    <a:cubicBezTo>
                      <a:pt x="825375" y="152876"/>
                      <a:pt x="826328" y="153829"/>
                      <a:pt x="825375" y="155734"/>
                    </a:cubicBezTo>
                    <a:cubicBezTo>
                      <a:pt x="825375" y="157639"/>
                      <a:pt x="824423" y="158591"/>
                      <a:pt x="823470" y="160496"/>
                    </a:cubicBezTo>
                    <a:cubicBezTo>
                      <a:pt x="823470" y="160496"/>
                      <a:pt x="823470" y="161449"/>
                      <a:pt x="823470" y="161449"/>
                    </a:cubicBezTo>
                    <a:cubicBezTo>
                      <a:pt x="822518" y="163354"/>
                      <a:pt x="821565" y="164306"/>
                      <a:pt x="821565" y="166211"/>
                    </a:cubicBezTo>
                    <a:cubicBezTo>
                      <a:pt x="821565" y="166211"/>
                      <a:pt x="821565" y="166211"/>
                      <a:pt x="821565" y="167164"/>
                    </a:cubicBezTo>
                    <a:cubicBezTo>
                      <a:pt x="821565" y="168116"/>
                      <a:pt x="821565" y="169069"/>
                      <a:pt x="820613" y="170021"/>
                    </a:cubicBezTo>
                    <a:cubicBezTo>
                      <a:pt x="819660" y="170974"/>
                      <a:pt x="818708" y="171926"/>
                      <a:pt x="817755" y="172879"/>
                    </a:cubicBezTo>
                    <a:cubicBezTo>
                      <a:pt x="816803" y="174784"/>
                      <a:pt x="815850" y="175736"/>
                      <a:pt x="814898" y="177641"/>
                    </a:cubicBezTo>
                    <a:cubicBezTo>
                      <a:pt x="813945" y="178594"/>
                      <a:pt x="812040" y="180499"/>
                      <a:pt x="811088" y="181451"/>
                    </a:cubicBezTo>
                    <a:cubicBezTo>
                      <a:pt x="809183" y="183356"/>
                      <a:pt x="806325" y="185261"/>
                      <a:pt x="803468" y="187166"/>
                    </a:cubicBezTo>
                    <a:cubicBezTo>
                      <a:pt x="799658" y="189071"/>
                      <a:pt x="795848" y="191929"/>
                      <a:pt x="792038" y="191929"/>
                    </a:cubicBezTo>
                    <a:cubicBezTo>
                      <a:pt x="788228" y="192881"/>
                      <a:pt x="783465" y="193834"/>
                      <a:pt x="779655" y="194786"/>
                    </a:cubicBezTo>
                    <a:cubicBezTo>
                      <a:pt x="777750" y="194786"/>
                      <a:pt x="777750" y="194786"/>
                      <a:pt x="775845" y="195739"/>
                    </a:cubicBezTo>
                    <a:cubicBezTo>
                      <a:pt x="772988" y="195739"/>
                      <a:pt x="770130" y="195739"/>
                      <a:pt x="767273" y="195739"/>
                    </a:cubicBezTo>
                    <a:cubicBezTo>
                      <a:pt x="763463" y="195739"/>
                      <a:pt x="760605" y="196691"/>
                      <a:pt x="756795" y="196691"/>
                    </a:cubicBezTo>
                    <a:cubicBezTo>
                      <a:pt x="753938" y="197644"/>
                      <a:pt x="750128" y="196691"/>
                      <a:pt x="747270" y="197644"/>
                    </a:cubicBezTo>
                    <a:cubicBezTo>
                      <a:pt x="745365" y="198596"/>
                      <a:pt x="741555" y="199549"/>
                      <a:pt x="739650" y="199549"/>
                    </a:cubicBezTo>
                    <a:cubicBezTo>
                      <a:pt x="736793" y="199549"/>
                      <a:pt x="733935" y="200501"/>
                      <a:pt x="732030" y="201454"/>
                    </a:cubicBezTo>
                    <a:cubicBezTo>
                      <a:pt x="729173" y="202406"/>
                      <a:pt x="726315" y="202406"/>
                      <a:pt x="723458" y="203359"/>
                    </a:cubicBezTo>
                    <a:cubicBezTo>
                      <a:pt x="714885" y="206216"/>
                      <a:pt x="706313" y="209074"/>
                      <a:pt x="698693" y="213836"/>
                    </a:cubicBezTo>
                    <a:cubicBezTo>
                      <a:pt x="689168" y="218599"/>
                      <a:pt x="681548" y="226219"/>
                      <a:pt x="674880" y="234791"/>
                    </a:cubicBezTo>
                    <a:cubicBezTo>
                      <a:pt x="673928" y="237649"/>
                      <a:pt x="672975" y="239554"/>
                      <a:pt x="671070" y="241459"/>
                    </a:cubicBezTo>
                    <a:cubicBezTo>
                      <a:pt x="670118" y="244316"/>
                      <a:pt x="669165" y="247174"/>
                      <a:pt x="668213" y="249079"/>
                    </a:cubicBezTo>
                    <a:cubicBezTo>
                      <a:pt x="667260" y="253841"/>
                      <a:pt x="667260" y="258604"/>
                      <a:pt x="666308" y="263366"/>
                    </a:cubicBezTo>
                    <a:cubicBezTo>
                      <a:pt x="665355" y="268129"/>
                      <a:pt x="665355" y="272891"/>
                      <a:pt x="664403" y="277654"/>
                    </a:cubicBezTo>
                    <a:cubicBezTo>
                      <a:pt x="664403" y="279559"/>
                      <a:pt x="663450" y="281464"/>
                      <a:pt x="663450" y="283369"/>
                    </a:cubicBezTo>
                    <a:cubicBezTo>
                      <a:pt x="662498" y="287179"/>
                      <a:pt x="661545" y="290989"/>
                      <a:pt x="659640" y="294799"/>
                    </a:cubicBezTo>
                    <a:cubicBezTo>
                      <a:pt x="659640" y="295751"/>
                      <a:pt x="658688" y="296704"/>
                      <a:pt x="658688" y="297656"/>
                    </a:cubicBezTo>
                    <a:cubicBezTo>
                      <a:pt x="652973" y="310991"/>
                      <a:pt x="644400" y="323374"/>
                      <a:pt x="633923" y="332899"/>
                    </a:cubicBezTo>
                    <a:lnTo>
                      <a:pt x="622493" y="342424"/>
                    </a:lnTo>
                    <a:lnTo>
                      <a:pt x="610110" y="350996"/>
                    </a:lnTo>
                    <a:cubicBezTo>
                      <a:pt x="599633" y="357664"/>
                      <a:pt x="588203" y="363379"/>
                      <a:pt x="574868" y="367189"/>
                    </a:cubicBezTo>
                    <a:cubicBezTo>
                      <a:pt x="569153" y="369094"/>
                      <a:pt x="561533" y="370999"/>
                      <a:pt x="552008" y="373856"/>
                    </a:cubicBezTo>
                    <a:cubicBezTo>
                      <a:pt x="497715" y="391001"/>
                      <a:pt x="490095" y="405289"/>
                      <a:pt x="470093" y="412909"/>
                    </a:cubicBezTo>
                    <a:lnTo>
                      <a:pt x="468188" y="411004"/>
                    </a:lnTo>
                    <a:cubicBezTo>
                      <a:pt x="467235" y="415766"/>
                      <a:pt x="467235" y="417671"/>
                      <a:pt x="468188" y="418624"/>
                    </a:cubicBezTo>
                    <a:cubicBezTo>
                      <a:pt x="471998" y="421481"/>
                      <a:pt x="501525" y="497681"/>
                      <a:pt x="513908" y="537686"/>
                    </a:cubicBezTo>
                    <a:cubicBezTo>
                      <a:pt x="534863" y="608171"/>
                      <a:pt x="559628" y="635794"/>
                      <a:pt x="600585" y="638651"/>
                    </a:cubicBezTo>
                    <a:cubicBezTo>
                      <a:pt x="623445" y="639604"/>
                      <a:pt x="662498" y="666274"/>
                      <a:pt x="680595" y="693896"/>
                    </a:cubicBezTo>
                    <a:cubicBezTo>
                      <a:pt x="688215" y="706279"/>
                      <a:pt x="744413" y="720566"/>
                      <a:pt x="793943" y="722471"/>
                    </a:cubicBezTo>
                    <a:cubicBezTo>
                      <a:pt x="811088" y="723424"/>
                      <a:pt x="828233" y="725329"/>
                      <a:pt x="831090" y="727234"/>
                    </a:cubicBezTo>
                    <a:cubicBezTo>
                      <a:pt x="833948" y="728186"/>
                      <a:pt x="865380" y="730091"/>
                      <a:pt x="899670" y="731044"/>
                    </a:cubicBezTo>
                    <a:cubicBezTo>
                      <a:pt x="934913" y="731996"/>
                      <a:pt x="980633" y="734854"/>
                      <a:pt x="1002540" y="736759"/>
                    </a:cubicBezTo>
                    <a:cubicBezTo>
                      <a:pt x="1024448" y="738664"/>
                      <a:pt x="1046355" y="739616"/>
                      <a:pt x="1051118" y="738664"/>
                    </a:cubicBezTo>
                    <a:cubicBezTo>
                      <a:pt x="1064453" y="735806"/>
                      <a:pt x="1078740" y="718661"/>
                      <a:pt x="1096838" y="681514"/>
                    </a:cubicBezTo>
                    <a:cubicBezTo>
                      <a:pt x="1106363" y="662464"/>
                      <a:pt x="1118745" y="645319"/>
                      <a:pt x="1126365" y="639604"/>
                    </a:cubicBezTo>
                    <a:cubicBezTo>
                      <a:pt x="1147320" y="624364"/>
                      <a:pt x="1193040" y="608171"/>
                      <a:pt x="1199708" y="612934"/>
                    </a:cubicBezTo>
                    <a:cubicBezTo>
                      <a:pt x="1208280" y="618649"/>
                      <a:pt x="1205423" y="623411"/>
                      <a:pt x="1183515" y="639604"/>
                    </a:cubicBezTo>
                    <a:cubicBezTo>
                      <a:pt x="1162560" y="654844"/>
                      <a:pt x="1145415" y="680561"/>
                      <a:pt x="1148273" y="692944"/>
                    </a:cubicBezTo>
                    <a:cubicBezTo>
                      <a:pt x="1149225" y="697706"/>
                      <a:pt x="1147320" y="704374"/>
                      <a:pt x="1143510" y="708184"/>
                    </a:cubicBezTo>
                    <a:cubicBezTo>
                      <a:pt x="1125413" y="726281"/>
                      <a:pt x="1124460" y="740569"/>
                      <a:pt x="1135890" y="781526"/>
                    </a:cubicBezTo>
                    <a:cubicBezTo>
                      <a:pt x="1147320" y="818674"/>
                      <a:pt x="1147320" y="819626"/>
                      <a:pt x="1137795" y="853916"/>
                    </a:cubicBezTo>
                    <a:cubicBezTo>
                      <a:pt x="1125413" y="897731"/>
                      <a:pt x="1129223" y="918686"/>
                      <a:pt x="1153035" y="935831"/>
                    </a:cubicBezTo>
                    <a:cubicBezTo>
                      <a:pt x="1170180" y="948214"/>
                      <a:pt x="1213043" y="957739"/>
                      <a:pt x="1241618" y="954881"/>
                    </a:cubicBezTo>
                    <a:cubicBezTo>
                      <a:pt x="1254000" y="953929"/>
                      <a:pt x="1259715" y="956786"/>
                      <a:pt x="1278765" y="977741"/>
                    </a:cubicBezTo>
                    <a:cubicBezTo>
                      <a:pt x="1291148" y="991076"/>
                      <a:pt x="1310198" y="1008221"/>
                      <a:pt x="1320675" y="1014889"/>
                    </a:cubicBezTo>
                    <a:cubicBezTo>
                      <a:pt x="1349250" y="1032986"/>
                      <a:pt x="1416878" y="1060609"/>
                      <a:pt x="1428308" y="1057751"/>
                    </a:cubicBezTo>
                    <a:cubicBezTo>
                      <a:pt x="1434023" y="1056799"/>
                      <a:pt x="1445453" y="1058704"/>
                      <a:pt x="1454978" y="1061561"/>
                    </a:cubicBezTo>
                    <a:cubicBezTo>
                      <a:pt x="1474028" y="1068229"/>
                      <a:pt x="1503555" y="1091089"/>
                      <a:pt x="1499745" y="1095851"/>
                    </a:cubicBezTo>
                    <a:cubicBezTo>
                      <a:pt x="1498793" y="1097756"/>
                      <a:pt x="1488315" y="1100614"/>
                      <a:pt x="1476885" y="1103471"/>
                    </a:cubicBezTo>
                    <a:lnTo>
                      <a:pt x="1456883" y="1107281"/>
                    </a:lnTo>
                    <a:lnTo>
                      <a:pt x="1463550" y="1123474"/>
                    </a:lnTo>
                    <a:cubicBezTo>
                      <a:pt x="1470218" y="1139666"/>
                      <a:pt x="1470218" y="1140619"/>
                      <a:pt x="1457835" y="1144429"/>
                    </a:cubicBezTo>
                    <a:cubicBezTo>
                      <a:pt x="1451168" y="1147286"/>
                      <a:pt x="1442595" y="1148239"/>
                      <a:pt x="1438785" y="1148239"/>
                    </a:cubicBezTo>
                    <a:cubicBezTo>
                      <a:pt x="1434975" y="1148239"/>
                      <a:pt x="1430213" y="1148239"/>
                      <a:pt x="1428308" y="1149191"/>
                    </a:cubicBezTo>
                    <a:cubicBezTo>
                      <a:pt x="1426403" y="1149191"/>
                      <a:pt x="1418783" y="1146334"/>
                      <a:pt x="1411163" y="1142524"/>
                    </a:cubicBezTo>
                    <a:cubicBezTo>
                      <a:pt x="1403543" y="1138714"/>
                      <a:pt x="1390208" y="1132046"/>
                      <a:pt x="1381635" y="1128236"/>
                    </a:cubicBezTo>
                    <a:cubicBezTo>
                      <a:pt x="1352108" y="1116806"/>
                      <a:pt x="1307340" y="1088231"/>
                      <a:pt x="1298768" y="1075849"/>
                    </a:cubicBezTo>
                    <a:cubicBezTo>
                      <a:pt x="1294005" y="1069181"/>
                      <a:pt x="1274955" y="1056799"/>
                      <a:pt x="1256858" y="1047274"/>
                    </a:cubicBezTo>
                    <a:cubicBezTo>
                      <a:pt x="1225425" y="1031081"/>
                      <a:pt x="1223520" y="1030129"/>
                      <a:pt x="1179705" y="1032986"/>
                    </a:cubicBezTo>
                    <a:cubicBezTo>
                      <a:pt x="1154940" y="1034891"/>
                      <a:pt x="1124460" y="1036796"/>
                      <a:pt x="1113030" y="1038701"/>
                    </a:cubicBezTo>
                    <a:cubicBezTo>
                      <a:pt x="1040640" y="1046321"/>
                      <a:pt x="1010160" y="1036796"/>
                      <a:pt x="972060" y="992981"/>
                    </a:cubicBezTo>
                    <a:cubicBezTo>
                      <a:pt x="937770" y="952976"/>
                      <a:pt x="909195" y="944404"/>
                      <a:pt x="840615" y="952024"/>
                    </a:cubicBezTo>
                    <a:cubicBezTo>
                      <a:pt x="814898" y="954881"/>
                      <a:pt x="792038" y="959644"/>
                      <a:pt x="789180" y="961549"/>
                    </a:cubicBezTo>
                    <a:cubicBezTo>
                      <a:pt x="786323" y="963454"/>
                      <a:pt x="778703" y="965359"/>
                      <a:pt x="772988" y="966311"/>
                    </a:cubicBezTo>
                    <a:cubicBezTo>
                      <a:pt x="757748" y="968216"/>
                      <a:pt x="710123" y="964406"/>
                      <a:pt x="696788" y="960596"/>
                    </a:cubicBezTo>
                    <a:cubicBezTo>
                      <a:pt x="674880" y="954881"/>
                      <a:pt x="597728" y="932974"/>
                      <a:pt x="572963" y="925354"/>
                    </a:cubicBezTo>
                    <a:cubicBezTo>
                      <a:pt x="558675" y="921544"/>
                      <a:pt x="543435" y="917734"/>
                      <a:pt x="539625" y="916781"/>
                    </a:cubicBezTo>
                    <a:cubicBezTo>
                      <a:pt x="535815" y="915829"/>
                      <a:pt x="526290" y="912971"/>
                      <a:pt x="519623" y="910114"/>
                    </a:cubicBezTo>
                    <a:cubicBezTo>
                      <a:pt x="512003" y="907256"/>
                      <a:pt x="494858" y="908209"/>
                      <a:pt x="475808" y="911066"/>
                    </a:cubicBezTo>
                    <a:cubicBezTo>
                      <a:pt x="443423" y="916781"/>
                      <a:pt x="420563" y="912971"/>
                      <a:pt x="364365" y="894874"/>
                    </a:cubicBezTo>
                    <a:cubicBezTo>
                      <a:pt x="308168" y="875824"/>
                      <a:pt x="278640" y="883444"/>
                      <a:pt x="221490" y="929164"/>
                    </a:cubicBezTo>
                    <a:cubicBezTo>
                      <a:pt x="199583" y="947261"/>
                      <a:pt x="179580" y="961549"/>
                      <a:pt x="176723" y="961549"/>
                    </a:cubicBezTo>
                    <a:cubicBezTo>
                      <a:pt x="173865" y="962501"/>
                      <a:pt x="164340" y="972026"/>
                      <a:pt x="153863" y="984409"/>
                    </a:cubicBezTo>
                    <a:cubicBezTo>
                      <a:pt x="136718" y="1005364"/>
                      <a:pt x="134813" y="1006316"/>
                      <a:pt x="102428" y="1012984"/>
                    </a:cubicBezTo>
                    <a:lnTo>
                      <a:pt x="69090" y="1019651"/>
                    </a:lnTo>
                    <a:lnTo>
                      <a:pt x="85283" y="995839"/>
                    </a:lnTo>
                    <a:cubicBezTo>
                      <a:pt x="93855" y="982504"/>
                      <a:pt x="106238" y="970121"/>
                      <a:pt x="111000" y="967264"/>
                    </a:cubicBezTo>
                    <a:cubicBezTo>
                      <a:pt x="115763" y="964406"/>
                      <a:pt x="125288" y="954881"/>
                      <a:pt x="132908" y="945356"/>
                    </a:cubicBezTo>
                    <a:cubicBezTo>
                      <a:pt x="140528" y="935831"/>
                      <a:pt x="158625" y="920591"/>
                      <a:pt x="172913" y="912019"/>
                    </a:cubicBezTo>
                    <a:cubicBezTo>
                      <a:pt x="187200" y="903446"/>
                      <a:pt x="198630" y="894874"/>
                      <a:pt x="198630" y="892969"/>
                    </a:cubicBezTo>
                    <a:cubicBezTo>
                      <a:pt x="197678" y="887254"/>
                      <a:pt x="191963" y="889159"/>
                      <a:pt x="144338" y="908209"/>
                    </a:cubicBezTo>
                    <a:cubicBezTo>
                      <a:pt x="90045" y="930116"/>
                      <a:pt x="60518" y="936784"/>
                      <a:pt x="30990" y="932021"/>
                    </a:cubicBezTo>
                    <a:cubicBezTo>
                      <a:pt x="18608" y="930116"/>
                      <a:pt x="8130" y="926306"/>
                      <a:pt x="7178" y="924401"/>
                    </a:cubicBezTo>
                    <a:cubicBezTo>
                      <a:pt x="5273" y="916781"/>
                      <a:pt x="84330" y="885349"/>
                      <a:pt x="123383" y="878681"/>
                    </a:cubicBezTo>
                    <a:cubicBezTo>
                      <a:pt x="159578" y="872966"/>
                      <a:pt x="227205" y="851059"/>
                      <a:pt x="245303" y="839629"/>
                    </a:cubicBezTo>
                    <a:cubicBezTo>
                      <a:pt x="263400" y="828199"/>
                      <a:pt x="259590" y="829151"/>
                      <a:pt x="362460" y="826294"/>
                    </a:cubicBezTo>
                    <a:cubicBezTo>
                      <a:pt x="381510" y="825341"/>
                      <a:pt x="400560" y="823436"/>
                      <a:pt x="405323" y="820579"/>
                    </a:cubicBezTo>
                    <a:cubicBezTo>
                      <a:pt x="417705" y="812959"/>
                      <a:pt x="416753" y="795814"/>
                      <a:pt x="401513" y="768191"/>
                    </a:cubicBezTo>
                    <a:cubicBezTo>
                      <a:pt x="393893" y="754856"/>
                      <a:pt x="385320" y="737711"/>
                      <a:pt x="381510" y="731044"/>
                    </a:cubicBezTo>
                    <a:cubicBezTo>
                      <a:pt x="377700" y="723424"/>
                      <a:pt x="369128" y="711041"/>
                      <a:pt x="361508" y="704374"/>
                    </a:cubicBezTo>
                    <a:cubicBezTo>
                      <a:pt x="335790" y="677704"/>
                      <a:pt x="333885" y="666274"/>
                      <a:pt x="350078" y="612934"/>
                    </a:cubicBezTo>
                    <a:cubicBezTo>
                      <a:pt x="363413" y="566261"/>
                      <a:pt x="364365" y="563404"/>
                      <a:pt x="354840" y="546259"/>
                    </a:cubicBezTo>
                    <a:cubicBezTo>
                      <a:pt x="350078" y="536734"/>
                      <a:pt x="341505" y="526256"/>
                      <a:pt x="335790" y="522446"/>
                    </a:cubicBezTo>
                    <a:cubicBezTo>
                      <a:pt x="326265" y="515779"/>
                      <a:pt x="258638" y="497681"/>
                      <a:pt x="249113" y="499586"/>
                    </a:cubicBezTo>
                    <a:cubicBezTo>
                      <a:pt x="242445" y="500539"/>
                      <a:pt x="236730" y="491966"/>
                      <a:pt x="232920" y="476726"/>
                    </a:cubicBezTo>
                    <a:cubicBezTo>
                      <a:pt x="228158" y="454819"/>
                      <a:pt x="232920" y="451009"/>
                      <a:pt x="274830" y="442436"/>
                    </a:cubicBezTo>
                    <a:cubicBezTo>
                      <a:pt x="304358" y="435769"/>
                      <a:pt x="334838" y="426244"/>
                      <a:pt x="356745" y="417671"/>
                    </a:cubicBezTo>
                    <a:lnTo>
                      <a:pt x="345315" y="413861"/>
                    </a:lnTo>
                    <a:lnTo>
                      <a:pt x="295785" y="405289"/>
                    </a:lnTo>
                    <a:cubicBezTo>
                      <a:pt x="287213" y="403384"/>
                      <a:pt x="277688" y="401479"/>
                      <a:pt x="267210" y="400526"/>
                    </a:cubicBezTo>
                    <a:cubicBezTo>
                      <a:pt x="258638" y="399574"/>
                      <a:pt x="251970" y="397669"/>
                      <a:pt x="244350" y="393859"/>
                    </a:cubicBezTo>
                    <a:cubicBezTo>
                      <a:pt x="239588" y="391001"/>
                      <a:pt x="234825" y="389096"/>
                      <a:pt x="230063" y="386239"/>
                    </a:cubicBezTo>
                    <a:cubicBezTo>
                      <a:pt x="226253" y="383381"/>
                      <a:pt x="225300" y="379571"/>
                      <a:pt x="227205" y="375761"/>
                    </a:cubicBezTo>
                    <a:cubicBezTo>
                      <a:pt x="229110" y="371951"/>
                      <a:pt x="231968" y="369094"/>
                      <a:pt x="235778" y="369094"/>
                    </a:cubicBezTo>
                    <a:cubicBezTo>
                      <a:pt x="241493" y="368141"/>
                      <a:pt x="246255" y="369094"/>
                      <a:pt x="251018" y="370999"/>
                    </a:cubicBezTo>
                    <a:lnTo>
                      <a:pt x="246255" y="361474"/>
                    </a:lnTo>
                    <a:lnTo>
                      <a:pt x="242445" y="350996"/>
                    </a:lnTo>
                    <a:lnTo>
                      <a:pt x="240540" y="340519"/>
                    </a:lnTo>
                    <a:cubicBezTo>
                      <a:pt x="237683" y="326231"/>
                      <a:pt x="235778" y="311944"/>
                      <a:pt x="236730" y="298609"/>
                    </a:cubicBezTo>
                    <a:lnTo>
                      <a:pt x="229110" y="288131"/>
                    </a:lnTo>
                    <a:cubicBezTo>
                      <a:pt x="227205" y="285274"/>
                      <a:pt x="226253" y="282416"/>
                      <a:pt x="225300" y="278606"/>
                    </a:cubicBezTo>
                    <a:cubicBezTo>
                      <a:pt x="224348" y="274796"/>
                      <a:pt x="227205" y="270986"/>
                      <a:pt x="231015" y="270034"/>
                    </a:cubicBezTo>
                    <a:cubicBezTo>
                      <a:pt x="234825" y="269081"/>
                      <a:pt x="238635" y="269081"/>
                      <a:pt x="241493" y="271939"/>
                    </a:cubicBezTo>
                    <a:lnTo>
                      <a:pt x="253875" y="280511"/>
                    </a:lnTo>
                    <a:cubicBezTo>
                      <a:pt x="258638" y="283369"/>
                      <a:pt x="263400" y="286226"/>
                      <a:pt x="268163" y="288131"/>
                    </a:cubicBezTo>
                    <a:cubicBezTo>
                      <a:pt x="271973" y="289084"/>
                      <a:pt x="275783" y="290036"/>
                      <a:pt x="279593" y="290989"/>
                    </a:cubicBezTo>
                    <a:lnTo>
                      <a:pt x="274830" y="284321"/>
                    </a:lnTo>
                    <a:lnTo>
                      <a:pt x="271020" y="273844"/>
                    </a:lnTo>
                    <a:lnTo>
                      <a:pt x="266258" y="259556"/>
                    </a:lnTo>
                    <a:lnTo>
                      <a:pt x="264353" y="252889"/>
                    </a:lnTo>
                    <a:cubicBezTo>
                      <a:pt x="263400" y="249079"/>
                      <a:pt x="266258" y="246221"/>
                      <a:pt x="269115" y="244316"/>
                    </a:cubicBezTo>
                    <a:cubicBezTo>
                      <a:pt x="271973" y="243364"/>
                      <a:pt x="274830" y="243364"/>
                      <a:pt x="277688" y="245269"/>
                    </a:cubicBezTo>
                    <a:cubicBezTo>
                      <a:pt x="281498" y="247174"/>
                      <a:pt x="284355" y="250031"/>
                      <a:pt x="286260" y="253841"/>
                    </a:cubicBezTo>
                    <a:cubicBezTo>
                      <a:pt x="290070" y="258604"/>
                      <a:pt x="292928" y="264319"/>
                      <a:pt x="295785" y="269081"/>
                    </a:cubicBezTo>
                    <a:cubicBezTo>
                      <a:pt x="298643" y="274796"/>
                      <a:pt x="303405" y="279559"/>
                      <a:pt x="307215" y="284321"/>
                    </a:cubicBezTo>
                    <a:cubicBezTo>
                      <a:pt x="314835" y="291941"/>
                      <a:pt x="321503" y="298609"/>
                      <a:pt x="328170" y="305276"/>
                    </a:cubicBezTo>
                    <a:cubicBezTo>
                      <a:pt x="332933" y="310039"/>
                      <a:pt x="340553" y="315754"/>
                      <a:pt x="349125" y="318611"/>
                    </a:cubicBezTo>
                    <a:cubicBezTo>
                      <a:pt x="350078" y="318611"/>
                      <a:pt x="351030" y="319564"/>
                      <a:pt x="351983" y="319564"/>
                    </a:cubicBezTo>
                    <a:cubicBezTo>
                      <a:pt x="355793" y="320516"/>
                      <a:pt x="359603" y="319564"/>
                      <a:pt x="362460" y="316706"/>
                    </a:cubicBezTo>
                    <a:cubicBezTo>
                      <a:pt x="363413" y="315754"/>
                      <a:pt x="364365" y="314801"/>
                      <a:pt x="364365" y="313849"/>
                    </a:cubicBezTo>
                    <a:cubicBezTo>
                      <a:pt x="365318" y="311944"/>
                      <a:pt x="365318" y="310991"/>
                      <a:pt x="364365" y="309086"/>
                    </a:cubicBezTo>
                    <a:cubicBezTo>
                      <a:pt x="363413" y="303371"/>
                      <a:pt x="364365" y="298609"/>
                      <a:pt x="365318" y="292894"/>
                    </a:cubicBezTo>
                    <a:cubicBezTo>
                      <a:pt x="366270" y="287179"/>
                      <a:pt x="369128" y="281464"/>
                      <a:pt x="372938" y="276701"/>
                    </a:cubicBezTo>
                    <a:cubicBezTo>
                      <a:pt x="376748" y="272891"/>
                      <a:pt x="382463" y="272891"/>
                      <a:pt x="385320" y="276701"/>
                    </a:cubicBezTo>
                    <a:cubicBezTo>
                      <a:pt x="387225" y="278606"/>
                      <a:pt x="388178" y="282416"/>
                      <a:pt x="388178" y="285274"/>
                    </a:cubicBezTo>
                    <a:cubicBezTo>
                      <a:pt x="387225" y="302419"/>
                      <a:pt x="387225" y="318611"/>
                      <a:pt x="387225" y="334804"/>
                    </a:cubicBezTo>
                    <a:lnTo>
                      <a:pt x="446280" y="355759"/>
                    </a:lnTo>
                    <a:lnTo>
                      <a:pt x="455805" y="350996"/>
                    </a:lnTo>
                    <a:lnTo>
                      <a:pt x="470093" y="339566"/>
                    </a:lnTo>
                    <a:cubicBezTo>
                      <a:pt x="481523" y="330041"/>
                      <a:pt x="492000" y="320516"/>
                      <a:pt x="501525" y="309086"/>
                    </a:cubicBezTo>
                    <a:cubicBezTo>
                      <a:pt x="507240" y="301466"/>
                      <a:pt x="512955" y="292894"/>
                      <a:pt x="516765" y="283369"/>
                    </a:cubicBezTo>
                    <a:cubicBezTo>
                      <a:pt x="517718" y="282416"/>
                      <a:pt x="517718" y="282416"/>
                      <a:pt x="517718" y="281464"/>
                    </a:cubicBezTo>
                    <a:cubicBezTo>
                      <a:pt x="520575" y="274796"/>
                      <a:pt x="521528" y="269081"/>
                      <a:pt x="522480" y="262414"/>
                    </a:cubicBezTo>
                    <a:cubicBezTo>
                      <a:pt x="522480" y="255746"/>
                      <a:pt x="521528" y="249079"/>
                      <a:pt x="518670" y="243364"/>
                    </a:cubicBezTo>
                    <a:cubicBezTo>
                      <a:pt x="516765" y="238601"/>
                      <a:pt x="512955" y="233839"/>
                      <a:pt x="511050" y="229076"/>
                    </a:cubicBezTo>
                    <a:cubicBezTo>
                      <a:pt x="506288" y="222409"/>
                      <a:pt x="502478" y="215741"/>
                      <a:pt x="496763" y="210979"/>
                    </a:cubicBezTo>
                    <a:cubicBezTo>
                      <a:pt x="491048" y="205264"/>
                      <a:pt x="484380" y="201454"/>
                      <a:pt x="476760" y="198596"/>
                    </a:cubicBezTo>
                    <a:cubicBezTo>
                      <a:pt x="471045" y="195739"/>
                      <a:pt x="464378" y="192881"/>
                      <a:pt x="457710" y="190024"/>
                    </a:cubicBezTo>
                    <a:cubicBezTo>
                      <a:pt x="453900" y="188119"/>
                      <a:pt x="450090" y="187166"/>
                      <a:pt x="448185" y="186214"/>
                    </a:cubicBezTo>
                    <a:cubicBezTo>
                      <a:pt x="443423" y="184309"/>
                      <a:pt x="438660" y="182404"/>
                      <a:pt x="433898" y="181451"/>
                    </a:cubicBezTo>
                    <a:cubicBezTo>
                      <a:pt x="426278" y="179546"/>
                      <a:pt x="418658" y="177641"/>
                      <a:pt x="411038" y="174784"/>
                    </a:cubicBezTo>
                    <a:lnTo>
                      <a:pt x="400560" y="171926"/>
                    </a:lnTo>
                    <a:cubicBezTo>
                      <a:pt x="395798" y="170021"/>
                      <a:pt x="391035" y="167164"/>
                      <a:pt x="387225" y="163354"/>
                    </a:cubicBezTo>
                    <a:cubicBezTo>
                      <a:pt x="384368" y="160496"/>
                      <a:pt x="383415" y="156686"/>
                      <a:pt x="385320" y="153829"/>
                    </a:cubicBezTo>
                    <a:cubicBezTo>
                      <a:pt x="387225" y="149066"/>
                      <a:pt x="391035" y="146209"/>
                      <a:pt x="395798" y="145256"/>
                    </a:cubicBezTo>
                    <a:cubicBezTo>
                      <a:pt x="400560" y="144304"/>
                      <a:pt x="406275" y="143351"/>
                      <a:pt x="411038" y="144304"/>
                    </a:cubicBezTo>
                    <a:cubicBezTo>
                      <a:pt x="416753" y="145256"/>
                      <a:pt x="422468" y="146209"/>
                      <a:pt x="428183" y="148114"/>
                    </a:cubicBezTo>
                    <a:lnTo>
                      <a:pt x="467235" y="131921"/>
                    </a:lnTo>
                    <a:lnTo>
                      <a:pt x="464378" y="123349"/>
                    </a:lnTo>
                    <a:cubicBezTo>
                      <a:pt x="461520" y="113824"/>
                      <a:pt x="459615" y="104299"/>
                      <a:pt x="459615" y="93821"/>
                    </a:cubicBezTo>
                    <a:cubicBezTo>
                      <a:pt x="459615" y="90011"/>
                      <a:pt x="462473" y="87154"/>
                      <a:pt x="465330" y="85249"/>
                    </a:cubicBezTo>
                    <a:cubicBezTo>
                      <a:pt x="468188" y="84296"/>
                      <a:pt x="471045" y="84296"/>
                      <a:pt x="473903" y="85249"/>
                    </a:cubicBezTo>
                    <a:cubicBezTo>
                      <a:pt x="476760" y="86201"/>
                      <a:pt x="479618" y="88106"/>
                      <a:pt x="480570" y="90964"/>
                    </a:cubicBezTo>
                    <a:cubicBezTo>
                      <a:pt x="482475" y="94774"/>
                      <a:pt x="483428" y="98584"/>
                      <a:pt x="484380" y="101441"/>
                    </a:cubicBezTo>
                    <a:cubicBezTo>
                      <a:pt x="485333" y="106204"/>
                      <a:pt x="487238" y="110966"/>
                      <a:pt x="490095" y="114776"/>
                    </a:cubicBezTo>
                    <a:cubicBezTo>
                      <a:pt x="492000" y="118586"/>
                      <a:pt x="494858" y="122396"/>
                      <a:pt x="496763" y="126206"/>
                    </a:cubicBezTo>
                    <a:cubicBezTo>
                      <a:pt x="498668" y="128111"/>
                      <a:pt x="500573" y="130969"/>
                      <a:pt x="501525" y="132874"/>
                    </a:cubicBezTo>
                    <a:lnTo>
                      <a:pt x="505335" y="132874"/>
                    </a:lnTo>
                    <a:lnTo>
                      <a:pt x="512003" y="133826"/>
                    </a:lnTo>
                    <a:lnTo>
                      <a:pt x="530100" y="138589"/>
                    </a:lnTo>
                    <a:lnTo>
                      <a:pt x="548198" y="144304"/>
                    </a:lnTo>
                    <a:lnTo>
                      <a:pt x="570105" y="150019"/>
                    </a:lnTo>
                    <a:cubicBezTo>
                      <a:pt x="576773" y="151924"/>
                      <a:pt x="584393" y="152876"/>
                      <a:pt x="591060" y="151924"/>
                    </a:cubicBezTo>
                    <a:lnTo>
                      <a:pt x="594870" y="148114"/>
                    </a:lnTo>
                    <a:cubicBezTo>
                      <a:pt x="596775" y="146209"/>
                      <a:pt x="597728" y="143351"/>
                      <a:pt x="598680" y="141446"/>
                    </a:cubicBezTo>
                    <a:cubicBezTo>
                      <a:pt x="598680" y="140494"/>
                      <a:pt x="599633" y="140494"/>
                      <a:pt x="599633" y="140494"/>
                    </a:cubicBezTo>
                    <a:cubicBezTo>
                      <a:pt x="600585" y="137636"/>
                      <a:pt x="601538" y="134779"/>
                      <a:pt x="601538" y="132874"/>
                    </a:cubicBezTo>
                    <a:cubicBezTo>
                      <a:pt x="602490" y="130016"/>
                      <a:pt x="602490" y="127159"/>
                      <a:pt x="602490" y="124301"/>
                    </a:cubicBezTo>
                    <a:cubicBezTo>
                      <a:pt x="602490" y="122396"/>
                      <a:pt x="602490" y="119539"/>
                      <a:pt x="601538" y="117634"/>
                    </a:cubicBezTo>
                    <a:cubicBezTo>
                      <a:pt x="601538" y="116681"/>
                      <a:pt x="600585" y="114776"/>
                      <a:pt x="599633" y="114776"/>
                    </a:cubicBezTo>
                    <a:cubicBezTo>
                      <a:pt x="598680" y="113824"/>
                      <a:pt x="596775" y="112871"/>
                      <a:pt x="595823" y="110966"/>
                    </a:cubicBezTo>
                    <a:cubicBezTo>
                      <a:pt x="594870" y="109061"/>
                      <a:pt x="592965" y="107156"/>
                      <a:pt x="591060" y="105251"/>
                    </a:cubicBezTo>
                    <a:cubicBezTo>
                      <a:pt x="589155" y="104299"/>
                      <a:pt x="587250" y="102394"/>
                      <a:pt x="585345" y="100489"/>
                    </a:cubicBezTo>
                    <a:lnTo>
                      <a:pt x="575820" y="92869"/>
                    </a:lnTo>
                    <a:lnTo>
                      <a:pt x="568200" y="87154"/>
                    </a:lnTo>
                    <a:cubicBezTo>
                      <a:pt x="564390" y="84296"/>
                      <a:pt x="560580" y="80486"/>
                      <a:pt x="558675" y="76676"/>
                    </a:cubicBezTo>
                    <a:cubicBezTo>
                      <a:pt x="556770" y="74771"/>
                      <a:pt x="555818" y="72866"/>
                      <a:pt x="554865" y="70009"/>
                    </a:cubicBezTo>
                    <a:cubicBezTo>
                      <a:pt x="553913" y="67151"/>
                      <a:pt x="553913" y="64294"/>
                      <a:pt x="555818" y="61436"/>
                    </a:cubicBezTo>
                    <a:cubicBezTo>
                      <a:pt x="559628" y="56674"/>
                      <a:pt x="565343" y="54769"/>
                      <a:pt x="571058" y="57626"/>
                    </a:cubicBezTo>
                    <a:cubicBezTo>
                      <a:pt x="582488" y="63341"/>
                      <a:pt x="592965" y="70961"/>
                      <a:pt x="602490" y="80486"/>
                    </a:cubicBezTo>
                    <a:cubicBezTo>
                      <a:pt x="603443" y="81439"/>
                      <a:pt x="604395" y="81439"/>
                      <a:pt x="605348" y="82391"/>
                    </a:cubicBezTo>
                    <a:cubicBezTo>
                      <a:pt x="606300" y="82391"/>
                      <a:pt x="606300" y="82391"/>
                      <a:pt x="607253" y="82391"/>
                    </a:cubicBezTo>
                    <a:cubicBezTo>
                      <a:pt x="612015" y="82391"/>
                      <a:pt x="617730" y="80486"/>
                      <a:pt x="619635" y="75724"/>
                    </a:cubicBezTo>
                    <a:cubicBezTo>
                      <a:pt x="620588" y="72866"/>
                      <a:pt x="622493" y="70961"/>
                      <a:pt x="623445" y="68104"/>
                    </a:cubicBezTo>
                    <a:cubicBezTo>
                      <a:pt x="623445" y="68104"/>
                      <a:pt x="623445" y="68104"/>
                      <a:pt x="623445" y="67151"/>
                    </a:cubicBezTo>
                    <a:cubicBezTo>
                      <a:pt x="624398" y="64294"/>
                      <a:pt x="624398" y="61436"/>
                      <a:pt x="624398" y="58579"/>
                    </a:cubicBezTo>
                    <a:cubicBezTo>
                      <a:pt x="624398" y="56674"/>
                      <a:pt x="623445" y="53816"/>
                      <a:pt x="621540" y="51911"/>
                    </a:cubicBezTo>
                    <a:cubicBezTo>
                      <a:pt x="619635" y="49054"/>
                      <a:pt x="617730" y="46196"/>
                      <a:pt x="614873" y="43339"/>
                    </a:cubicBezTo>
                    <a:cubicBezTo>
                      <a:pt x="610110" y="38576"/>
                      <a:pt x="606300" y="32861"/>
                      <a:pt x="604395" y="27146"/>
                    </a:cubicBezTo>
                    <a:cubicBezTo>
                      <a:pt x="603443" y="24289"/>
                      <a:pt x="603443" y="22384"/>
                      <a:pt x="604395" y="20479"/>
                    </a:cubicBezTo>
                    <a:cubicBezTo>
                      <a:pt x="605348" y="18574"/>
                      <a:pt x="607253" y="16669"/>
                      <a:pt x="609158" y="15716"/>
                    </a:cubicBezTo>
                    <a:cubicBezTo>
                      <a:pt x="612015" y="7144"/>
                      <a:pt x="612968" y="7144"/>
                      <a:pt x="614873" y="7144"/>
                    </a:cubicBezTo>
                    <a:lnTo>
                      <a:pt x="614873" y="7144"/>
                    </a:lnTo>
                    <a:lnTo>
                      <a:pt x="614873" y="7144"/>
                    </a:lnTo>
                    <a:close/>
                    <a:moveTo>
                      <a:pt x="496763" y="160496"/>
                    </a:moveTo>
                    <a:cubicBezTo>
                      <a:pt x="494858" y="160496"/>
                      <a:pt x="493905" y="161449"/>
                      <a:pt x="492000" y="162401"/>
                    </a:cubicBezTo>
                    <a:cubicBezTo>
                      <a:pt x="491048" y="163354"/>
                      <a:pt x="491048" y="164306"/>
                      <a:pt x="492000" y="166211"/>
                    </a:cubicBezTo>
                    <a:cubicBezTo>
                      <a:pt x="496763" y="170974"/>
                      <a:pt x="501525" y="174784"/>
                      <a:pt x="506288" y="178594"/>
                    </a:cubicBezTo>
                    <a:cubicBezTo>
                      <a:pt x="511050" y="182404"/>
                      <a:pt x="515813" y="184309"/>
                      <a:pt x="520575" y="187166"/>
                    </a:cubicBezTo>
                    <a:cubicBezTo>
                      <a:pt x="522480" y="188119"/>
                      <a:pt x="523433" y="189071"/>
                      <a:pt x="525338" y="188119"/>
                    </a:cubicBezTo>
                    <a:cubicBezTo>
                      <a:pt x="531053" y="188119"/>
                      <a:pt x="536768" y="189071"/>
                      <a:pt x="542483" y="189071"/>
                    </a:cubicBezTo>
                    <a:cubicBezTo>
                      <a:pt x="544388" y="189071"/>
                      <a:pt x="546293" y="189071"/>
                      <a:pt x="547245" y="189071"/>
                    </a:cubicBezTo>
                    <a:cubicBezTo>
                      <a:pt x="547245" y="189071"/>
                      <a:pt x="547245" y="190024"/>
                      <a:pt x="547245" y="190024"/>
                    </a:cubicBezTo>
                    <a:cubicBezTo>
                      <a:pt x="550103" y="190976"/>
                      <a:pt x="552960" y="192881"/>
                      <a:pt x="554865" y="195739"/>
                    </a:cubicBezTo>
                    <a:cubicBezTo>
                      <a:pt x="555818" y="196691"/>
                      <a:pt x="556770" y="197644"/>
                      <a:pt x="555818" y="198596"/>
                    </a:cubicBezTo>
                    <a:cubicBezTo>
                      <a:pt x="555818" y="199549"/>
                      <a:pt x="553913" y="201454"/>
                      <a:pt x="553913" y="203359"/>
                    </a:cubicBezTo>
                    <a:cubicBezTo>
                      <a:pt x="553913" y="203359"/>
                      <a:pt x="553913" y="204311"/>
                      <a:pt x="553913" y="204311"/>
                    </a:cubicBezTo>
                    <a:cubicBezTo>
                      <a:pt x="552960" y="207169"/>
                      <a:pt x="551055" y="209074"/>
                      <a:pt x="550103" y="211931"/>
                    </a:cubicBezTo>
                    <a:cubicBezTo>
                      <a:pt x="549150" y="213836"/>
                      <a:pt x="549150" y="215741"/>
                      <a:pt x="548198" y="217646"/>
                    </a:cubicBezTo>
                    <a:lnTo>
                      <a:pt x="548198" y="221456"/>
                    </a:lnTo>
                    <a:cubicBezTo>
                      <a:pt x="549150" y="224314"/>
                      <a:pt x="550103" y="228124"/>
                      <a:pt x="551055" y="230981"/>
                    </a:cubicBezTo>
                    <a:cubicBezTo>
                      <a:pt x="552960" y="239554"/>
                      <a:pt x="553913" y="249079"/>
                      <a:pt x="552960" y="258604"/>
                    </a:cubicBezTo>
                    <a:lnTo>
                      <a:pt x="552960" y="264319"/>
                    </a:lnTo>
                    <a:cubicBezTo>
                      <a:pt x="558675" y="262414"/>
                      <a:pt x="564390" y="260509"/>
                      <a:pt x="570105" y="258604"/>
                    </a:cubicBezTo>
                    <a:cubicBezTo>
                      <a:pt x="572963" y="256699"/>
                      <a:pt x="575820" y="254794"/>
                      <a:pt x="579630" y="253841"/>
                    </a:cubicBezTo>
                    <a:cubicBezTo>
                      <a:pt x="582488" y="252889"/>
                      <a:pt x="584393" y="252889"/>
                      <a:pt x="587250" y="253841"/>
                    </a:cubicBezTo>
                    <a:cubicBezTo>
                      <a:pt x="591060" y="254794"/>
                      <a:pt x="593918" y="258604"/>
                      <a:pt x="592965" y="263366"/>
                    </a:cubicBezTo>
                    <a:cubicBezTo>
                      <a:pt x="592965" y="265271"/>
                      <a:pt x="592013" y="267176"/>
                      <a:pt x="592013" y="269081"/>
                    </a:cubicBezTo>
                    <a:cubicBezTo>
                      <a:pt x="591060" y="270034"/>
                      <a:pt x="591060" y="270986"/>
                      <a:pt x="590108" y="271939"/>
                    </a:cubicBezTo>
                    <a:cubicBezTo>
                      <a:pt x="588203" y="274796"/>
                      <a:pt x="586298" y="276701"/>
                      <a:pt x="583440" y="278606"/>
                    </a:cubicBezTo>
                    <a:cubicBezTo>
                      <a:pt x="577725" y="282416"/>
                      <a:pt x="572010" y="286226"/>
                      <a:pt x="566295" y="290036"/>
                    </a:cubicBezTo>
                    <a:cubicBezTo>
                      <a:pt x="560580" y="293846"/>
                      <a:pt x="554865" y="297656"/>
                      <a:pt x="549150" y="302419"/>
                    </a:cubicBezTo>
                    <a:cubicBezTo>
                      <a:pt x="538673" y="310039"/>
                      <a:pt x="529148" y="319564"/>
                      <a:pt x="520575" y="328136"/>
                    </a:cubicBezTo>
                    <a:cubicBezTo>
                      <a:pt x="514860" y="333851"/>
                      <a:pt x="509145" y="340519"/>
                      <a:pt x="502478" y="346234"/>
                    </a:cubicBezTo>
                    <a:lnTo>
                      <a:pt x="494858" y="353854"/>
                    </a:lnTo>
                    <a:lnTo>
                      <a:pt x="495810" y="353854"/>
                    </a:lnTo>
                    <a:cubicBezTo>
                      <a:pt x="518670" y="350044"/>
                      <a:pt x="541530" y="345281"/>
                      <a:pt x="562485" y="337661"/>
                    </a:cubicBezTo>
                    <a:cubicBezTo>
                      <a:pt x="571058" y="334804"/>
                      <a:pt x="577725" y="330994"/>
                      <a:pt x="585345" y="327184"/>
                    </a:cubicBezTo>
                    <a:cubicBezTo>
                      <a:pt x="593918" y="321469"/>
                      <a:pt x="603443" y="315754"/>
                      <a:pt x="610110" y="308134"/>
                    </a:cubicBezTo>
                    <a:cubicBezTo>
                      <a:pt x="615825" y="302419"/>
                      <a:pt x="620588" y="295751"/>
                      <a:pt x="624398" y="289084"/>
                    </a:cubicBezTo>
                    <a:cubicBezTo>
                      <a:pt x="625350" y="287179"/>
                      <a:pt x="626303" y="284321"/>
                      <a:pt x="628208" y="282416"/>
                    </a:cubicBezTo>
                    <a:cubicBezTo>
                      <a:pt x="631065" y="274796"/>
                      <a:pt x="632018" y="266224"/>
                      <a:pt x="632970" y="257651"/>
                    </a:cubicBezTo>
                    <a:cubicBezTo>
                      <a:pt x="632970" y="241459"/>
                      <a:pt x="628208" y="226219"/>
                      <a:pt x="618683" y="212884"/>
                    </a:cubicBezTo>
                    <a:cubicBezTo>
                      <a:pt x="612015" y="204311"/>
                      <a:pt x="604395" y="196691"/>
                      <a:pt x="595823" y="190976"/>
                    </a:cubicBezTo>
                    <a:cubicBezTo>
                      <a:pt x="586298" y="185261"/>
                      <a:pt x="575820" y="179546"/>
                      <a:pt x="565343" y="175736"/>
                    </a:cubicBezTo>
                    <a:cubicBezTo>
                      <a:pt x="562485" y="174784"/>
                      <a:pt x="558675" y="173831"/>
                      <a:pt x="555818" y="171926"/>
                    </a:cubicBezTo>
                    <a:cubicBezTo>
                      <a:pt x="546293" y="169069"/>
                      <a:pt x="537720" y="166211"/>
                      <a:pt x="528195" y="163354"/>
                    </a:cubicBezTo>
                    <a:cubicBezTo>
                      <a:pt x="526290" y="163354"/>
                      <a:pt x="524385" y="162401"/>
                      <a:pt x="523433" y="162401"/>
                    </a:cubicBezTo>
                    <a:cubicBezTo>
                      <a:pt x="521528" y="162401"/>
                      <a:pt x="520575" y="162401"/>
                      <a:pt x="518670" y="161449"/>
                    </a:cubicBezTo>
                    <a:cubicBezTo>
                      <a:pt x="517718" y="161449"/>
                      <a:pt x="515813" y="161449"/>
                      <a:pt x="514860" y="161449"/>
                    </a:cubicBezTo>
                    <a:cubicBezTo>
                      <a:pt x="511050" y="161449"/>
                      <a:pt x="507240" y="160496"/>
                      <a:pt x="502478" y="159544"/>
                    </a:cubicBezTo>
                    <a:cubicBezTo>
                      <a:pt x="500573" y="159544"/>
                      <a:pt x="498668" y="160496"/>
                      <a:pt x="496763" y="160496"/>
                    </a:cubicBezTo>
                    <a:lnTo>
                      <a:pt x="496763" y="160496"/>
                    </a:lnTo>
                    <a:close/>
                    <a:moveTo>
                      <a:pt x="273878" y="309086"/>
                    </a:moveTo>
                    <a:cubicBezTo>
                      <a:pt x="271973" y="318611"/>
                      <a:pt x="271973" y="328136"/>
                      <a:pt x="272925" y="336709"/>
                    </a:cubicBezTo>
                    <a:cubicBezTo>
                      <a:pt x="274830" y="348139"/>
                      <a:pt x="280545" y="358616"/>
                      <a:pt x="289118" y="367189"/>
                    </a:cubicBezTo>
                    <a:cubicBezTo>
                      <a:pt x="291023" y="369094"/>
                      <a:pt x="293880" y="371951"/>
                      <a:pt x="296738" y="373856"/>
                    </a:cubicBezTo>
                    <a:cubicBezTo>
                      <a:pt x="298643" y="374809"/>
                      <a:pt x="301500" y="375761"/>
                      <a:pt x="303405" y="376714"/>
                    </a:cubicBezTo>
                    <a:cubicBezTo>
                      <a:pt x="304358" y="376714"/>
                      <a:pt x="306263" y="377666"/>
                      <a:pt x="307215" y="378619"/>
                    </a:cubicBezTo>
                    <a:cubicBezTo>
                      <a:pt x="308168" y="378619"/>
                      <a:pt x="308168" y="379571"/>
                      <a:pt x="309120" y="379571"/>
                    </a:cubicBezTo>
                    <a:lnTo>
                      <a:pt x="312930" y="379571"/>
                    </a:lnTo>
                    <a:cubicBezTo>
                      <a:pt x="312930" y="375761"/>
                      <a:pt x="312930" y="372904"/>
                      <a:pt x="311025" y="369094"/>
                    </a:cubicBezTo>
                    <a:cubicBezTo>
                      <a:pt x="308168" y="364331"/>
                      <a:pt x="306263" y="359569"/>
                      <a:pt x="306263" y="353854"/>
                    </a:cubicBezTo>
                    <a:cubicBezTo>
                      <a:pt x="306263" y="352901"/>
                      <a:pt x="306263" y="350996"/>
                      <a:pt x="306263" y="350044"/>
                    </a:cubicBezTo>
                    <a:cubicBezTo>
                      <a:pt x="307215" y="348139"/>
                      <a:pt x="309120" y="347186"/>
                      <a:pt x="311025" y="346234"/>
                    </a:cubicBezTo>
                    <a:cubicBezTo>
                      <a:pt x="313883" y="345281"/>
                      <a:pt x="317693" y="345281"/>
                      <a:pt x="321503" y="346234"/>
                    </a:cubicBezTo>
                    <a:cubicBezTo>
                      <a:pt x="322455" y="346234"/>
                      <a:pt x="323408" y="347186"/>
                      <a:pt x="324360" y="347186"/>
                    </a:cubicBezTo>
                    <a:cubicBezTo>
                      <a:pt x="328170" y="349091"/>
                      <a:pt x="331980" y="351949"/>
                      <a:pt x="335790" y="355759"/>
                    </a:cubicBezTo>
                    <a:cubicBezTo>
                      <a:pt x="339600" y="359569"/>
                      <a:pt x="343410" y="362426"/>
                      <a:pt x="346268" y="367189"/>
                    </a:cubicBezTo>
                    <a:cubicBezTo>
                      <a:pt x="349125" y="370999"/>
                      <a:pt x="351030" y="374809"/>
                      <a:pt x="353888" y="378619"/>
                    </a:cubicBezTo>
                    <a:lnTo>
                      <a:pt x="356745" y="382429"/>
                    </a:lnTo>
                    <a:cubicBezTo>
                      <a:pt x="370080" y="389096"/>
                      <a:pt x="384368" y="393859"/>
                      <a:pt x="398655" y="396716"/>
                    </a:cubicBezTo>
                    <a:lnTo>
                      <a:pt x="409133" y="398621"/>
                    </a:lnTo>
                    <a:lnTo>
                      <a:pt x="415800" y="399574"/>
                    </a:lnTo>
                    <a:cubicBezTo>
                      <a:pt x="415800" y="396716"/>
                      <a:pt x="415800" y="392906"/>
                      <a:pt x="414848" y="390049"/>
                    </a:cubicBezTo>
                    <a:cubicBezTo>
                      <a:pt x="413895" y="386239"/>
                      <a:pt x="412943" y="382429"/>
                      <a:pt x="410085" y="378619"/>
                    </a:cubicBezTo>
                    <a:cubicBezTo>
                      <a:pt x="407228" y="373856"/>
                      <a:pt x="402465" y="370046"/>
                      <a:pt x="398655" y="366236"/>
                    </a:cubicBezTo>
                    <a:cubicBezTo>
                      <a:pt x="392940" y="361474"/>
                      <a:pt x="387225" y="356711"/>
                      <a:pt x="380558" y="353854"/>
                    </a:cubicBezTo>
                    <a:cubicBezTo>
                      <a:pt x="369128" y="347186"/>
                      <a:pt x="356745" y="341471"/>
                      <a:pt x="343410" y="334804"/>
                    </a:cubicBezTo>
                    <a:lnTo>
                      <a:pt x="335790" y="331946"/>
                    </a:lnTo>
                    <a:lnTo>
                      <a:pt x="330075" y="329089"/>
                    </a:lnTo>
                    <a:lnTo>
                      <a:pt x="317693" y="324326"/>
                    </a:lnTo>
                    <a:lnTo>
                      <a:pt x="289118" y="313849"/>
                    </a:lnTo>
                    <a:lnTo>
                      <a:pt x="273878" y="309086"/>
                    </a:lnTo>
                    <a:lnTo>
                      <a:pt x="273878" y="309086"/>
                    </a:lnTo>
                    <a:lnTo>
                      <a:pt x="273878" y="30908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87755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27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+mn-ea"/>
                  <a:cs typeface="+mn-cs"/>
                </a:endParaRPr>
              </a:p>
            </p:txBody>
          </p:sp>
          <p:sp>
            <p:nvSpPr>
              <p:cNvPr id="67" name="Freeform: Shape 36">
                <a:extLst>
                  <a:ext uri="{FF2B5EF4-FFF2-40B4-BE49-F238E27FC236}">
                    <a16:creationId xmlns:a16="http://schemas.microsoft.com/office/drawing/2014/main" id="{6FF3C780-59A5-4799-A4D0-69C425618DC7}"/>
                  </a:ext>
                </a:extLst>
              </p:cNvPr>
              <p:cNvSpPr/>
              <p:nvPr/>
            </p:nvSpPr>
            <p:spPr>
              <a:xfrm>
                <a:off x="2171914" y="3208066"/>
                <a:ext cx="1514475" cy="1066800"/>
              </a:xfrm>
              <a:custGeom>
                <a:avLst/>
                <a:gdLst>
                  <a:gd name="connsiteX0" fmla="*/ 493951 w 1514475"/>
                  <a:gd name="connsiteY0" fmla="*/ 10001 h 1066800"/>
                  <a:gd name="connsiteX1" fmla="*/ 500619 w 1514475"/>
                  <a:gd name="connsiteY1" fmla="*/ 10001 h 1066800"/>
                  <a:gd name="connsiteX2" fmla="*/ 505381 w 1514475"/>
                  <a:gd name="connsiteY2" fmla="*/ 12859 h 1066800"/>
                  <a:gd name="connsiteX3" fmla="*/ 511096 w 1514475"/>
                  <a:gd name="connsiteY3" fmla="*/ 17621 h 1066800"/>
                  <a:gd name="connsiteX4" fmla="*/ 524431 w 1514475"/>
                  <a:gd name="connsiteY4" fmla="*/ 26194 h 1066800"/>
                  <a:gd name="connsiteX5" fmla="*/ 526336 w 1514475"/>
                  <a:gd name="connsiteY5" fmla="*/ 25241 h 1066800"/>
                  <a:gd name="connsiteX6" fmla="*/ 527289 w 1514475"/>
                  <a:gd name="connsiteY6" fmla="*/ 24289 h 1066800"/>
                  <a:gd name="connsiteX7" fmla="*/ 529194 w 1514475"/>
                  <a:gd name="connsiteY7" fmla="*/ 20479 h 1066800"/>
                  <a:gd name="connsiteX8" fmla="*/ 541576 w 1514475"/>
                  <a:gd name="connsiteY8" fmla="*/ 8096 h 1066800"/>
                  <a:gd name="connsiteX9" fmla="*/ 549196 w 1514475"/>
                  <a:gd name="connsiteY9" fmla="*/ 7144 h 1066800"/>
                  <a:gd name="connsiteX10" fmla="*/ 551101 w 1514475"/>
                  <a:gd name="connsiteY10" fmla="*/ 7144 h 1066800"/>
                  <a:gd name="connsiteX11" fmla="*/ 557769 w 1514475"/>
                  <a:gd name="connsiteY11" fmla="*/ 11906 h 1066800"/>
                  <a:gd name="connsiteX12" fmla="*/ 559674 w 1514475"/>
                  <a:gd name="connsiteY12" fmla="*/ 15716 h 1066800"/>
                  <a:gd name="connsiteX13" fmla="*/ 558721 w 1514475"/>
                  <a:gd name="connsiteY13" fmla="*/ 25241 h 1066800"/>
                  <a:gd name="connsiteX14" fmla="*/ 553959 w 1514475"/>
                  <a:gd name="connsiteY14" fmla="*/ 42386 h 1066800"/>
                  <a:gd name="connsiteX15" fmla="*/ 553006 w 1514475"/>
                  <a:gd name="connsiteY15" fmla="*/ 44291 h 1066800"/>
                  <a:gd name="connsiteX16" fmla="*/ 551101 w 1514475"/>
                  <a:gd name="connsiteY16" fmla="*/ 52864 h 1066800"/>
                  <a:gd name="connsiteX17" fmla="*/ 538719 w 1514475"/>
                  <a:gd name="connsiteY17" fmla="*/ 75724 h 1066800"/>
                  <a:gd name="connsiteX18" fmla="*/ 528242 w 1514475"/>
                  <a:gd name="connsiteY18" fmla="*/ 98584 h 1066800"/>
                  <a:gd name="connsiteX19" fmla="*/ 527289 w 1514475"/>
                  <a:gd name="connsiteY19" fmla="*/ 107156 h 1066800"/>
                  <a:gd name="connsiteX20" fmla="*/ 526336 w 1514475"/>
                  <a:gd name="connsiteY20" fmla="*/ 116681 h 1066800"/>
                  <a:gd name="connsiteX21" fmla="*/ 527289 w 1514475"/>
                  <a:gd name="connsiteY21" fmla="*/ 135731 h 1066800"/>
                  <a:gd name="connsiteX22" fmla="*/ 527289 w 1514475"/>
                  <a:gd name="connsiteY22" fmla="*/ 136684 h 1066800"/>
                  <a:gd name="connsiteX23" fmla="*/ 527289 w 1514475"/>
                  <a:gd name="connsiteY23" fmla="*/ 149066 h 1066800"/>
                  <a:gd name="connsiteX24" fmla="*/ 526336 w 1514475"/>
                  <a:gd name="connsiteY24" fmla="*/ 153829 h 1066800"/>
                  <a:gd name="connsiteX25" fmla="*/ 524431 w 1514475"/>
                  <a:gd name="connsiteY25" fmla="*/ 163354 h 1066800"/>
                  <a:gd name="connsiteX26" fmla="*/ 523479 w 1514475"/>
                  <a:gd name="connsiteY26" fmla="*/ 167164 h 1066800"/>
                  <a:gd name="connsiteX27" fmla="*/ 529194 w 1514475"/>
                  <a:gd name="connsiteY27" fmla="*/ 172879 h 1066800"/>
                  <a:gd name="connsiteX28" fmla="*/ 533956 w 1514475"/>
                  <a:gd name="connsiteY28" fmla="*/ 177641 h 1066800"/>
                  <a:gd name="connsiteX29" fmla="*/ 540624 w 1514475"/>
                  <a:gd name="connsiteY29" fmla="*/ 183356 h 1066800"/>
                  <a:gd name="connsiteX30" fmla="*/ 549196 w 1514475"/>
                  <a:gd name="connsiteY30" fmla="*/ 189071 h 1066800"/>
                  <a:gd name="connsiteX31" fmla="*/ 553959 w 1514475"/>
                  <a:gd name="connsiteY31" fmla="*/ 190976 h 1066800"/>
                  <a:gd name="connsiteX32" fmla="*/ 560626 w 1514475"/>
                  <a:gd name="connsiteY32" fmla="*/ 190976 h 1066800"/>
                  <a:gd name="connsiteX33" fmla="*/ 570151 w 1514475"/>
                  <a:gd name="connsiteY33" fmla="*/ 188119 h 1066800"/>
                  <a:gd name="connsiteX34" fmla="*/ 579676 w 1514475"/>
                  <a:gd name="connsiteY34" fmla="*/ 184309 h 1066800"/>
                  <a:gd name="connsiteX35" fmla="*/ 582534 w 1514475"/>
                  <a:gd name="connsiteY35" fmla="*/ 183356 h 1066800"/>
                  <a:gd name="connsiteX36" fmla="*/ 586344 w 1514475"/>
                  <a:gd name="connsiteY36" fmla="*/ 180499 h 1066800"/>
                  <a:gd name="connsiteX37" fmla="*/ 590154 w 1514475"/>
                  <a:gd name="connsiteY37" fmla="*/ 177641 h 1066800"/>
                  <a:gd name="connsiteX38" fmla="*/ 595869 w 1514475"/>
                  <a:gd name="connsiteY38" fmla="*/ 172879 h 1066800"/>
                  <a:gd name="connsiteX39" fmla="*/ 600631 w 1514475"/>
                  <a:gd name="connsiteY39" fmla="*/ 168116 h 1066800"/>
                  <a:gd name="connsiteX40" fmla="*/ 604442 w 1514475"/>
                  <a:gd name="connsiteY40" fmla="*/ 164306 h 1066800"/>
                  <a:gd name="connsiteX41" fmla="*/ 611109 w 1514475"/>
                  <a:gd name="connsiteY41" fmla="*/ 155734 h 1066800"/>
                  <a:gd name="connsiteX42" fmla="*/ 622539 w 1514475"/>
                  <a:gd name="connsiteY42" fmla="*/ 131921 h 1066800"/>
                  <a:gd name="connsiteX43" fmla="*/ 624444 w 1514475"/>
                  <a:gd name="connsiteY43" fmla="*/ 127159 h 1066800"/>
                  <a:gd name="connsiteX44" fmla="*/ 625396 w 1514475"/>
                  <a:gd name="connsiteY44" fmla="*/ 121444 h 1066800"/>
                  <a:gd name="connsiteX45" fmla="*/ 629206 w 1514475"/>
                  <a:gd name="connsiteY45" fmla="*/ 103346 h 1066800"/>
                  <a:gd name="connsiteX46" fmla="*/ 633017 w 1514475"/>
                  <a:gd name="connsiteY46" fmla="*/ 96679 h 1066800"/>
                  <a:gd name="connsiteX47" fmla="*/ 634921 w 1514475"/>
                  <a:gd name="connsiteY47" fmla="*/ 92869 h 1066800"/>
                  <a:gd name="connsiteX48" fmla="*/ 639684 w 1514475"/>
                  <a:gd name="connsiteY48" fmla="*/ 87154 h 1066800"/>
                  <a:gd name="connsiteX49" fmla="*/ 644446 w 1514475"/>
                  <a:gd name="connsiteY49" fmla="*/ 82391 h 1066800"/>
                  <a:gd name="connsiteX50" fmla="*/ 650161 w 1514475"/>
                  <a:gd name="connsiteY50" fmla="*/ 83344 h 1066800"/>
                  <a:gd name="connsiteX51" fmla="*/ 652067 w 1514475"/>
                  <a:gd name="connsiteY51" fmla="*/ 83344 h 1066800"/>
                  <a:gd name="connsiteX52" fmla="*/ 653971 w 1514475"/>
                  <a:gd name="connsiteY52" fmla="*/ 84296 h 1066800"/>
                  <a:gd name="connsiteX53" fmla="*/ 655876 w 1514475"/>
                  <a:gd name="connsiteY53" fmla="*/ 86201 h 1066800"/>
                  <a:gd name="connsiteX54" fmla="*/ 657781 w 1514475"/>
                  <a:gd name="connsiteY54" fmla="*/ 89059 h 1066800"/>
                  <a:gd name="connsiteX55" fmla="*/ 658734 w 1514475"/>
                  <a:gd name="connsiteY55" fmla="*/ 90964 h 1066800"/>
                  <a:gd name="connsiteX56" fmla="*/ 657781 w 1514475"/>
                  <a:gd name="connsiteY56" fmla="*/ 97631 h 1066800"/>
                  <a:gd name="connsiteX57" fmla="*/ 653019 w 1514475"/>
                  <a:gd name="connsiteY57" fmla="*/ 125254 h 1066800"/>
                  <a:gd name="connsiteX58" fmla="*/ 650161 w 1514475"/>
                  <a:gd name="connsiteY58" fmla="*/ 135731 h 1066800"/>
                  <a:gd name="connsiteX59" fmla="*/ 651114 w 1514475"/>
                  <a:gd name="connsiteY59" fmla="*/ 145256 h 1066800"/>
                  <a:gd name="connsiteX60" fmla="*/ 653019 w 1514475"/>
                  <a:gd name="connsiteY60" fmla="*/ 148114 h 1066800"/>
                  <a:gd name="connsiteX61" fmla="*/ 656829 w 1514475"/>
                  <a:gd name="connsiteY61" fmla="*/ 150019 h 1066800"/>
                  <a:gd name="connsiteX62" fmla="*/ 661592 w 1514475"/>
                  <a:gd name="connsiteY62" fmla="*/ 150019 h 1066800"/>
                  <a:gd name="connsiteX63" fmla="*/ 669211 w 1514475"/>
                  <a:gd name="connsiteY63" fmla="*/ 149066 h 1066800"/>
                  <a:gd name="connsiteX64" fmla="*/ 677784 w 1514475"/>
                  <a:gd name="connsiteY64" fmla="*/ 145256 h 1066800"/>
                  <a:gd name="connsiteX65" fmla="*/ 695881 w 1514475"/>
                  <a:gd name="connsiteY65" fmla="*/ 134779 h 1066800"/>
                  <a:gd name="connsiteX66" fmla="*/ 711121 w 1514475"/>
                  <a:gd name="connsiteY66" fmla="*/ 126206 h 1066800"/>
                  <a:gd name="connsiteX67" fmla="*/ 714931 w 1514475"/>
                  <a:gd name="connsiteY67" fmla="*/ 125254 h 1066800"/>
                  <a:gd name="connsiteX68" fmla="*/ 717789 w 1514475"/>
                  <a:gd name="connsiteY68" fmla="*/ 127159 h 1066800"/>
                  <a:gd name="connsiteX69" fmla="*/ 719694 w 1514475"/>
                  <a:gd name="connsiteY69" fmla="*/ 129064 h 1066800"/>
                  <a:gd name="connsiteX70" fmla="*/ 720646 w 1514475"/>
                  <a:gd name="connsiteY70" fmla="*/ 133826 h 1066800"/>
                  <a:gd name="connsiteX71" fmla="*/ 719694 w 1514475"/>
                  <a:gd name="connsiteY71" fmla="*/ 138589 h 1066800"/>
                  <a:gd name="connsiteX72" fmla="*/ 719694 w 1514475"/>
                  <a:gd name="connsiteY72" fmla="*/ 139541 h 1066800"/>
                  <a:gd name="connsiteX73" fmla="*/ 718742 w 1514475"/>
                  <a:gd name="connsiteY73" fmla="*/ 144304 h 1066800"/>
                  <a:gd name="connsiteX74" fmla="*/ 718742 w 1514475"/>
                  <a:gd name="connsiteY74" fmla="*/ 145256 h 1066800"/>
                  <a:gd name="connsiteX75" fmla="*/ 718742 w 1514475"/>
                  <a:gd name="connsiteY75" fmla="*/ 148114 h 1066800"/>
                  <a:gd name="connsiteX76" fmla="*/ 715884 w 1514475"/>
                  <a:gd name="connsiteY76" fmla="*/ 150971 h 1066800"/>
                  <a:gd name="connsiteX77" fmla="*/ 713026 w 1514475"/>
                  <a:gd name="connsiteY77" fmla="*/ 155734 h 1066800"/>
                  <a:gd name="connsiteX78" fmla="*/ 709217 w 1514475"/>
                  <a:gd name="connsiteY78" fmla="*/ 159544 h 1066800"/>
                  <a:gd name="connsiteX79" fmla="*/ 702549 w 1514475"/>
                  <a:gd name="connsiteY79" fmla="*/ 165259 h 1066800"/>
                  <a:gd name="connsiteX80" fmla="*/ 692071 w 1514475"/>
                  <a:gd name="connsiteY80" fmla="*/ 171926 h 1066800"/>
                  <a:gd name="connsiteX81" fmla="*/ 680642 w 1514475"/>
                  <a:gd name="connsiteY81" fmla="*/ 175736 h 1066800"/>
                  <a:gd name="connsiteX82" fmla="*/ 676831 w 1514475"/>
                  <a:gd name="connsiteY82" fmla="*/ 176689 h 1066800"/>
                  <a:gd name="connsiteX83" fmla="*/ 668259 w 1514475"/>
                  <a:gd name="connsiteY83" fmla="*/ 177641 h 1066800"/>
                  <a:gd name="connsiteX84" fmla="*/ 657781 w 1514475"/>
                  <a:gd name="connsiteY84" fmla="*/ 179546 h 1066800"/>
                  <a:gd name="connsiteX85" fmla="*/ 648256 w 1514475"/>
                  <a:gd name="connsiteY85" fmla="*/ 181451 h 1066800"/>
                  <a:gd name="connsiteX86" fmla="*/ 640636 w 1514475"/>
                  <a:gd name="connsiteY86" fmla="*/ 184309 h 1066800"/>
                  <a:gd name="connsiteX87" fmla="*/ 633017 w 1514475"/>
                  <a:gd name="connsiteY87" fmla="*/ 186214 h 1066800"/>
                  <a:gd name="connsiteX88" fmla="*/ 625396 w 1514475"/>
                  <a:gd name="connsiteY88" fmla="*/ 189071 h 1066800"/>
                  <a:gd name="connsiteX89" fmla="*/ 601584 w 1514475"/>
                  <a:gd name="connsiteY89" fmla="*/ 201454 h 1066800"/>
                  <a:gd name="connsiteX90" fmla="*/ 580629 w 1514475"/>
                  <a:gd name="connsiteY90" fmla="*/ 225266 h 1066800"/>
                  <a:gd name="connsiteX91" fmla="*/ 577771 w 1514475"/>
                  <a:gd name="connsiteY91" fmla="*/ 232886 h 1066800"/>
                  <a:gd name="connsiteX92" fmla="*/ 575867 w 1514475"/>
                  <a:gd name="connsiteY92" fmla="*/ 241459 h 1066800"/>
                  <a:gd name="connsiteX93" fmla="*/ 575867 w 1514475"/>
                  <a:gd name="connsiteY93" fmla="*/ 255746 h 1066800"/>
                  <a:gd name="connsiteX94" fmla="*/ 575867 w 1514475"/>
                  <a:gd name="connsiteY94" fmla="*/ 270034 h 1066800"/>
                  <a:gd name="connsiteX95" fmla="*/ 574914 w 1514475"/>
                  <a:gd name="connsiteY95" fmla="*/ 275749 h 1066800"/>
                  <a:gd name="connsiteX96" fmla="*/ 573009 w 1514475"/>
                  <a:gd name="connsiteY96" fmla="*/ 287179 h 1066800"/>
                  <a:gd name="connsiteX97" fmla="*/ 572056 w 1514475"/>
                  <a:gd name="connsiteY97" fmla="*/ 290036 h 1066800"/>
                  <a:gd name="connsiteX98" fmla="*/ 551101 w 1514475"/>
                  <a:gd name="connsiteY98" fmla="*/ 328136 h 1066800"/>
                  <a:gd name="connsiteX99" fmla="*/ 540624 w 1514475"/>
                  <a:gd name="connsiteY99" fmla="*/ 338614 h 1066800"/>
                  <a:gd name="connsiteX100" fmla="*/ 530146 w 1514475"/>
                  <a:gd name="connsiteY100" fmla="*/ 348139 h 1066800"/>
                  <a:gd name="connsiteX101" fmla="*/ 497761 w 1514475"/>
                  <a:gd name="connsiteY101" fmla="*/ 368141 h 1066800"/>
                  <a:gd name="connsiteX102" fmla="*/ 475854 w 1514475"/>
                  <a:gd name="connsiteY102" fmla="*/ 377666 h 1066800"/>
                  <a:gd name="connsiteX103" fmla="*/ 399654 w 1514475"/>
                  <a:gd name="connsiteY103" fmla="*/ 425291 h 1066800"/>
                  <a:gd name="connsiteX104" fmla="*/ 397749 w 1514475"/>
                  <a:gd name="connsiteY104" fmla="*/ 423386 h 1066800"/>
                  <a:gd name="connsiteX105" fmla="*/ 398701 w 1514475"/>
                  <a:gd name="connsiteY105" fmla="*/ 431006 h 1066800"/>
                  <a:gd name="connsiteX106" fmla="*/ 458709 w 1514475"/>
                  <a:gd name="connsiteY106" fmla="*/ 544354 h 1066800"/>
                  <a:gd name="connsiteX107" fmla="*/ 556817 w 1514475"/>
                  <a:gd name="connsiteY107" fmla="*/ 634841 h 1066800"/>
                  <a:gd name="connsiteX108" fmla="*/ 643494 w 1514475"/>
                  <a:gd name="connsiteY108" fmla="*/ 680561 h 1066800"/>
                  <a:gd name="connsiteX109" fmla="*/ 759699 w 1514475"/>
                  <a:gd name="connsiteY109" fmla="*/ 696754 h 1066800"/>
                  <a:gd name="connsiteX110" fmla="*/ 796846 w 1514475"/>
                  <a:gd name="connsiteY110" fmla="*/ 696754 h 1066800"/>
                  <a:gd name="connsiteX111" fmla="*/ 865426 w 1514475"/>
                  <a:gd name="connsiteY111" fmla="*/ 692944 h 1066800"/>
                  <a:gd name="connsiteX112" fmla="*/ 969249 w 1514475"/>
                  <a:gd name="connsiteY112" fmla="*/ 687229 h 1066800"/>
                  <a:gd name="connsiteX113" fmla="*/ 1017826 w 1514475"/>
                  <a:gd name="connsiteY113" fmla="*/ 683419 h 1066800"/>
                  <a:gd name="connsiteX114" fmla="*/ 1056879 w 1514475"/>
                  <a:gd name="connsiteY114" fmla="*/ 621506 h 1066800"/>
                  <a:gd name="connsiteX115" fmla="*/ 1080692 w 1514475"/>
                  <a:gd name="connsiteY115" fmla="*/ 575786 h 1066800"/>
                  <a:gd name="connsiteX116" fmla="*/ 1150224 w 1514475"/>
                  <a:gd name="connsiteY116" fmla="*/ 541496 h 1066800"/>
                  <a:gd name="connsiteX117" fmla="*/ 1137842 w 1514475"/>
                  <a:gd name="connsiteY117" fmla="*/ 570071 h 1066800"/>
                  <a:gd name="connsiteX118" fmla="*/ 1109267 w 1514475"/>
                  <a:gd name="connsiteY118" fmla="*/ 626269 h 1066800"/>
                  <a:gd name="connsiteX119" fmla="*/ 1106409 w 1514475"/>
                  <a:gd name="connsiteY119" fmla="*/ 642461 h 1066800"/>
                  <a:gd name="connsiteX120" fmla="*/ 1108314 w 1514475"/>
                  <a:gd name="connsiteY120" fmla="*/ 715804 h 1066800"/>
                  <a:gd name="connsiteX121" fmla="*/ 1118792 w 1514475"/>
                  <a:gd name="connsiteY121" fmla="*/ 787241 h 1066800"/>
                  <a:gd name="connsiteX122" fmla="*/ 1144509 w 1514475"/>
                  <a:gd name="connsiteY122" fmla="*/ 866299 h 1066800"/>
                  <a:gd name="connsiteX123" fmla="*/ 1234996 w 1514475"/>
                  <a:gd name="connsiteY123" fmla="*/ 875824 h 1066800"/>
                  <a:gd name="connsiteX124" fmla="*/ 1274049 w 1514475"/>
                  <a:gd name="connsiteY124" fmla="*/ 894874 h 1066800"/>
                  <a:gd name="connsiteX125" fmla="*/ 1320721 w 1514475"/>
                  <a:gd name="connsiteY125" fmla="*/ 927259 h 1066800"/>
                  <a:gd name="connsiteX126" fmla="*/ 1432164 w 1514475"/>
                  <a:gd name="connsiteY126" fmla="*/ 958691 h 1066800"/>
                  <a:gd name="connsiteX127" fmla="*/ 1458834 w 1514475"/>
                  <a:gd name="connsiteY127" fmla="*/ 959644 h 1066800"/>
                  <a:gd name="connsiteX128" fmla="*/ 1507411 w 1514475"/>
                  <a:gd name="connsiteY128" fmla="*/ 989171 h 1066800"/>
                  <a:gd name="connsiteX129" fmla="*/ 1485504 w 1514475"/>
                  <a:gd name="connsiteY129" fmla="*/ 998696 h 1066800"/>
                  <a:gd name="connsiteX130" fmla="*/ 1465501 w 1514475"/>
                  <a:gd name="connsiteY130" fmla="*/ 1004411 h 1066800"/>
                  <a:gd name="connsiteX131" fmla="*/ 1474074 w 1514475"/>
                  <a:gd name="connsiteY131" fmla="*/ 1019651 h 1066800"/>
                  <a:gd name="connsiteX132" fmla="*/ 1471217 w 1514475"/>
                  <a:gd name="connsiteY132" fmla="*/ 1041559 h 1066800"/>
                  <a:gd name="connsiteX133" fmla="*/ 1452167 w 1514475"/>
                  <a:gd name="connsiteY133" fmla="*/ 1047274 h 1066800"/>
                  <a:gd name="connsiteX134" fmla="*/ 1442642 w 1514475"/>
                  <a:gd name="connsiteY134" fmla="*/ 1049179 h 1066800"/>
                  <a:gd name="connsiteX135" fmla="*/ 1424544 w 1514475"/>
                  <a:gd name="connsiteY135" fmla="*/ 1044416 h 1066800"/>
                  <a:gd name="connsiteX136" fmla="*/ 1394064 w 1514475"/>
                  <a:gd name="connsiteY136" fmla="*/ 1033939 h 1066800"/>
                  <a:gd name="connsiteX137" fmla="*/ 1305482 w 1514475"/>
                  <a:gd name="connsiteY137" fmla="*/ 991076 h 1066800"/>
                  <a:gd name="connsiteX138" fmla="*/ 1260714 w 1514475"/>
                  <a:gd name="connsiteY138" fmla="*/ 967264 h 1066800"/>
                  <a:gd name="connsiteX139" fmla="*/ 1182609 w 1514475"/>
                  <a:gd name="connsiteY139" fmla="*/ 961549 h 1066800"/>
                  <a:gd name="connsiteX140" fmla="*/ 1116886 w 1514475"/>
                  <a:gd name="connsiteY140" fmla="*/ 973931 h 1066800"/>
                  <a:gd name="connsiteX141" fmla="*/ 972106 w 1514475"/>
                  <a:gd name="connsiteY141" fmla="*/ 944404 h 1066800"/>
                  <a:gd name="connsiteX142" fmla="*/ 835899 w 1514475"/>
                  <a:gd name="connsiteY142" fmla="*/ 917734 h 1066800"/>
                  <a:gd name="connsiteX143" fmla="*/ 786369 w 1514475"/>
                  <a:gd name="connsiteY143" fmla="*/ 932974 h 1066800"/>
                  <a:gd name="connsiteX144" fmla="*/ 770176 w 1514475"/>
                  <a:gd name="connsiteY144" fmla="*/ 939641 h 1066800"/>
                  <a:gd name="connsiteX145" fmla="*/ 693024 w 1514475"/>
                  <a:gd name="connsiteY145" fmla="*/ 942499 h 1066800"/>
                  <a:gd name="connsiteX146" fmla="*/ 566342 w 1514475"/>
                  <a:gd name="connsiteY146" fmla="*/ 921544 h 1066800"/>
                  <a:gd name="connsiteX147" fmla="*/ 532051 w 1514475"/>
                  <a:gd name="connsiteY147" fmla="*/ 915829 h 1066800"/>
                  <a:gd name="connsiteX148" fmla="*/ 512049 w 1514475"/>
                  <a:gd name="connsiteY148" fmla="*/ 911066 h 1066800"/>
                  <a:gd name="connsiteX149" fmla="*/ 469186 w 1514475"/>
                  <a:gd name="connsiteY149" fmla="*/ 916781 h 1066800"/>
                  <a:gd name="connsiteX150" fmla="*/ 356791 w 1514475"/>
                  <a:gd name="connsiteY150" fmla="*/ 912971 h 1066800"/>
                  <a:gd name="connsiteX151" fmla="*/ 219631 w 1514475"/>
                  <a:gd name="connsiteY151" fmla="*/ 962501 h 1066800"/>
                  <a:gd name="connsiteX152" fmla="*/ 178674 w 1514475"/>
                  <a:gd name="connsiteY152" fmla="*/ 999649 h 1066800"/>
                  <a:gd name="connsiteX153" fmla="*/ 159624 w 1514475"/>
                  <a:gd name="connsiteY153" fmla="*/ 1024414 h 1066800"/>
                  <a:gd name="connsiteX154" fmla="*/ 111999 w 1514475"/>
                  <a:gd name="connsiteY154" fmla="*/ 1057751 h 1066800"/>
                  <a:gd name="connsiteX155" fmla="*/ 79614 w 1514475"/>
                  <a:gd name="connsiteY155" fmla="*/ 1068229 h 1066800"/>
                  <a:gd name="connsiteX156" fmla="*/ 92949 w 1514475"/>
                  <a:gd name="connsiteY156" fmla="*/ 1042511 h 1066800"/>
                  <a:gd name="connsiteX157" fmla="*/ 114856 w 1514475"/>
                  <a:gd name="connsiteY157" fmla="*/ 1011079 h 1066800"/>
                  <a:gd name="connsiteX158" fmla="*/ 133906 w 1514475"/>
                  <a:gd name="connsiteY158" fmla="*/ 987266 h 1066800"/>
                  <a:gd name="connsiteX159" fmla="*/ 170101 w 1514475"/>
                  <a:gd name="connsiteY159" fmla="*/ 950119 h 1066800"/>
                  <a:gd name="connsiteX160" fmla="*/ 192961 w 1514475"/>
                  <a:gd name="connsiteY160" fmla="*/ 928211 h 1066800"/>
                  <a:gd name="connsiteX161" fmla="*/ 140574 w 1514475"/>
                  <a:gd name="connsiteY161" fmla="*/ 950119 h 1066800"/>
                  <a:gd name="connsiteX162" fmla="*/ 31036 w 1514475"/>
                  <a:gd name="connsiteY162" fmla="*/ 986314 h 1066800"/>
                  <a:gd name="connsiteX163" fmla="*/ 7224 w 1514475"/>
                  <a:gd name="connsiteY163" fmla="*/ 981551 h 1066800"/>
                  <a:gd name="connsiteX164" fmla="*/ 116761 w 1514475"/>
                  <a:gd name="connsiteY164" fmla="*/ 923449 h 1066800"/>
                  <a:gd name="connsiteX165" fmla="*/ 232966 w 1514475"/>
                  <a:gd name="connsiteY165" fmla="*/ 871061 h 1066800"/>
                  <a:gd name="connsiteX166" fmla="*/ 347266 w 1514475"/>
                  <a:gd name="connsiteY166" fmla="*/ 845344 h 1066800"/>
                  <a:gd name="connsiteX167" fmla="*/ 389176 w 1514475"/>
                  <a:gd name="connsiteY167" fmla="*/ 834866 h 1066800"/>
                  <a:gd name="connsiteX168" fmla="*/ 379651 w 1514475"/>
                  <a:gd name="connsiteY168" fmla="*/ 783431 h 1066800"/>
                  <a:gd name="connsiteX169" fmla="*/ 355839 w 1514475"/>
                  <a:gd name="connsiteY169" fmla="*/ 748189 h 1066800"/>
                  <a:gd name="connsiteX170" fmla="*/ 332979 w 1514475"/>
                  <a:gd name="connsiteY170" fmla="*/ 723424 h 1066800"/>
                  <a:gd name="connsiteX171" fmla="*/ 310119 w 1514475"/>
                  <a:gd name="connsiteY171" fmla="*/ 633889 h 1066800"/>
                  <a:gd name="connsiteX172" fmla="*/ 307261 w 1514475"/>
                  <a:gd name="connsiteY172" fmla="*/ 567214 h 1066800"/>
                  <a:gd name="connsiteX173" fmla="*/ 286306 w 1514475"/>
                  <a:gd name="connsiteY173" fmla="*/ 545306 h 1066800"/>
                  <a:gd name="connsiteX174" fmla="*/ 197724 w 1514475"/>
                  <a:gd name="connsiteY174" fmla="*/ 531971 h 1066800"/>
                  <a:gd name="connsiteX175" fmla="*/ 178674 w 1514475"/>
                  <a:gd name="connsiteY175" fmla="*/ 511016 h 1066800"/>
                  <a:gd name="connsiteX176" fmla="*/ 215821 w 1514475"/>
                  <a:gd name="connsiteY176" fmla="*/ 471964 h 1066800"/>
                  <a:gd name="connsiteX177" fmla="*/ 294879 w 1514475"/>
                  <a:gd name="connsiteY177" fmla="*/ 438626 h 1066800"/>
                  <a:gd name="connsiteX178" fmla="*/ 282496 w 1514475"/>
                  <a:gd name="connsiteY178" fmla="*/ 436721 h 1066800"/>
                  <a:gd name="connsiteX179" fmla="*/ 232014 w 1514475"/>
                  <a:gd name="connsiteY179" fmla="*/ 432911 h 1066800"/>
                  <a:gd name="connsiteX180" fmla="*/ 203439 w 1514475"/>
                  <a:gd name="connsiteY180" fmla="*/ 431006 h 1066800"/>
                  <a:gd name="connsiteX181" fmla="*/ 180579 w 1514475"/>
                  <a:gd name="connsiteY181" fmla="*/ 427196 h 1066800"/>
                  <a:gd name="connsiteX182" fmla="*/ 166291 w 1514475"/>
                  <a:gd name="connsiteY182" fmla="*/ 421481 h 1066800"/>
                  <a:gd name="connsiteX183" fmla="*/ 161529 w 1514475"/>
                  <a:gd name="connsiteY183" fmla="*/ 411004 h 1066800"/>
                  <a:gd name="connsiteX184" fmla="*/ 169149 w 1514475"/>
                  <a:gd name="connsiteY184" fmla="*/ 403384 h 1066800"/>
                  <a:gd name="connsiteX185" fmla="*/ 184389 w 1514475"/>
                  <a:gd name="connsiteY185" fmla="*/ 404336 h 1066800"/>
                  <a:gd name="connsiteX186" fmla="*/ 178674 w 1514475"/>
                  <a:gd name="connsiteY186" fmla="*/ 394811 h 1066800"/>
                  <a:gd name="connsiteX187" fmla="*/ 173911 w 1514475"/>
                  <a:gd name="connsiteY187" fmla="*/ 385286 h 1066800"/>
                  <a:gd name="connsiteX188" fmla="*/ 170101 w 1514475"/>
                  <a:gd name="connsiteY188" fmla="*/ 374809 h 1066800"/>
                  <a:gd name="connsiteX189" fmla="*/ 161529 w 1514475"/>
                  <a:gd name="connsiteY189" fmla="*/ 332899 h 1066800"/>
                  <a:gd name="connsiteX190" fmla="*/ 152956 w 1514475"/>
                  <a:gd name="connsiteY190" fmla="*/ 323374 h 1066800"/>
                  <a:gd name="connsiteX191" fmla="*/ 148194 w 1514475"/>
                  <a:gd name="connsiteY191" fmla="*/ 313849 h 1066800"/>
                  <a:gd name="connsiteX192" fmla="*/ 152956 w 1514475"/>
                  <a:gd name="connsiteY192" fmla="*/ 305276 h 1066800"/>
                  <a:gd name="connsiteX193" fmla="*/ 163434 w 1514475"/>
                  <a:gd name="connsiteY193" fmla="*/ 306229 h 1066800"/>
                  <a:gd name="connsiteX194" fmla="*/ 176769 w 1514475"/>
                  <a:gd name="connsiteY194" fmla="*/ 312896 h 1066800"/>
                  <a:gd name="connsiteX195" fmla="*/ 192009 w 1514475"/>
                  <a:gd name="connsiteY195" fmla="*/ 318611 h 1066800"/>
                  <a:gd name="connsiteX196" fmla="*/ 203439 w 1514475"/>
                  <a:gd name="connsiteY196" fmla="*/ 320516 h 1066800"/>
                  <a:gd name="connsiteX197" fmla="*/ 197724 w 1514475"/>
                  <a:gd name="connsiteY197" fmla="*/ 313849 h 1066800"/>
                  <a:gd name="connsiteX198" fmla="*/ 192009 w 1514475"/>
                  <a:gd name="connsiteY198" fmla="*/ 303371 h 1066800"/>
                  <a:gd name="connsiteX199" fmla="*/ 185341 w 1514475"/>
                  <a:gd name="connsiteY199" fmla="*/ 289084 h 1066800"/>
                  <a:gd name="connsiteX200" fmla="*/ 182484 w 1514475"/>
                  <a:gd name="connsiteY200" fmla="*/ 282416 h 1066800"/>
                  <a:gd name="connsiteX201" fmla="*/ 186294 w 1514475"/>
                  <a:gd name="connsiteY201" fmla="*/ 272891 h 1066800"/>
                  <a:gd name="connsiteX202" fmla="*/ 194866 w 1514475"/>
                  <a:gd name="connsiteY202" fmla="*/ 272891 h 1066800"/>
                  <a:gd name="connsiteX203" fmla="*/ 204391 w 1514475"/>
                  <a:gd name="connsiteY203" fmla="*/ 280511 h 1066800"/>
                  <a:gd name="connsiteX204" fmla="*/ 215821 w 1514475"/>
                  <a:gd name="connsiteY204" fmla="*/ 294799 h 1066800"/>
                  <a:gd name="connsiteX205" fmla="*/ 229156 w 1514475"/>
                  <a:gd name="connsiteY205" fmla="*/ 308134 h 1066800"/>
                  <a:gd name="connsiteX206" fmla="*/ 252969 w 1514475"/>
                  <a:gd name="connsiteY206" fmla="*/ 327184 h 1066800"/>
                  <a:gd name="connsiteX207" fmla="*/ 274876 w 1514475"/>
                  <a:gd name="connsiteY207" fmla="*/ 337661 h 1066800"/>
                  <a:gd name="connsiteX208" fmla="*/ 277734 w 1514475"/>
                  <a:gd name="connsiteY208" fmla="*/ 337661 h 1066800"/>
                  <a:gd name="connsiteX209" fmla="*/ 287259 w 1514475"/>
                  <a:gd name="connsiteY209" fmla="*/ 333851 h 1066800"/>
                  <a:gd name="connsiteX210" fmla="*/ 289164 w 1514475"/>
                  <a:gd name="connsiteY210" fmla="*/ 330041 h 1066800"/>
                  <a:gd name="connsiteX211" fmla="*/ 289164 w 1514475"/>
                  <a:gd name="connsiteY211" fmla="*/ 325279 h 1066800"/>
                  <a:gd name="connsiteX212" fmla="*/ 288211 w 1514475"/>
                  <a:gd name="connsiteY212" fmla="*/ 309086 h 1066800"/>
                  <a:gd name="connsiteX213" fmla="*/ 293926 w 1514475"/>
                  <a:gd name="connsiteY213" fmla="*/ 292894 h 1066800"/>
                  <a:gd name="connsiteX214" fmla="*/ 306309 w 1514475"/>
                  <a:gd name="connsiteY214" fmla="*/ 291941 h 1066800"/>
                  <a:gd name="connsiteX215" fmla="*/ 310119 w 1514475"/>
                  <a:gd name="connsiteY215" fmla="*/ 300514 h 1066800"/>
                  <a:gd name="connsiteX216" fmla="*/ 315834 w 1514475"/>
                  <a:gd name="connsiteY216" fmla="*/ 350044 h 1066800"/>
                  <a:gd name="connsiteX217" fmla="*/ 376794 w 1514475"/>
                  <a:gd name="connsiteY217" fmla="*/ 364331 h 1066800"/>
                  <a:gd name="connsiteX218" fmla="*/ 385366 w 1514475"/>
                  <a:gd name="connsiteY218" fmla="*/ 358616 h 1066800"/>
                  <a:gd name="connsiteX219" fmla="*/ 397749 w 1514475"/>
                  <a:gd name="connsiteY219" fmla="*/ 346234 h 1066800"/>
                  <a:gd name="connsiteX220" fmla="*/ 424419 w 1514475"/>
                  <a:gd name="connsiteY220" fmla="*/ 312896 h 1066800"/>
                  <a:gd name="connsiteX221" fmla="*/ 436801 w 1514475"/>
                  <a:gd name="connsiteY221" fmla="*/ 286226 h 1066800"/>
                  <a:gd name="connsiteX222" fmla="*/ 437754 w 1514475"/>
                  <a:gd name="connsiteY222" fmla="*/ 284321 h 1066800"/>
                  <a:gd name="connsiteX223" fmla="*/ 439659 w 1514475"/>
                  <a:gd name="connsiteY223" fmla="*/ 265271 h 1066800"/>
                  <a:gd name="connsiteX224" fmla="*/ 433944 w 1514475"/>
                  <a:gd name="connsiteY224" fmla="*/ 246221 h 1066800"/>
                  <a:gd name="connsiteX225" fmla="*/ 424419 w 1514475"/>
                  <a:gd name="connsiteY225" fmla="*/ 232886 h 1066800"/>
                  <a:gd name="connsiteX226" fmla="*/ 408226 w 1514475"/>
                  <a:gd name="connsiteY226" fmla="*/ 215741 h 1066800"/>
                  <a:gd name="connsiteX227" fmla="*/ 386319 w 1514475"/>
                  <a:gd name="connsiteY227" fmla="*/ 205264 h 1066800"/>
                  <a:gd name="connsiteX228" fmla="*/ 366316 w 1514475"/>
                  <a:gd name="connsiteY228" fmla="*/ 198596 h 1066800"/>
                  <a:gd name="connsiteX229" fmla="*/ 355839 w 1514475"/>
                  <a:gd name="connsiteY229" fmla="*/ 195739 h 1066800"/>
                  <a:gd name="connsiteX230" fmla="*/ 340599 w 1514475"/>
                  <a:gd name="connsiteY230" fmla="*/ 192881 h 1066800"/>
                  <a:gd name="connsiteX231" fmla="*/ 316786 w 1514475"/>
                  <a:gd name="connsiteY231" fmla="*/ 189071 h 1066800"/>
                  <a:gd name="connsiteX232" fmla="*/ 306309 w 1514475"/>
                  <a:gd name="connsiteY232" fmla="*/ 187166 h 1066800"/>
                  <a:gd name="connsiteX233" fmla="*/ 292021 w 1514475"/>
                  <a:gd name="connsiteY233" fmla="*/ 179546 h 1066800"/>
                  <a:gd name="connsiteX234" fmla="*/ 289164 w 1514475"/>
                  <a:gd name="connsiteY234" fmla="*/ 170021 h 1066800"/>
                  <a:gd name="connsiteX235" fmla="*/ 298689 w 1514475"/>
                  <a:gd name="connsiteY235" fmla="*/ 160496 h 1066800"/>
                  <a:gd name="connsiteX236" fmla="*/ 313929 w 1514475"/>
                  <a:gd name="connsiteY236" fmla="*/ 158591 h 1066800"/>
                  <a:gd name="connsiteX237" fmla="*/ 331074 w 1514475"/>
                  <a:gd name="connsiteY237" fmla="*/ 160496 h 1066800"/>
                  <a:gd name="connsiteX238" fmla="*/ 368221 w 1514475"/>
                  <a:gd name="connsiteY238" fmla="*/ 140494 h 1066800"/>
                  <a:gd name="connsiteX239" fmla="*/ 364411 w 1514475"/>
                  <a:gd name="connsiteY239" fmla="*/ 131921 h 1066800"/>
                  <a:gd name="connsiteX240" fmla="*/ 355839 w 1514475"/>
                  <a:gd name="connsiteY240" fmla="*/ 103346 h 1066800"/>
                  <a:gd name="connsiteX241" fmla="*/ 360601 w 1514475"/>
                  <a:gd name="connsiteY241" fmla="*/ 93821 h 1066800"/>
                  <a:gd name="connsiteX242" fmla="*/ 369174 w 1514475"/>
                  <a:gd name="connsiteY242" fmla="*/ 92869 h 1066800"/>
                  <a:gd name="connsiteX243" fmla="*/ 376794 w 1514475"/>
                  <a:gd name="connsiteY243" fmla="*/ 97631 h 1066800"/>
                  <a:gd name="connsiteX244" fmla="*/ 382509 w 1514475"/>
                  <a:gd name="connsiteY244" fmla="*/ 108109 h 1066800"/>
                  <a:gd name="connsiteX245" fmla="*/ 389176 w 1514475"/>
                  <a:gd name="connsiteY245" fmla="*/ 120491 h 1066800"/>
                  <a:gd name="connsiteX246" fmla="*/ 396796 w 1514475"/>
                  <a:gd name="connsiteY246" fmla="*/ 130969 h 1066800"/>
                  <a:gd name="connsiteX247" fmla="*/ 402511 w 1514475"/>
                  <a:gd name="connsiteY247" fmla="*/ 137636 h 1066800"/>
                  <a:gd name="connsiteX248" fmla="*/ 406321 w 1514475"/>
                  <a:gd name="connsiteY248" fmla="*/ 136684 h 1066800"/>
                  <a:gd name="connsiteX249" fmla="*/ 412989 w 1514475"/>
                  <a:gd name="connsiteY249" fmla="*/ 136684 h 1066800"/>
                  <a:gd name="connsiteX250" fmla="*/ 432039 w 1514475"/>
                  <a:gd name="connsiteY250" fmla="*/ 139541 h 1066800"/>
                  <a:gd name="connsiteX251" fmla="*/ 450136 w 1514475"/>
                  <a:gd name="connsiteY251" fmla="*/ 143351 h 1066800"/>
                  <a:gd name="connsiteX252" fmla="*/ 472996 w 1514475"/>
                  <a:gd name="connsiteY252" fmla="*/ 147161 h 1066800"/>
                  <a:gd name="connsiteX253" fmla="*/ 493951 w 1514475"/>
                  <a:gd name="connsiteY253" fmla="*/ 147161 h 1066800"/>
                  <a:gd name="connsiteX254" fmla="*/ 496809 w 1514475"/>
                  <a:gd name="connsiteY254" fmla="*/ 143351 h 1066800"/>
                  <a:gd name="connsiteX255" fmla="*/ 499666 w 1514475"/>
                  <a:gd name="connsiteY255" fmla="*/ 135731 h 1066800"/>
                  <a:gd name="connsiteX256" fmla="*/ 500619 w 1514475"/>
                  <a:gd name="connsiteY256" fmla="*/ 134779 h 1066800"/>
                  <a:gd name="connsiteX257" fmla="*/ 501571 w 1514475"/>
                  <a:gd name="connsiteY257" fmla="*/ 127159 h 1066800"/>
                  <a:gd name="connsiteX258" fmla="*/ 500619 w 1514475"/>
                  <a:gd name="connsiteY258" fmla="*/ 118586 h 1066800"/>
                  <a:gd name="connsiteX259" fmla="*/ 498714 w 1514475"/>
                  <a:gd name="connsiteY259" fmla="*/ 111919 h 1066800"/>
                  <a:gd name="connsiteX260" fmla="*/ 496809 w 1514475"/>
                  <a:gd name="connsiteY260" fmla="*/ 109061 h 1066800"/>
                  <a:gd name="connsiteX261" fmla="*/ 492046 w 1514475"/>
                  <a:gd name="connsiteY261" fmla="*/ 105251 h 1066800"/>
                  <a:gd name="connsiteX262" fmla="*/ 486331 w 1514475"/>
                  <a:gd name="connsiteY262" fmla="*/ 99536 h 1066800"/>
                  <a:gd name="connsiteX263" fmla="*/ 479664 w 1514475"/>
                  <a:gd name="connsiteY263" fmla="*/ 95726 h 1066800"/>
                  <a:gd name="connsiteX264" fmla="*/ 465376 w 1514475"/>
                  <a:gd name="connsiteY264" fmla="*/ 92869 h 1066800"/>
                  <a:gd name="connsiteX265" fmla="*/ 457756 w 1514475"/>
                  <a:gd name="connsiteY265" fmla="*/ 88106 h 1066800"/>
                  <a:gd name="connsiteX266" fmla="*/ 447279 w 1514475"/>
                  <a:gd name="connsiteY266" fmla="*/ 78581 h 1066800"/>
                  <a:gd name="connsiteX267" fmla="*/ 442516 w 1514475"/>
                  <a:gd name="connsiteY267" fmla="*/ 71914 h 1066800"/>
                  <a:gd name="connsiteX268" fmla="*/ 442516 w 1514475"/>
                  <a:gd name="connsiteY268" fmla="*/ 63341 h 1066800"/>
                  <a:gd name="connsiteX269" fmla="*/ 457756 w 1514475"/>
                  <a:gd name="connsiteY269" fmla="*/ 57626 h 1066800"/>
                  <a:gd name="connsiteX270" fmla="*/ 492046 w 1514475"/>
                  <a:gd name="connsiteY270" fmla="*/ 76676 h 1066800"/>
                  <a:gd name="connsiteX271" fmla="*/ 494904 w 1514475"/>
                  <a:gd name="connsiteY271" fmla="*/ 77629 h 1066800"/>
                  <a:gd name="connsiteX272" fmla="*/ 496809 w 1514475"/>
                  <a:gd name="connsiteY272" fmla="*/ 77629 h 1066800"/>
                  <a:gd name="connsiteX273" fmla="*/ 508239 w 1514475"/>
                  <a:gd name="connsiteY273" fmla="*/ 70009 h 1066800"/>
                  <a:gd name="connsiteX274" fmla="*/ 511096 w 1514475"/>
                  <a:gd name="connsiteY274" fmla="*/ 62389 h 1066800"/>
                  <a:gd name="connsiteX275" fmla="*/ 511096 w 1514475"/>
                  <a:gd name="connsiteY275" fmla="*/ 61436 h 1066800"/>
                  <a:gd name="connsiteX276" fmla="*/ 511096 w 1514475"/>
                  <a:gd name="connsiteY276" fmla="*/ 52864 h 1066800"/>
                  <a:gd name="connsiteX277" fmla="*/ 507286 w 1514475"/>
                  <a:gd name="connsiteY277" fmla="*/ 46196 h 1066800"/>
                  <a:gd name="connsiteX278" fmla="*/ 499666 w 1514475"/>
                  <a:gd name="connsiteY278" fmla="*/ 37624 h 1066800"/>
                  <a:gd name="connsiteX279" fmla="*/ 487284 w 1514475"/>
                  <a:gd name="connsiteY279" fmla="*/ 22384 h 1066800"/>
                  <a:gd name="connsiteX280" fmla="*/ 486331 w 1514475"/>
                  <a:gd name="connsiteY280" fmla="*/ 15716 h 1066800"/>
                  <a:gd name="connsiteX281" fmla="*/ 491094 w 1514475"/>
                  <a:gd name="connsiteY281" fmla="*/ 10001 h 1066800"/>
                  <a:gd name="connsiteX282" fmla="*/ 493951 w 1514475"/>
                  <a:gd name="connsiteY282" fmla="*/ 10001 h 1066800"/>
                  <a:gd name="connsiteX283" fmla="*/ 493951 w 1514475"/>
                  <a:gd name="connsiteY283" fmla="*/ 10001 h 1066800"/>
                  <a:gd name="connsiteX284" fmla="*/ 493951 w 1514475"/>
                  <a:gd name="connsiteY284" fmla="*/ 10001 h 1066800"/>
                  <a:gd name="connsiteX285" fmla="*/ 394891 w 1514475"/>
                  <a:gd name="connsiteY285" fmla="*/ 174784 h 1066800"/>
                  <a:gd name="connsiteX286" fmla="*/ 391081 w 1514475"/>
                  <a:gd name="connsiteY286" fmla="*/ 177641 h 1066800"/>
                  <a:gd name="connsiteX287" fmla="*/ 392034 w 1514475"/>
                  <a:gd name="connsiteY287" fmla="*/ 181451 h 1066800"/>
                  <a:gd name="connsiteX288" fmla="*/ 407274 w 1514475"/>
                  <a:gd name="connsiteY288" fmla="*/ 191929 h 1066800"/>
                  <a:gd name="connsiteX289" fmla="*/ 422514 w 1514475"/>
                  <a:gd name="connsiteY289" fmla="*/ 198596 h 1066800"/>
                  <a:gd name="connsiteX290" fmla="*/ 427276 w 1514475"/>
                  <a:gd name="connsiteY290" fmla="*/ 199549 h 1066800"/>
                  <a:gd name="connsiteX291" fmla="*/ 444421 w 1514475"/>
                  <a:gd name="connsiteY291" fmla="*/ 198596 h 1066800"/>
                  <a:gd name="connsiteX292" fmla="*/ 449184 w 1514475"/>
                  <a:gd name="connsiteY292" fmla="*/ 198596 h 1066800"/>
                  <a:gd name="connsiteX293" fmla="*/ 449184 w 1514475"/>
                  <a:gd name="connsiteY293" fmla="*/ 199549 h 1066800"/>
                  <a:gd name="connsiteX294" fmla="*/ 456804 w 1514475"/>
                  <a:gd name="connsiteY294" fmla="*/ 204311 h 1066800"/>
                  <a:gd name="connsiteX295" fmla="*/ 458709 w 1514475"/>
                  <a:gd name="connsiteY295" fmla="*/ 207169 h 1066800"/>
                  <a:gd name="connsiteX296" fmla="*/ 456804 w 1514475"/>
                  <a:gd name="connsiteY296" fmla="*/ 211931 h 1066800"/>
                  <a:gd name="connsiteX297" fmla="*/ 456804 w 1514475"/>
                  <a:gd name="connsiteY297" fmla="*/ 212884 h 1066800"/>
                  <a:gd name="connsiteX298" fmla="*/ 453946 w 1514475"/>
                  <a:gd name="connsiteY298" fmla="*/ 220504 h 1066800"/>
                  <a:gd name="connsiteX299" fmla="*/ 452994 w 1514475"/>
                  <a:gd name="connsiteY299" fmla="*/ 227171 h 1066800"/>
                  <a:gd name="connsiteX300" fmla="*/ 452994 w 1514475"/>
                  <a:gd name="connsiteY300" fmla="*/ 230981 h 1066800"/>
                  <a:gd name="connsiteX301" fmla="*/ 456804 w 1514475"/>
                  <a:gd name="connsiteY301" fmla="*/ 240506 h 1066800"/>
                  <a:gd name="connsiteX302" fmla="*/ 462519 w 1514475"/>
                  <a:gd name="connsiteY302" fmla="*/ 268129 h 1066800"/>
                  <a:gd name="connsiteX303" fmla="*/ 463471 w 1514475"/>
                  <a:gd name="connsiteY303" fmla="*/ 273844 h 1066800"/>
                  <a:gd name="connsiteX304" fmla="*/ 479664 w 1514475"/>
                  <a:gd name="connsiteY304" fmla="*/ 266224 h 1066800"/>
                  <a:gd name="connsiteX305" fmla="*/ 488236 w 1514475"/>
                  <a:gd name="connsiteY305" fmla="*/ 260509 h 1066800"/>
                  <a:gd name="connsiteX306" fmla="*/ 495856 w 1514475"/>
                  <a:gd name="connsiteY306" fmla="*/ 259556 h 1066800"/>
                  <a:gd name="connsiteX307" fmla="*/ 502524 w 1514475"/>
                  <a:gd name="connsiteY307" fmla="*/ 268129 h 1066800"/>
                  <a:gd name="connsiteX308" fmla="*/ 501571 w 1514475"/>
                  <a:gd name="connsiteY308" fmla="*/ 273844 h 1066800"/>
                  <a:gd name="connsiteX309" fmla="*/ 499666 w 1514475"/>
                  <a:gd name="connsiteY309" fmla="*/ 276701 h 1066800"/>
                  <a:gd name="connsiteX310" fmla="*/ 493951 w 1514475"/>
                  <a:gd name="connsiteY310" fmla="*/ 283369 h 1066800"/>
                  <a:gd name="connsiteX311" fmla="*/ 478711 w 1514475"/>
                  <a:gd name="connsiteY311" fmla="*/ 296704 h 1066800"/>
                  <a:gd name="connsiteX312" fmla="*/ 463471 w 1514475"/>
                  <a:gd name="connsiteY312" fmla="*/ 310991 h 1066800"/>
                  <a:gd name="connsiteX313" fmla="*/ 438706 w 1514475"/>
                  <a:gd name="connsiteY313" fmla="*/ 339566 h 1066800"/>
                  <a:gd name="connsiteX314" fmla="*/ 423466 w 1514475"/>
                  <a:gd name="connsiteY314" fmla="*/ 359569 h 1066800"/>
                  <a:gd name="connsiteX315" fmla="*/ 416799 w 1514475"/>
                  <a:gd name="connsiteY315" fmla="*/ 367189 h 1066800"/>
                  <a:gd name="connsiteX316" fmla="*/ 417751 w 1514475"/>
                  <a:gd name="connsiteY316" fmla="*/ 367189 h 1066800"/>
                  <a:gd name="connsiteX317" fmla="*/ 482521 w 1514475"/>
                  <a:gd name="connsiteY317" fmla="*/ 343376 h 1066800"/>
                  <a:gd name="connsiteX318" fmla="*/ 504429 w 1514475"/>
                  <a:gd name="connsiteY318" fmla="*/ 330041 h 1066800"/>
                  <a:gd name="connsiteX319" fmla="*/ 527289 w 1514475"/>
                  <a:gd name="connsiteY319" fmla="*/ 308134 h 1066800"/>
                  <a:gd name="connsiteX320" fmla="*/ 538719 w 1514475"/>
                  <a:gd name="connsiteY320" fmla="*/ 288131 h 1066800"/>
                  <a:gd name="connsiteX321" fmla="*/ 541576 w 1514475"/>
                  <a:gd name="connsiteY321" fmla="*/ 280511 h 1066800"/>
                  <a:gd name="connsiteX322" fmla="*/ 542529 w 1514475"/>
                  <a:gd name="connsiteY322" fmla="*/ 255746 h 1066800"/>
                  <a:gd name="connsiteX323" fmla="*/ 523479 w 1514475"/>
                  <a:gd name="connsiteY323" fmla="*/ 212884 h 1066800"/>
                  <a:gd name="connsiteX324" fmla="*/ 497761 w 1514475"/>
                  <a:gd name="connsiteY324" fmla="*/ 193834 h 1066800"/>
                  <a:gd name="connsiteX325" fmla="*/ 466329 w 1514475"/>
                  <a:gd name="connsiteY325" fmla="*/ 181451 h 1066800"/>
                  <a:gd name="connsiteX326" fmla="*/ 456804 w 1514475"/>
                  <a:gd name="connsiteY326" fmla="*/ 179546 h 1066800"/>
                  <a:gd name="connsiteX327" fmla="*/ 428229 w 1514475"/>
                  <a:gd name="connsiteY327" fmla="*/ 174784 h 1066800"/>
                  <a:gd name="connsiteX328" fmla="*/ 423466 w 1514475"/>
                  <a:gd name="connsiteY328" fmla="*/ 174784 h 1066800"/>
                  <a:gd name="connsiteX329" fmla="*/ 418704 w 1514475"/>
                  <a:gd name="connsiteY329" fmla="*/ 174784 h 1066800"/>
                  <a:gd name="connsiteX330" fmla="*/ 414894 w 1514475"/>
                  <a:gd name="connsiteY330" fmla="*/ 175736 h 1066800"/>
                  <a:gd name="connsiteX331" fmla="*/ 402511 w 1514475"/>
                  <a:gd name="connsiteY331" fmla="*/ 175736 h 1066800"/>
                  <a:gd name="connsiteX332" fmla="*/ 394891 w 1514475"/>
                  <a:gd name="connsiteY332" fmla="*/ 174784 h 1066800"/>
                  <a:gd name="connsiteX333" fmla="*/ 394891 w 1514475"/>
                  <a:gd name="connsiteY333" fmla="*/ 174784 h 1066800"/>
                  <a:gd name="connsiteX334" fmla="*/ 192009 w 1514475"/>
                  <a:gd name="connsiteY334" fmla="*/ 347186 h 1066800"/>
                  <a:gd name="connsiteX335" fmla="*/ 194866 w 1514475"/>
                  <a:gd name="connsiteY335" fmla="*/ 374809 h 1066800"/>
                  <a:gd name="connsiteX336" fmla="*/ 213916 w 1514475"/>
                  <a:gd name="connsiteY336" fmla="*/ 403384 h 1066800"/>
                  <a:gd name="connsiteX337" fmla="*/ 222489 w 1514475"/>
                  <a:gd name="connsiteY337" fmla="*/ 409099 h 1066800"/>
                  <a:gd name="connsiteX338" fmla="*/ 229156 w 1514475"/>
                  <a:gd name="connsiteY338" fmla="*/ 411004 h 1066800"/>
                  <a:gd name="connsiteX339" fmla="*/ 232966 w 1514475"/>
                  <a:gd name="connsiteY339" fmla="*/ 411956 h 1066800"/>
                  <a:gd name="connsiteX340" fmla="*/ 234871 w 1514475"/>
                  <a:gd name="connsiteY340" fmla="*/ 412909 h 1066800"/>
                  <a:gd name="connsiteX341" fmla="*/ 238681 w 1514475"/>
                  <a:gd name="connsiteY341" fmla="*/ 411956 h 1066800"/>
                  <a:gd name="connsiteX342" fmla="*/ 234871 w 1514475"/>
                  <a:gd name="connsiteY342" fmla="*/ 401479 h 1066800"/>
                  <a:gd name="connsiteX343" fmla="*/ 228204 w 1514475"/>
                  <a:gd name="connsiteY343" fmla="*/ 387191 h 1066800"/>
                  <a:gd name="connsiteX344" fmla="*/ 228204 w 1514475"/>
                  <a:gd name="connsiteY344" fmla="*/ 383381 h 1066800"/>
                  <a:gd name="connsiteX345" fmla="*/ 232966 w 1514475"/>
                  <a:gd name="connsiteY345" fmla="*/ 378619 h 1066800"/>
                  <a:gd name="connsiteX346" fmla="*/ 243444 w 1514475"/>
                  <a:gd name="connsiteY346" fmla="*/ 377666 h 1066800"/>
                  <a:gd name="connsiteX347" fmla="*/ 246301 w 1514475"/>
                  <a:gd name="connsiteY347" fmla="*/ 378619 h 1066800"/>
                  <a:gd name="connsiteX348" fmla="*/ 258684 w 1514475"/>
                  <a:gd name="connsiteY348" fmla="*/ 386239 h 1066800"/>
                  <a:gd name="connsiteX349" fmla="*/ 270114 w 1514475"/>
                  <a:gd name="connsiteY349" fmla="*/ 395764 h 1066800"/>
                  <a:gd name="connsiteX350" fmla="*/ 278686 w 1514475"/>
                  <a:gd name="connsiteY350" fmla="*/ 406241 h 1066800"/>
                  <a:gd name="connsiteX351" fmla="*/ 281544 w 1514475"/>
                  <a:gd name="connsiteY351" fmla="*/ 410051 h 1066800"/>
                  <a:gd name="connsiteX352" fmla="*/ 325359 w 1514475"/>
                  <a:gd name="connsiteY352" fmla="*/ 420529 h 1066800"/>
                  <a:gd name="connsiteX353" fmla="*/ 335836 w 1514475"/>
                  <a:gd name="connsiteY353" fmla="*/ 421481 h 1066800"/>
                  <a:gd name="connsiteX354" fmla="*/ 342504 w 1514475"/>
                  <a:gd name="connsiteY354" fmla="*/ 421481 h 1066800"/>
                  <a:gd name="connsiteX355" fmla="*/ 340599 w 1514475"/>
                  <a:gd name="connsiteY355" fmla="*/ 411956 h 1066800"/>
                  <a:gd name="connsiteX356" fmla="*/ 334884 w 1514475"/>
                  <a:gd name="connsiteY356" fmla="*/ 401479 h 1066800"/>
                  <a:gd name="connsiteX357" fmla="*/ 321549 w 1514475"/>
                  <a:gd name="connsiteY357" fmla="*/ 390049 h 1066800"/>
                  <a:gd name="connsiteX358" fmla="*/ 302499 w 1514475"/>
                  <a:gd name="connsiteY358" fmla="*/ 379571 h 1066800"/>
                  <a:gd name="connsiteX359" fmla="*/ 263446 w 1514475"/>
                  <a:gd name="connsiteY359" fmla="*/ 365284 h 1066800"/>
                  <a:gd name="connsiteX360" fmla="*/ 255826 w 1514475"/>
                  <a:gd name="connsiteY360" fmla="*/ 363379 h 1066800"/>
                  <a:gd name="connsiteX361" fmla="*/ 250111 w 1514475"/>
                  <a:gd name="connsiteY361" fmla="*/ 361474 h 1066800"/>
                  <a:gd name="connsiteX362" fmla="*/ 237729 w 1514475"/>
                  <a:gd name="connsiteY362" fmla="*/ 358616 h 1066800"/>
                  <a:gd name="connsiteX363" fmla="*/ 207249 w 1514475"/>
                  <a:gd name="connsiteY363" fmla="*/ 350996 h 1066800"/>
                  <a:gd name="connsiteX364" fmla="*/ 192009 w 1514475"/>
                  <a:gd name="connsiteY364" fmla="*/ 347186 h 1066800"/>
                  <a:gd name="connsiteX365" fmla="*/ 192009 w 1514475"/>
                  <a:gd name="connsiteY365" fmla="*/ 347186 h 1066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</a:cxnLst>
                <a:rect l="l" t="t" r="r" b="b"/>
                <a:pathLst>
                  <a:path w="1514475" h="1066800">
                    <a:moveTo>
                      <a:pt x="493951" y="10001"/>
                    </a:moveTo>
                    <a:cubicBezTo>
                      <a:pt x="496809" y="10001"/>
                      <a:pt x="498714" y="10001"/>
                      <a:pt x="500619" y="10001"/>
                    </a:cubicBezTo>
                    <a:cubicBezTo>
                      <a:pt x="502524" y="10954"/>
                      <a:pt x="503476" y="11906"/>
                      <a:pt x="505381" y="12859"/>
                    </a:cubicBezTo>
                    <a:cubicBezTo>
                      <a:pt x="508239" y="13811"/>
                      <a:pt x="509191" y="15716"/>
                      <a:pt x="511096" y="17621"/>
                    </a:cubicBezTo>
                    <a:cubicBezTo>
                      <a:pt x="513954" y="21431"/>
                      <a:pt x="519669" y="24289"/>
                      <a:pt x="524431" y="26194"/>
                    </a:cubicBezTo>
                    <a:lnTo>
                      <a:pt x="526336" y="25241"/>
                    </a:lnTo>
                    <a:lnTo>
                      <a:pt x="527289" y="24289"/>
                    </a:lnTo>
                    <a:cubicBezTo>
                      <a:pt x="528242" y="23336"/>
                      <a:pt x="529194" y="21431"/>
                      <a:pt x="529194" y="20479"/>
                    </a:cubicBezTo>
                    <a:cubicBezTo>
                      <a:pt x="532051" y="14764"/>
                      <a:pt x="535861" y="10954"/>
                      <a:pt x="541576" y="8096"/>
                    </a:cubicBezTo>
                    <a:cubicBezTo>
                      <a:pt x="543481" y="7144"/>
                      <a:pt x="546339" y="7144"/>
                      <a:pt x="549196" y="7144"/>
                    </a:cubicBezTo>
                    <a:cubicBezTo>
                      <a:pt x="550149" y="7144"/>
                      <a:pt x="550149" y="7144"/>
                      <a:pt x="551101" y="7144"/>
                    </a:cubicBezTo>
                    <a:cubicBezTo>
                      <a:pt x="553959" y="8096"/>
                      <a:pt x="555864" y="10001"/>
                      <a:pt x="557769" y="11906"/>
                    </a:cubicBezTo>
                    <a:cubicBezTo>
                      <a:pt x="558721" y="12859"/>
                      <a:pt x="559674" y="14764"/>
                      <a:pt x="559674" y="15716"/>
                    </a:cubicBezTo>
                    <a:cubicBezTo>
                      <a:pt x="559674" y="19526"/>
                      <a:pt x="559674" y="22384"/>
                      <a:pt x="558721" y="25241"/>
                    </a:cubicBezTo>
                    <a:lnTo>
                      <a:pt x="553959" y="42386"/>
                    </a:lnTo>
                    <a:cubicBezTo>
                      <a:pt x="553959" y="43339"/>
                      <a:pt x="553959" y="43339"/>
                      <a:pt x="553006" y="44291"/>
                    </a:cubicBezTo>
                    <a:cubicBezTo>
                      <a:pt x="552054" y="47149"/>
                      <a:pt x="552054" y="50006"/>
                      <a:pt x="551101" y="52864"/>
                    </a:cubicBezTo>
                    <a:cubicBezTo>
                      <a:pt x="548244" y="60484"/>
                      <a:pt x="543481" y="68104"/>
                      <a:pt x="538719" y="75724"/>
                    </a:cubicBezTo>
                    <a:cubicBezTo>
                      <a:pt x="534909" y="83344"/>
                      <a:pt x="531099" y="90964"/>
                      <a:pt x="528242" y="98584"/>
                    </a:cubicBezTo>
                    <a:cubicBezTo>
                      <a:pt x="527289" y="101441"/>
                      <a:pt x="527289" y="104299"/>
                      <a:pt x="527289" y="107156"/>
                    </a:cubicBezTo>
                    <a:cubicBezTo>
                      <a:pt x="526336" y="110014"/>
                      <a:pt x="526336" y="113824"/>
                      <a:pt x="526336" y="116681"/>
                    </a:cubicBezTo>
                    <a:cubicBezTo>
                      <a:pt x="527289" y="124301"/>
                      <a:pt x="526336" y="129064"/>
                      <a:pt x="527289" y="135731"/>
                    </a:cubicBezTo>
                    <a:cubicBezTo>
                      <a:pt x="527289" y="132874"/>
                      <a:pt x="527289" y="134779"/>
                      <a:pt x="527289" y="136684"/>
                    </a:cubicBezTo>
                    <a:cubicBezTo>
                      <a:pt x="527289" y="140494"/>
                      <a:pt x="528242" y="144304"/>
                      <a:pt x="527289" y="149066"/>
                    </a:cubicBezTo>
                    <a:cubicBezTo>
                      <a:pt x="527289" y="150971"/>
                      <a:pt x="526336" y="152876"/>
                      <a:pt x="526336" y="153829"/>
                    </a:cubicBezTo>
                    <a:cubicBezTo>
                      <a:pt x="526336" y="156686"/>
                      <a:pt x="525384" y="160496"/>
                      <a:pt x="524431" y="163354"/>
                    </a:cubicBezTo>
                    <a:cubicBezTo>
                      <a:pt x="524431" y="164306"/>
                      <a:pt x="523479" y="165259"/>
                      <a:pt x="523479" y="167164"/>
                    </a:cubicBezTo>
                    <a:lnTo>
                      <a:pt x="529194" y="172879"/>
                    </a:lnTo>
                    <a:cubicBezTo>
                      <a:pt x="531099" y="174784"/>
                      <a:pt x="532051" y="176689"/>
                      <a:pt x="533956" y="177641"/>
                    </a:cubicBezTo>
                    <a:cubicBezTo>
                      <a:pt x="536814" y="179546"/>
                      <a:pt x="538719" y="181451"/>
                      <a:pt x="540624" y="183356"/>
                    </a:cubicBezTo>
                    <a:cubicBezTo>
                      <a:pt x="543481" y="185261"/>
                      <a:pt x="546339" y="187166"/>
                      <a:pt x="549196" y="189071"/>
                    </a:cubicBezTo>
                    <a:cubicBezTo>
                      <a:pt x="550149" y="190024"/>
                      <a:pt x="552054" y="190976"/>
                      <a:pt x="553959" y="190976"/>
                    </a:cubicBezTo>
                    <a:cubicBezTo>
                      <a:pt x="555864" y="191929"/>
                      <a:pt x="558721" y="191929"/>
                      <a:pt x="560626" y="190976"/>
                    </a:cubicBezTo>
                    <a:cubicBezTo>
                      <a:pt x="564436" y="190976"/>
                      <a:pt x="567294" y="190024"/>
                      <a:pt x="570151" y="188119"/>
                    </a:cubicBezTo>
                    <a:cubicBezTo>
                      <a:pt x="573961" y="187166"/>
                      <a:pt x="576819" y="185261"/>
                      <a:pt x="579676" y="184309"/>
                    </a:cubicBezTo>
                    <a:cubicBezTo>
                      <a:pt x="579676" y="184309"/>
                      <a:pt x="580629" y="183356"/>
                      <a:pt x="582534" y="183356"/>
                    </a:cubicBezTo>
                    <a:cubicBezTo>
                      <a:pt x="583486" y="182404"/>
                      <a:pt x="585392" y="181451"/>
                      <a:pt x="586344" y="180499"/>
                    </a:cubicBezTo>
                    <a:cubicBezTo>
                      <a:pt x="587296" y="179546"/>
                      <a:pt x="589201" y="178594"/>
                      <a:pt x="590154" y="177641"/>
                    </a:cubicBezTo>
                    <a:cubicBezTo>
                      <a:pt x="592059" y="175736"/>
                      <a:pt x="593964" y="174784"/>
                      <a:pt x="595869" y="172879"/>
                    </a:cubicBezTo>
                    <a:cubicBezTo>
                      <a:pt x="597774" y="170974"/>
                      <a:pt x="599679" y="169069"/>
                      <a:pt x="600631" y="168116"/>
                    </a:cubicBezTo>
                    <a:cubicBezTo>
                      <a:pt x="601584" y="167164"/>
                      <a:pt x="602536" y="166211"/>
                      <a:pt x="604442" y="164306"/>
                    </a:cubicBezTo>
                    <a:cubicBezTo>
                      <a:pt x="607299" y="161449"/>
                      <a:pt x="609204" y="158591"/>
                      <a:pt x="611109" y="155734"/>
                    </a:cubicBezTo>
                    <a:cubicBezTo>
                      <a:pt x="615871" y="148114"/>
                      <a:pt x="620634" y="140494"/>
                      <a:pt x="622539" y="131921"/>
                    </a:cubicBezTo>
                    <a:cubicBezTo>
                      <a:pt x="622539" y="130969"/>
                      <a:pt x="623492" y="129064"/>
                      <a:pt x="624444" y="127159"/>
                    </a:cubicBezTo>
                    <a:cubicBezTo>
                      <a:pt x="625396" y="125254"/>
                      <a:pt x="625396" y="123349"/>
                      <a:pt x="625396" y="121444"/>
                    </a:cubicBezTo>
                    <a:cubicBezTo>
                      <a:pt x="626349" y="115729"/>
                      <a:pt x="628254" y="110014"/>
                      <a:pt x="629206" y="103346"/>
                    </a:cubicBezTo>
                    <a:cubicBezTo>
                      <a:pt x="630159" y="100489"/>
                      <a:pt x="631111" y="98584"/>
                      <a:pt x="633017" y="96679"/>
                    </a:cubicBezTo>
                    <a:cubicBezTo>
                      <a:pt x="633969" y="94774"/>
                      <a:pt x="633969" y="93821"/>
                      <a:pt x="634921" y="92869"/>
                    </a:cubicBezTo>
                    <a:cubicBezTo>
                      <a:pt x="635874" y="90964"/>
                      <a:pt x="637779" y="89059"/>
                      <a:pt x="639684" y="87154"/>
                    </a:cubicBezTo>
                    <a:cubicBezTo>
                      <a:pt x="641589" y="85249"/>
                      <a:pt x="642542" y="84296"/>
                      <a:pt x="644446" y="82391"/>
                    </a:cubicBezTo>
                    <a:cubicBezTo>
                      <a:pt x="646351" y="83344"/>
                      <a:pt x="648256" y="83344"/>
                      <a:pt x="650161" y="83344"/>
                    </a:cubicBezTo>
                    <a:cubicBezTo>
                      <a:pt x="651114" y="83344"/>
                      <a:pt x="651114" y="83344"/>
                      <a:pt x="652067" y="83344"/>
                    </a:cubicBezTo>
                    <a:cubicBezTo>
                      <a:pt x="653019" y="84296"/>
                      <a:pt x="653971" y="84296"/>
                      <a:pt x="653971" y="84296"/>
                    </a:cubicBezTo>
                    <a:cubicBezTo>
                      <a:pt x="654924" y="85249"/>
                      <a:pt x="654924" y="85249"/>
                      <a:pt x="655876" y="86201"/>
                    </a:cubicBezTo>
                    <a:cubicBezTo>
                      <a:pt x="656829" y="88106"/>
                      <a:pt x="656829" y="89059"/>
                      <a:pt x="657781" y="89059"/>
                    </a:cubicBezTo>
                    <a:cubicBezTo>
                      <a:pt x="657781" y="89059"/>
                      <a:pt x="658734" y="90011"/>
                      <a:pt x="658734" y="90964"/>
                    </a:cubicBezTo>
                    <a:cubicBezTo>
                      <a:pt x="658734" y="92869"/>
                      <a:pt x="658734" y="95726"/>
                      <a:pt x="657781" y="97631"/>
                    </a:cubicBezTo>
                    <a:cubicBezTo>
                      <a:pt x="656829" y="107156"/>
                      <a:pt x="654924" y="115729"/>
                      <a:pt x="653019" y="125254"/>
                    </a:cubicBezTo>
                    <a:lnTo>
                      <a:pt x="650161" y="135731"/>
                    </a:lnTo>
                    <a:cubicBezTo>
                      <a:pt x="649209" y="138589"/>
                      <a:pt x="649209" y="142399"/>
                      <a:pt x="651114" y="145256"/>
                    </a:cubicBezTo>
                    <a:cubicBezTo>
                      <a:pt x="651114" y="146209"/>
                      <a:pt x="652067" y="147161"/>
                      <a:pt x="653019" y="148114"/>
                    </a:cubicBezTo>
                    <a:cubicBezTo>
                      <a:pt x="653971" y="149066"/>
                      <a:pt x="655876" y="150019"/>
                      <a:pt x="656829" y="150019"/>
                    </a:cubicBezTo>
                    <a:cubicBezTo>
                      <a:pt x="658734" y="150019"/>
                      <a:pt x="659686" y="150019"/>
                      <a:pt x="661592" y="150019"/>
                    </a:cubicBezTo>
                    <a:cubicBezTo>
                      <a:pt x="664449" y="150019"/>
                      <a:pt x="666354" y="150019"/>
                      <a:pt x="669211" y="149066"/>
                    </a:cubicBezTo>
                    <a:cubicBezTo>
                      <a:pt x="672069" y="148114"/>
                      <a:pt x="674926" y="147161"/>
                      <a:pt x="677784" y="145256"/>
                    </a:cubicBezTo>
                    <a:cubicBezTo>
                      <a:pt x="684451" y="142399"/>
                      <a:pt x="690167" y="139541"/>
                      <a:pt x="695881" y="134779"/>
                    </a:cubicBezTo>
                    <a:cubicBezTo>
                      <a:pt x="700644" y="131921"/>
                      <a:pt x="705406" y="129064"/>
                      <a:pt x="711121" y="126206"/>
                    </a:cubicBezTo>
                    <a:cubicBezTo>
                      <a:pt x="712074" y="125254"/>
                      <a:pt x="713026" y="125254"/>
                      <a:pt x="714931" y="125254"/>
                    </a:cubicBezTo>
                    <a:cubicBezTo>
                      <a:pt x="715884" y="126206"/>
                      <a:pt x="716836" y="126206"/>
                      <a:pt x="717789" y="127159"/>
                    </a:cubicBezTo>
                    <a:cubicBezTo>
                      <a:pt x="718742" y="128111"/>
                      <a:pt x="719694" y="128111"/>
                      <a:pt x="719694" y="129064"/>
                    </a:cubicBezTo>
                    <a:cubicBezTo>
                      <a:pt x="720646" y="130969"/>
                      <a:pt x="720646" y="131921"/>
                      <a:pt x="720646" y="133826"/>
                    </a:cubicBezTo>
                    <a:cubicBezTo>
                      <a:pt x="720646" y="135731"/>
                      <a:pt x="719694" y="136684"/>
                      <a:pt x="719694" y="138589"/>
                    </a:cubicBezTo>
                    <a:cubicBezTo>
                      <a:pt x="719694" y="138589"/>
                      <a:pt x="719694" y="139541"/>
                      <a:pt x="719694" y="139541"/>
                    </a:cubicBezTo>
                    <a:cubicBezTo>
                      <a:pt x="719694" y="141446"/>
                      <a:pt x="718742" y="142399"/>
                      <a:pt x="718742" y="144304"/>
                    </a:cubicBezTo>
                    <a:cubicBezTo>
                      <a:pt x="718742" y="144304"/>
                      <a:pt x="718742" y="144304"/>
                      <a:pt x="718742" y="145256"/>
                    </a:cubicBezTo>
                    <a:cubicBezTo>
                      <a:pt x="718742" y="146209"/>
                      <a:pt x="718742" y="147161"/>
                      <a:pt x="718742" y="148114"/>
                    </a:cubicBezTo>
                    <a:cubicBezTo>
                      <a:pt x="717789" y="149066"/>
                      <a:pt x="716836" y="150019"/>
                      <a:pt x="715884" y="150971"/>
                    </a:cubicBezTo>
                    <a:cubicBezTo>
                      <a:pt x="714931" y="152876"/>
                      <a:pt x="713979" y="153829"/>
                      <a:pt x="713026" y="155734"/>
                    </a:cubicBezTo>
                    <a:cubicBezTo>
                      <a:pt x="712074" y="156686"/>
                      <a:pt x="711121" y="158591"/>
                      <a:pt x="709217" y="159544"/>
                    </a:cubicBezTo>
                    <a:cubicBezTo>
                      <a:pt x="707311" y="161449"/>
                      <a:pt x="704454" y="163354"/>
                      <a:pt x="702549" y="165259"/>
                    </a:cubicBezTo>
                    <a:cubicBezTo>
                      <a:pt x="698739" y="168116"/>
                      <a:pt x="695881" y="170021"/>
                      <a:pt x="692071" y="171926"/>
                    </a:cubicBezTo>
                    <a:cubicBezTo>
                      <a:pt x="688261" y="173831"/>
                      <a:pt x="684451" y="174784"/>
                      <a:pt x="680642" y="175736"/>
                    </a:cubicBezTo>
                    <a:cubicBezTo>
                      <a:pt x="678736" y="175736"/>
                      <a:pt x="678736" y="176689"/>
                      <a:pt x="676831" y="176689"/>
                    </a:cubicBezTo>
                    <a:cubicBezTo>
                      <a:pt x="673974" y="176689"/>
                      <a:pt x="671117" y="176689"/>
                      <a:pt x="668259" y="177641"/>
                    </a:cubicBezTo>
                    <a:cubicBezTo>
                      <a:pt x="665401" y="178594"/>
                      <a:pt x="661592" y="178594"/>
                      <a:pt x="657781" y="179546"/>
                    </a:cubicBezTo>
                    <a:cubicBezTo>
                      <a:pt x="654924" y="180499"/>
                      <a:pt x="651114" y="180499"/>
                      <a:pt x="648256" y="181451"/>
                    </a:cubicBezTo>
                    <a:cubicBezTo>
                      <a:pt x="646351" y="182404"/>
                      <a:pt x="643494" y="183356"/>
                      <a:pt x="640636" y="184309"/>
                    </a:cubicBezTo>
                    <a:cubicBezTo>
                      <a:pt x="637779" y="185261"/>
                      <a:pt x="635874" y="186214"/>
                      <a:pt x="633017" y="186214"/>
                    </a:cubicBezTo>
                    <a:cubicBezTo>
                      <a:pt x="630159" y="187166"/>
                      <a:pt x="627301" y="188119"/>
                      <a:pt x="625396" y="189071"/>
                    </a:cubicBezTo>
                    <a:cubicBezTo>
                      <a:pt x="616824" y="192881"/>
                      <a:pt x="609204" y="196691"/>
                      <a:pt x="601584" y="201454"/>
                    </a:cubicBezTo>
                    <a:cubicBezTo>
                      <a:pt x="593011" y="207169"/>
                      <a:pt x="585392" y="215741"/>
                      <a:pt x="580629" y="225266"/>
                    </a:cubicBezTo>
                    <a:cubicBezTo>
                      <a:pt x="579676" y="228124"/>
                      <a:pt x="578724" y="230029"/>
                      <a:pt x="577771" y="232886"/>
                    </a:cubicBezTo>
                    <a:cubicBezTo>
                      <a:pt x="576819" y="235744"/>
                      <a:pt x="575867" y="238601"/>
                      <a:pt x="575867" y="241459"/>
                    </a:cubicBezTo>
                    <a:cubicBezTo>
                      <a:pt x="575867" y="246221"/>
                      <a:pt x="575867" y="250984"/>
                      <a:pt x="575867" y="255746"/>
                    </a:cubicBezTo>
                    <a:cubicBezTo>
                      <a:pt x="575867" y="260509"/>
                      <a:pt x="575867" y="265271"/>
                      <a:pt x="575867" y="270034"/>
                    </a:cubicBezTo>
                    <a:cubicBezTo>
                      <a:pt x="575867" y="271939"/>
                      <a:pt x="575867" y="273844"/>
                      <a:pt x="574914" y="275749"/>
                    </a:cubicBezTo>
                    <a:cubicBezTo>
                      <a:pt x="573961" y="279559"/>
                      <a:pt x="573961" y="283369"/>
                      <a:pt x="573009" y="287179"/>
                    </a:cubicBezTo>
                    <a:cubicBezTo>
                      <a:pt x="573009" y="288131"/>
                      <a:pt x="572056" y="289084"/>
                      <a:pt x="572056" y="290036"/>
                    </a:cubicBezTo>
                    <a:cubicBezTo>
                      <a:pt x="568246" y="304324"/>
                      <a:pt x="561579" y="316706"/>
                      <a:pt x="551101" y="328136"/>
                    </a:cubicBezTo>
                    <a:lnTo>
                      <a:pt x="540624" y="338614"/>
                    </a:lnTo>
                    <a:lnTo>
                      <a:pt x="530146" y="348139"/>
                    </a:lnTo>
                    <a:cubicBezTo>
                      <a:pt x="520621" y="355759"/>
                      <a:pt x="509191" y="363379"/>
                      <a:pt x="497761" y="368141"/>
                    </a:cubicBezTo>
                    <a:cubicBezTo>
                      <a:pt x="492046" y="370046"/>
                      <a:pt x="484426" y="373856"/>
                      <a:pt x="475854" y="377666"/>
                    </a:cubicBezTo>
                    <a:cubicBezTo>
                      <a:pt x="424419" y="400526"/>
                      <a:pt x="418704" y="415766"/>
                      <a:pt x="399654" y="425291"/>
                    </a:cubicBezTo>
                    <a:lnTo>
                      <a:pt x="397749" y="423386"/>
                    </a:lnTo>
                    <a:cubicBezTo>
                      <a:pt x="397749" y="428149"/>
                      <a:pt x="397749" y="430054"/>
                      <a:pt x="398701" y="431006"/>
                    </a:cubicBezTo>
                    <a:cubicBezTo>
                      <a:pt x="403464" y="432911"/>
                      <a:pt x="441564" y="506254"/>
                      <a:pt x="458709" y="544354"/>
                    </a:cubicBezTo>
                    <a:cubicBezTo>
                      <a:pt x="488236" y="611981"/>
                      <a:pt x="515859" y="636746"/>
                      <a:pt x="556817" y="634841"/>
                    </a:cubicBezTo>
                    <a:cubicBezTo>
                      <a:pt x="579676" y="633889"/>
                      <a:pt x="621586" y="655796"/>
                      <a:pt x="643494" y="680561"/>
                    </a:cubicBezTo>
                    <a:cubicBezTo>
                      <a:pt x="653019" y="691991"/>
                      <a:pt x="709217" y="699611"/>
                      <a:pt x="759699" y="696754"/>
                    </a:cubicBezTo>
                    <a:cubicBezTo>
                      <a:pt x="776844" y="695801"/>
                      <a:pt x="793989" y="695801"/>
                      <a:pt x="796846" y="696754"/>
                    </a:cubicBezTo>
                    <a:cubicBezTo>
                      <a:pt x="799704" y="697706"/>
                      <a:pt x="831136" y="695801"/>
                      <a:pt x="865426" y="692944"/>
                    </a:cubicBezTo>
                    <a:cubicBezTo>
                      <a:pt x="899717" y="690086"/>
                      <a:pt x="946389" y="688181"/>
                      <a:pt x="969249" y="687229"/>
                    </a:cubicBezTo>
                    <a:cubicBezTo>
                      <a:pt x="991156" y="687229"/>
                      <a:pt x="1013064" y="685324"/>
                      <a:pt x="1017826" y="683419"/>
                    </a:cubicBezTo>
                    <a:cubicBezTo>
                      <a:pt x="1031161" y="679609"/>
                      <a:pt x="1042592" y="660559"/>
                      <a:pt x="1056879" y="621506"/>
                    </a:cubicBezTo>
                    <a:cubicBezTo>
                      <a:pt x="1063547" y="602456"/>
                      <a:pt x="1074024" y="582454"/>
                      <a:pt x="1080692" y="575786"/>
                    </a:cubicBezTo>
                    <a:cubicBezTo>
                      <a:pt x="1099742" y="558641"/>
                      <a:pt x="1142604" y="537686"/>
                      <a:pt x="1150224" y="541496"/>
                    </a:cubicBezTo>
                    <a:cubicBezTo>
                      <a:pt x="1159749" y="546259"/>
                      <a:pt x="1156892" y="551021"/>
                      <a:pt x="1137842" y="570071"/>
                    </a:cubicBezTo>
                    <a:cubicBezTo>
                      <a:pt x="1118792" y="588169"/>
                      <a:pt x="1105457" y="614839"/>
                      <a:pt x="1109267" y="626269"/>
                    </a:cubicBezTo>
                    <a:cubicBezTo>
                      <a:pt x="1111171" y="631031"/>
                      <a:pt x="1109267" y="637699"/>
                      <a:pt x="1106409" y="642461"/>
                    </a:cubicBezTo>
                    <a:cubicBezTo>
                      <a:pt x="1091169" y="662464"/>
                      <a:pt x="1091169" y="676751"/>
                      <a:pt x="1108314" y="715804"/>
                    </a:cubicBezTo>
                    <a:cubicBezTo>
                      <a:pt x="1124507" y="751999"/>
                      <a:pt x="1124507" y="752951"/>
                      <a:pt x="1118792" y="787241"/>
                    </a:cubicBezTo>
                    <a:cubicBezTo>
                      <a:pt x="1112124" y="832961"/>
                      <a:pt x="1118792" y="852964"/>
                      <a:pt x="1144509" y="866299"/>
                    </a:cubicBezTo>
                    <a:cubicBezTo>
                      <a:pt x="1163559" y="876776"/>
                      <a:pt x="1206421" y="881539"/>
                      <a:pt x="1234996" y="875824"/>
                    </a:cubicBezTo>
                    <a:cubicBezTo>
                      <a:pt x="1246426" y="872966"/>
                      <a:pt x="1253094" y="875824"/>
                      <a:pt x="1274049" y="894874"/>
                    </a:cubicBezTo>
                    <a:cubicBezTo>
                      <a:pt x="1288336" y="907256"/>
                      <a:pt x="1309292" y="922496"/>
                      <a:pt x="1320721" y="927259"/>
                    </a:cubicBezTo>
                    <a:cubicBezTo>
                      <a:pt x="1352154" y="942499"/>
                      <a:pt x="1421686" y="961549"/>
                      <a:pt x="1432164" y="958691"/>
                    </a:cubicBezTo>
                    <a:cubicBezTo>
                      <a:pt x="1436926" y="956786"/>
                      <a:pt x="1449309" y="957739"/>
                      <a:pt x="1458834" y="959644"/>
                    </a:cubicBezTo>
                    <a:cubicBezTo>
                      <a:pt x="1478836" y="964406"/>
                      <a:pt x="1511221" y="983456"/>
                      <a:pt x="1507411" y="989171"/>
                    </a:cubicBezTo>
                    <a:cubicBezTo>
                      <a:pt x="1506459" y="991076"/>
                      <a:pt x="1496934" y="995839"/>
                      <a:pt x="1485504" y="998696"/>
                    </a:cubicBezTo>
                    <a:lnTo>
                      <a:pt x="1465501" y="1004411"/>
                    </a:lnTo>
                    <a:lnTo>
                      <a:pt x="1474074" y="1019651"/>
                    </a:lnTo>
                    <a:cubicBezTo>
                      <a:pt x="1482646" y="1034891"/>
                      <a:pt x="1482646" y="1035844"/>
                      <a:pt x="1471217" y="1041559"/>
                    </a:cubicBezTo>
                    <a:cubicBezTo>
                      <a:pt x="1464549" y="1044416"/>
                      <a:pt x="1455976" y="1047274"/>
                      <a:pt x="1452167" y="1047274"/>
                    </a:cubicBezTo>
                    <a:cubicBezTo>
                      <a:pt x="1448357" y="1047274"/>
                      <a:pt x="1444546" y="1048226"/>
                      <a:pt x="1442642" y="1049179"/>
                    </a:cubicBezTo>
                    <a:cubicBezTo>
                      <a:pt x="1440736" y="1050131"/>
                      <a:pt x="1433117" y="1047274"/>
                      <a:pt x="1424544" y="1044416"/>
                    </a:cubicBezTo>
                    <a:cubicBezTo>
                      <a:pt x="1416924" y="1041559"/>
                      <a:pt x="1402636" y="1035844"/>
                      <a:pt x="1394064" y="1033939"/>
                    </a:cubicBezTo>
                    <a:cubicBezTo>
                      <a:pt x="1363584" y="1025366"/>
                      <a:pt x="1315007" y="1001554"/>
                      <a:pt x="1305482" y="991076"/>
                    </a:cubicBezTo>
                    <a:cubicBezTo>
                      <a:pt x="1299767" y="985361"/>
                      <a:pt x="1279764" y="974884"/>
                      <a:pt x="1260714" y="967264"/>
                    </a:cubicBezTo>
                    <a:cubicBezTo>
                      <a:pt x="1227376" y="953929"/>
                      <a:pt x="1226424" y="953929"/>
                      <a:pt x="1182609" y="961549"/>
                    </a:cubicBezTo>
                    <a:cubicBezTo>
                      <a:pt x="1157844" y="966311"/>
                      <a:pt x="1128317" y="972026"/>
                      <a:pt x="1116886" y="973931"/>
                    </a:cubicBezTo>
                    <a:cubicBezTo>
                      <a:pt x="1045449" y="989171"/>
                      <a:pt x="1014017" y="982504"/>
                      <a:pt x="972106" y="944404"/>
                    </a:cubicBezTo>
                    <a:cubicBezTo>
                      <a:pt x="933054" y="908209"/>
                      <a:pt x="903526" y="903446"/>
                      <a:pt x="835899" y="917734"/>
                    </a:cubicBezTo>
                    <a:cubicBezTo>
                      <a:pt x="810181" y="923449"/>
                      <a:pt x="788274" y="930116"/>
                      <a:pt x="786369" y="932974"/>
                    </a:cubicBezTo>
                    <a:cubicBezTo>
                      <a:pt x="784464" y="935831"/>
                      <a:pt x="776844" y="938689"/>
                      <a:pt x="770176" y="939641"/>
                    </a:cubicBezTo>
                    <a:cubicBezTo>
                      <a:pt x="755889" y="942499"/>
                      <a:pt x="707311" y="944404"/>
                      <a:pt x="693024" y="942499"/>
                    </a:cubicBezTo>
                    <a:cubicBezTo>
                      <a:pt x="671117" y="938689"/>
                      <a:pt x="591106" y="925354"/>
                      <a:pt x="566342" y="921544"/>
                    </a:cubicBezTo>
                    <a:cubicBezTo>
                      <a:pt x="552054" y="918686"/>
                      <a:pt x="535861" y="916781"/>
                      <a:pt x="532051" y="915829"/>
                    </a:cubicBezTo>
                    <a:cubicBezTo>
                      <a:pt x="528242" y="915829"/>
                      <a:pt x="518716" y="912971"/>
                      <a:pt x="512049" y="911066"/>
                    </a:cubicBezTo>
                    <a:cubicBezTo>
                      <a:pt x="504429" y="909161"/>
                      <a:pt x="487284" y="912019"/>
                      <a:pt x="469186" y="916781"/>
                    </a:cubicBezTo>
                    <a:cubicBezTo>
                      <a:pt x="437754" y="925354"/>
                      <a:pt x="413941" y="925354"/>
                      <a:pt x="356791" y="912971"/>
                    </a:cubicBezTo>
                    <a:cubicBezTo>
                      <a:pt x="298689" y="900589"/>
                      <a:pt x="270114" y="911066"/>
                      <a:pt x="219631" y="962501"/>
                    </a:cubicBezTo>
                    <a:cubicBezTo>
                      <a:pt x="200581" y="982504"/>
                      <a:pt x="181531" y="998696"/>
                      <a:pt x="178674" y="999649"/>
                    </a:cubicBezTo>
                    <a:cubicBezTo>
                      <a:pt x="175816" y="1000601"/>
                      <a:pt x="167244" y="1012031"/>
                      <a:pt x="159624" y="1024414"/>
                    </a:cubicBezTo>
                    <a:cubicBezTo>
                      <a:pt x="145336" y="1047274"/>
                      <a:pt x="143431" y="1048226"/>
                      <a:pt x="111999" y="1057751"/>
                    </a:cubicBezTo>
                    <a:lnTo>
                      <a:pt x="79614" y="1068229"/>
                    </a:lnTo>
                    <a:lnTo>
                      <a:pt x="92949" y="1042511"/>
                    </a:lnTo>
                    <a:cubicBezTo>
                      <a:pt x="100569" y="1028224"/>
                      <a:pt x="110094" y="1014889"/>
                      <a:pt x="114856" y="1011079"/>
                    </a:cubicBezTo>
                    <a:cubicBezTo>
                      <a:pt x="119619" y="1008221"/>
                      <a:pt x="128191" y="997744"/>
                      <a:pt x="133906" y="987266"/>
                    </a:cubicBezTo>
                    <a:cubicBezTo>
                      <a:pt x="139621" y="976789"/>
                      <a:pt x="155814" y="960596"/>
                      <a:pt x="170101" y="950119"/>
                    </a:cubicBezTo>
                    <a:cubicBezTo>
                      <a:pt x="183436" y="939641"/>
                      <a:pt x="193914" y="930116"/>
                      <a:pt x="192961" y="928211"/>
                    </a:cubicBezTo>
                    <a:cubicBezTo>
                      <a:pt x="191056" y="922496"/>
                      <a:pt x="186294" y="925354"/>
                      <a:pt x="140574" y="950119"/>
                    </a:cubicBezTo>
                    <a:cubicBezTo>
                      <a:pt x="90091" y="977741"/>
                      <a:pt x="60564" y="988219"/>
                      <a:pt x="31036" y="986314"/>
                    </a:cubicBezTo>
                    <a:cubicBezTo>
                      <a:pt x="17701" y="985361"/>
                      <a:pt x="7224" y="983456"/>
                      <a:pt x="7224" y="981551"/>
                    </a:cubicBezTo>
                    <a:cubicBezTo>
                      <a:pt x="4366" y="973931"/>
                      <a:pt x="78661" y="934879"/>
                      <a:pt x="116761" y="923449"/>
                    </a:cubicBezTo>
                    <a:cubicBezTo>
                      <a:pt x="152004" y="912971"/>
                      <a:pt x="216774" y="884396"/>
                      <a:pt x="232966" y="871061"/>
                    </a:cubicBezTo>
                    <a:cubicBezTo>
                      <a:pt x="250111" y="857726"/>
                      <a:pt x="246301" y="858679"/>
                      <a:pt x="347266" y="845344"/>
                    </a:cubicBezTo>
                    <a:cubicBezTo>
                      <a:pt x="366316" y="842486"/>
                      <a:pt x="384414" y="837724"/>
                      <a:pt x="389176" y="834866"/>
                    </a:cubicBezTo>
                    <a:cubicBezTo>
                      <a:pt x="400606" y="826294"/>
                      <a:pt x="397749" y="809149"/>
                      <a:pt x="379651" y="783431"/>
                    </a:cubicBezTo>
                    <a:cubicBezTo>
                      <a:pt x="371079" y="771049"/>
                      <a:pt x="359649" y="755809"/>
                      <a:pt x="355839" y="748189"/>
                    </a:cubicBezTo>
                    <a:cubicBezTo>
                      <a:pt x="351076" y="741521"/>
                      <a:pt x="340599" y="730091"/>
                      <a:pt x="332979" y="723424"/>
                    </a:cubicBezTo>
                    <a:cubicBezTo>
                      <a:pt x="304404" y="699611"/>
                      <a:pt x="301546" y="688181"/>
                      <a:pt x="310119" y="633889"/>
                    </a:cubicBezTo>
                    <a:cubicBezTo>
                      <a:pt x="317739" y="586264"/>
                      <a:pt x="317739" y="583406"/>
                      <a:pt x="307261" y="567214"/>
                    </a:cubicBezTo>
                    <a:cubicBezTo>
                      <a:pt x="300594" y="558641"/>
                      <a:pt x="291069" y="548164"/>
                      <a:pt x="286306" y="545306"/>
                    </a:cubicBezTo>
                    <a:cubicBezTo>
                      <a:pt x="275829" y="539591"/>
                      <a:pt x="207249" y="529114"/>
                      <a:pt x="197724" y="531971"/>
                    </a:cubicBezTo>
                    <a:cubicBezTo>
                      <a:pt x="191056" y="533876"/>
                      <a:pt x="184389" y="525304"/>
                      <a:pt x="178674" y="511016"/>
                    </a:cubicBezTo>
                    <a:cubicBezTo>
                      <a:pt x="171054" y="490061"/>
                      <a:pt x="175816" y="485299"/>
                      <a:pt x="215821" y="471964"/>
                    </a:cubicBezTo>
                    <a:cubicBezTo>
                      <a:pt x="244396" y="462439"/>
                      <a:pt x="273924" y="450056"/>
                      <a:pt x="294879" y="438626"/>
                    </a:cubicBezTo>
                    <a:lnTo>
                      <a:pt x="282496" y="436721"/>
                    </a:lnTo>
                    <a:lnTo>
                      <a:pt x="232014" y="432911"/>
                    </a:lnTo>
                    <a:cubicBezTo>
                      <a:pt x="222489" y="431959"/>
                      <a:pt x="212964" y="431959"/>
                      <a:pt x="203439" y="431006"/>
                    </a:cubicBezTo>
                    <a:cubicBezTo>
                      <a:pt x="194866" y="431006"/>
                      <a:pt x="187246" y="429101"/>
                      <a:pt x="180579" y="427196"/>
                    </a:cubicBezTo>
                    <a:cubicBezTo>
                      <a:pt x="175816" y="425291"/>
                      <a:pt x="171054" y="423386"/>
                      <a:pt x="166291" y="421481"/>
                    </a:cubicBezTo>
                    <a:cubicBezTo>
                      <a:pt x="162481" y="419576"/>
                      <a:pt x="160576" y="414814"/>
                      <a:pt x="161529" y="411004"/>
                    </a:cubicBezTo>
                    <a:cubicBezTo>
                      <a:pt x="162481" y="407194"/>
                      <a:pt x="165339" y="404336"/>
                      <a:pt x="169149" y="403384"/>
                    </a:cubicBezTo>
                    <a:cubicBezTo>
                      <a:pt x="173911" y="402431"/>
                      <a:pt x="179626" y="402431"/>
                      <a:pt x="184389" y="404336"/>
                    </a:cubicBezTo>
                    <a:lnTo>
                      <a:pt x="178674" y="394811"/>
                    </a:lnTo>
                    <a:lnTo>
                      <a:pt x="173911" y="385286"/>
                    </a:lnTo>
                    <a:lnTo>
                      <a:pt x="170101" y="374809"/>
                    </a:lnTo>
                    <a:cubicBezTo>
                      <a:pt x="165339" y="361474"/>
                      <a:pt x="162481" y="347186"/>
                      <a:pt x="161529" y="332899"/>
                    </a:cubicBezTo>
                    <a:lnTo>
                      <a:pt x="152956" y="323374"/>
                    </a:lnTo>
                    <a:cubicBezTo>
                      <a:pt x="150099" y="320516"/>
                      <a:pt x="149146" y="317659"/>
                      <a:pt x="148194" y="313849"/>
                    </a:cubicBezTo>
                    <a:cubicBezTo>
                      <a:pt x="147241" y="310039"/>
                      <a:pt x="149146" y="306229"/>
                      <a:pt x="152956" y="305276"/>
                    </a:cubicBezTo>
                    <a:cubicBezTo>
                      <a:pt x="156766" y="303371"/>
                      <a:pt x="160576" y="304324"/>
                      <a:pt x="163434" y="306229"/>
                    </a:cubicBezTo>
                    <a:lnTo>
                      <a:pt x="176769" y="312896"/>
                    </a:lnTo>
                    <a:cubicBezTo>
                      <a:pt x="181531" y="315754"/>
                      <a:pt x="187246" y="317659"/>
                      <a:pt x="192009" y="318611"/>
                    </a:cubicBezTo>
                    <a:cubicBezTo>
                      <a:pt x="195819" y="319564"/>
                      <a:pt x="199629" y="320516"/>
                      <a:pt x="203439" y="320516"/>
                    </a:cubicBezTo>
                    <a:lnTo>
                      <a:pt x="197724" y="313849"/>
                    </a:lnTo>
                    <a:lnTo>
                      <a:pt x="192009" y="303371"/>
                    </a:lnTo>
                    <a:lnTo>
                      <a:pt x="185341" y="289084"/>
                    </a:lnTo>
                    <a:lnTo>
                      <a:pt x="182484" y="282416"/>
                    </a:lnTo>
                    <a:cubicBezTo>
                      <a:pt x="181531" y="278606"/>
                      <a:pt x="183436" y="274796"/>
                      <a:pt x="186294" y="272891"/>
                    </a:cubicBezTo>
                    <a:cubicBezTo>
                      <a:pt x="189151" y="270986"/>
                      <a:pt x="192009" y="270986"/>
                      <a:pt x="194866" y="272891"/>
                    </a:cubicBezTo>
                    <a:cubicBezTo>
                      <a:pt x="198676" y="274796"/>
                      <a:pt x="201534" y="277654"/>
                      <a:pt x="204391" y="280511"/>
                    </a:cubicBezTo>
                    <a:cubicBezTo>
                      <a:pt x="208201" y="285274"/>
                      <a:pt x="212011" y="290036"/>
                      <a:pt x="215821" y="294799"/>
                    </a:cubicBezTo>
                    <a:cubicBezTo>
                      <a:pt x="219631" y="299561"/>
                      <a:pt x="224394" y="304324"/>
                      <a:pt x="229156" y="308134"/>
                    </a:cubicBezTo>
                    <a:cubicBezTo>
                      <a:pt x="237729" y="314801"/>
                      <a:pt x="245349" y="320516"/>
                      <a:pt x="252969" y="327184"/>
                    </a:cubicBezTo>
                    <a:cubicBezTo>
                      <a:pt x="258684" y="330994"/>
                      <a:pt x="266304" y="335756"/>
                      <a:pt x="274876" y="337661"/>
                    </a:cubicBezTo>
                    <a:cubicBezTo>
                      <a:pt x="275829" y="337661"/>
                      <a:pt x="276781" y="338614"/>
                      <a:pt x="277734" y="337661"/>
                    </a:cubicBezTo>
                    <a:cubicBezTo>
                      <a:pt x="281544" y="338614"/>
                      <a:pt x="285354" y="336709"/>
                      <a:pt x="287259" y="333851"/>
                    </a:cubicBezTo>
                    <a:cubicBezTo>
                      <a:pt x="288211" y="332899"/>
                      <a:pt x="289164" y="331946"/>
                      <a:pt x="289164" y="330041"/>
                    </a:cubicBezTo>
                    <a:cubicBezTo>
                      <a:pt x="289164" y="328136"/>
                      <a:pt x="289164" y="327184"/>
                      <a:pt x="289164" y="325279"/>
                    </a:cubicBezTo>
                    <a:cubicBezTo>
                      <a:pt x="288211" y="320516"/>
                      <a:pt x="287259" y="314801"/>
                      <a:pt x="288211" y="309086"/>
                    </a:cubicBezTo>
                    <a:cubicBezTo>
                      <a:pt x="288211" y="303371"/>
                      <a:pt x="291069" y="297656"/>
                      <a:pt x="293926" y="292894"/>
                    </a:cubicBezTo>
                    <a:cubicBezTo>
                      <a:pt x="296784" y="288131"/>
                      <a:pt x="303451" y="288131"/>
                      <a:pt x="306309" y="291941"/>
                    </a:cubicBezTo>
                    <a:cubicBezTo>
                      <a:pt x="308214" y="293846"/>
                      <a:pt x="310119" y="297656"/>
                      <a:pt x="310119" y="300514"/>
                    </a:cubicBezTo>
                    <a:cubicBezTo>
                      <a:pt x="311071" y="317659"/>
                      <a:pt x="312976" y="333851"/>
                      <a:pt x="315834" y="350044"/>
                    </a:cubicBezTo>
                    <a:lnTo>
                      <a:pt x="376794" y="364331"/>
                    </a:lnTo>
                    <a:lnTo>
                      <a:pt x="385366" y="358616"/>
                    </a:lnTo>
                    <a:lnTo>
                      <a:pt x="397749" y="346234"/>
                    </a:lnTo>
                    <a:cubicBezTo>
                      <a:pt x="408226" y="335756"/>
                      <a:pt x="417751" y="324326"/>
                      <a:pt x="424419" y="312896"/>
                    </a:cubicBezTo>
                    <a:cubicBezTo>
                      <a:pt x="429181" y="304324"/>
                      <a:pt x="432991" y="295751"/>
                      <a:pt x="436801" y="286226"/>
                    </a:cubicBezTo>
                    <a:cubicBezTo>
                      <a:pt x="437754" y="285274"/>
                      <a:pt x="437754" y="284321"/>
                      <a:pt x="437754" y="284321"/>
                    </a:cubicBezTo>
                    <a:cubicBezTo>
                      <a:pt x="439659" y="277654"/>
                      <a:pt x="439659" y="270986"/>
                      <a:pt x="439659" y="265271"/>
                    </a:cubicBezTo>
                    <a:cubicBezTo>
                      <a:pt x="438706" y="258604"/>
                      <a:pt x="437754" y="251936"/>
                      <a:pt x="433944" y="246221"/>
                    </a:cubicBezTo>
                    <a:cubicBezTo>
                      <a:pt x="431086" y="241459"/>
                      <a:pt x="427276" y="237649"/>
                      <a:pt x="424419" y="232886"/>
                    </a:cubicBezTo>
                    <a:cubicBezTo>
                      <a:pt x="419656" y="227171"/>
                      <a:pt x="413941" y="220504"/>
                      <a:pt x="408226" y="215741"/>
                    </a:cubicBezTo>
                    <a:cubicBezTo>
                      <a:pt x="401559" y="210979"/>
                      <a:pt x="393939" y="208121"/>
                      <a:pt x="386319" y="205264"/>
                    </a:cubicBezTo>
                    <a:cubicBezTo>
                      <a:pt x="380604" y="203359"/>
                      <a:pt x="372984" y="200501"/>
                      <a:pt x="366316" y="198596"/>
                    </a:cubicBezTo>
                    <a:cubicBezTo>
                      <a:pt x="361554" y="197644"/>
                      <a:pt x="358696" y="196691"/>
                      <a:pt x="355839" y="195739"/>
                    </a:cubicBezTo>
                    <a:cubicBezTo>
                      <a:pt x="351076" y="194786"/>
                      <a:pt x="346314" y="192881"/>
                      <a:pt x="340599" y="192881"/>
                    </a:cubicBezTo>
                    <a:cubicBezTo>
                      <a:pt x="332979" y="191929"/>
                      <a:pt x="324406" y="190976"/>
                      <a:pt x="316786" y="189071"/>
                    </a:cubicBezTo>
                    <a:lnTo>
                      <a:pt x="306309" y="187166"/>
                    </a:lnTo>
                    <a:cubicBezTo>
                      <a:pt x="301546" y="186214"/>
                      <a:pt x="295831" y="183356"/>
                      <a:pt x="292021" y="179546"/>
                    </a:cubicBezTo>
                    <a:cubicBezTo>
                      <a:pt x="289164" y="176689"/>
                      <a:pt x="288211" y="172879"/>
                      <a:pt x="289164" y="170021"/>
                    </a:cubicBezTo>
                    <a:cubicBezTo>
                      <a:pt x="290116" y="165259"/>
                      <a:pt x="293926" y="161449"/>
                      <a:pt x="298689" y="160496"/>
                    </a:cubicBezTo>
                    <a:cubicBezTo>
                      <a:pt x="303451" y="158591"/>
                      <a:pt x="308214" y="157639"/>
                      <a:pt x="313929" y="158591"/>
                    </a:cubicBezTo>
                    <a:cubicBezTo>
                      <a:pt x="319644" y="158591"/>
                      <a:pt x="325359" y="159544"/>
                      <a:pt x="331074" y="160496"/>
                    </a:cubicBezTo>
                    <a:lnTo>
                      <a:pt x="368221" y="140494"/>
                    </a:lnTo>
                    <a:lnTo>
                      <a:pt x="364411" y="131921"/>
                    </a:lnTo>
                    <a:cubicBezTo>
                      <a:pt x="359649" y="122396"/>
                      <a:pt x="356791" y="112871"/>
                      <a:pt x="355839" y="103346"/>
                    </a:cubicBezTo>
                    <a:cubicBezTo>
                      <a:pt x="355839" y="99536"/>
                      <a:pt x="357744" y="96679"/>
                      <a:pt x="360601" y="93821"/>
                    </a:cubicBezTo>
                    <a:cubicBezTo>
                      <a:pt x="363459" y="91916"/>
                      <a:pt x="366316" y="91916"/>
                      <a:pt x="369174" y="92869"/>
                    </a:cubicBezTo>
                    <a:cubicBezTo>
                      <a:pt x="372031" y="93821"/>
                      <a:pt x="374889" y="95726"/>
                      <a:pt x="376794" y="97631"/>
                    </a:cubicBezTo>
                    <a:cubicBezTo>
                      <a:pt x="378699" y="100489"/>
                      <a:pt x="380604" y="104299"/>
                      <a:pt x="382509" y="108109"/>
                    </a:cubicBezTo>
                    <a:cubicBezTo>
                      <a:pt x="384414" y="112871"/>
                      <a:pt x="386319" y="116681"/>
                      <a:pt x="389176" y="120491"/>
                    </a:cubicBezTo>
                    <a:cubicBezTo>
                      <a:pt x="392034" y="124301"/>
                      <a:pt x="393939" y="128111"/>
                      <a:pt x="396796" y="130969"/>
                    </a:cubicBezTo>
                    <a:cubicBezTo>
                      <a:pt x="398701" y="132874"/>
                      <a:pt x="400606" y="135731"/>
                      <a:pt x="402511" y="137636"/>
                    </a:cubicBezTo>
                    <a:lnTo>
                      <a:pt x="406321" y="136684"/>
                    </a:lnTo>
                    <a:lnTo>
                      <a:pt x="412989" y="136684"/>
                    </a:lnTo>
                    <a:lnTo>
                      <a:pt x="432039" y="139541"/>
                    </a:lnTo>
                    <a:lnTo>
                      <a:pt x="450136" y="143351"/>
                    </a:lnTo>
                    <a:lnTo>
                      <a:pt x="472996" y="147161"/>
                    </a:lnTo>
                    <a:cubicBezTo>
                      <a:pt x="479664" y="149066"/>
                      <a:pt x="487284" y="149066"/>
                      <a:pt x="493951" y="147161"/>
                    </a:cubicBezTo>
                    <a:lnTo>
                      <a:pt x="496809" y="143351"/>
                    </a:lnTo>
                    <a:cubicBezTo>
                      <a:pt x="498714" y="140494"/>
                      <a:pt x="498714" y="138589"/>
                      <a:pt x="499666" y="135731"/>
                    </a:cubicBezTo>
                    <a:cubicBezTo>
                      <a:pt x="499666" y="134779"/>
                      <a:pt x="500619" y="134779"/>
                      <a:pt x="500619" y="134779"/>
                    </a:cubicBezTo>
                    <a:cubicBezTo>
                      <a:pt x="500619" y="131921"/>
                      <a:pt x="501571" y="129064"/>
                      <a:pt x="501571" y="127159"/>
                    </a:cubicBezTo>
                    <a:cubicBezTo>
                      <a:pt x="501571" y="124301"/>
                      <a:pt x="501571" y="121444"/>
                      <a:pt x="500619" y="118586"/>
                    </a:cubicBezTo>
                    <a:cubicBezTo>
                      <a:pt x="500619" y="116681"/>
                      <a:pt x="499666" y="113824"/>
                      <a:pt x="498714" y="111919"/>
                    </a:cubicBezTo>
                    <a:cubicBezTo>
                      <a:pt x="498714" y="110966"/>
                      <a:pt x="497761" y="110014"/>
                      <a:pt x="496809" y="109061"/>
                    </a:cubicBezTo>
                    <a:cubicBezTo>
                      <a:pt x="494904" y="108109"/>
                      <a:pt x="493951" y="107156"/>
                      <a:pt x="492046" y="105251"/>
                    </a:cubicBezTo>
                    <a:cubicBezTo>
                      <a:pt x="490141" y="103346"/>
                      <a:pt x="488236" y="101441"/>
                      <a:pt x="486331" y="99536"/>
                    </a:cubicBezTo>
                    <a:cubicBezTo>
                      <a:pt x="484426" y="98584"/>
                      <a:pt x="481569" y="96679"/>
                      <a:pt x="479664" y="95726"/>
                    </a:cubicBezTo>
                    <a:lnTo>
                      <a:pt x="465376" y="92869"/>
                    </a:lnTo>
                    <a:lnTo>
                      <a:pt x="457756" y="88106"/>
                    </a:lnTo>
                    <a:cubicBezTo>
                      <a:pt x="453946" y="85249"/>
                      <a:pt x="449184" y="82391"/>
                      <a:pt x="447279" y="78581"/>
                    </a:cubicBezTo>
                    <a:cubicBezTo>
                      <a:pt x="445374" y="76676"/>
                      <a:pt x="444421" y="74771"/>
                      <a:pt x="442516" y="71914"/>
                    </a:cubicBezTo>
                    <a:cubicBezTo>
                      <a:pt x="441564" y="70009"/>
                      <a:pt x="440611" y="66199"/>
                      <a:pt x="442516" y="63341"/>
                    </a:cubicBezTo>
                    <a:cubicBezTo>
                      <a:pt x="445374" y="58579"/>
                      <a:pt x="452041" y="55721"/>
                      <a:pt x="457756" y="57626"/>
                    </a:cubicBezTo>
                    <a:cubicBezTo>
                      <a:pt x="470139" y="62389"/>
                      <a:pt x="481569" y="68104"/>
                      <a:pt x="492046" y="76676"/>
                    </a:cubicBezTo>
                    <a:cubicBezTo>
                      <a:pt x="492999" y="76676"/>
                      <a:pt x="493951" y="77629"/>
                      <a:pt x="494904" y="77629"/>
                    </a:cubicBezTo>
                    <a:cubicBezTo>
                      <a:pt x="495856" y="77629"/>
                      <a:pt x="495856" y="77629"/>
                      <a:pt x="496809" y="77629"/>
                    </a:cubicBezTo>
                    <a:cubicBezTo>
                      <a:pt x="501571" y="77629"/>
                      <a:pt x="507286" y="74771"/>
                      <a:pt x="508239" y="70009"/>
                    </a:cubicBezTo>
                    <a:cubicBezTo>
                      <a:pt x="509191" y="67151"/>
                      <a:pt x="510144" y="64294"/>
                      <a:pt x="511096" y="62389"/>
                    </a:cubicBezTo>
                    <a:cubicBezTo>
                      <a:pt x="511096" y="62389"/>
                      <a:pt x="511096" y="62389"/>
                      <a:pt x="511096" y="61436"/>
                    </a:cubicBezTo>
                    <a:cubicBezTo>
                      <a:pt x="512049" y="58579"/>
                      <a:pt x="512049" y="55721"/>
                      <a:pt x="511096" y="52864"/>
                    </a:cubicBezTo>
                    <a:cubicBezTo>
                      <a:pt x="511096" y="50959"/>
                      <a:pt x="509191" y="48101"/>
                      <a:pt x="507286" y="46196"/>
                    </a:cubicBezTo>
                    <a:cubicBezTo>
                      <a:pt x="504429" y="43339"/>
                      <a:pt x="502524" y="40481"/>
                      <a:pt x="499666" y="37624"/>
                    </a:cubicBezTo>
                    <a:cubicBezTo>
                      <a:pt x="494904" y="32861"/>
                      <a:pt x="490141" y="28099"/>
                      <a:pt x="487284" y="22384"/>
                    </a:cubicBezTo>
                    <a:cubicBezTo>
                      <a:pt x="486331" y="20479"/>
                      <a:pt x="485379" y="17621"/>
                      <a:pt x="486331" y="15716"/>
                    </a:cubicBezTo>
                    <a:cubicBezTo>
                      <a:pt x="487284" y="13811"/>
                      <a:pt x="489189" y="11906"/>
                      <a:pt x="491094" y="10001"/>
                    </a:cubicBezTo>
                    <a:cubicBezTo>
                      <a:pt x="491094" y="10954"/>
                      <a:pt x="492046" y="10954"/>
                      <a:pt x="493951" y="10001"/>
                    </a:cubicBezTo>
                    <a:lnTo>
                      <a:pt x="493951" y="10001"/>
                    </a:lnTo>
                    <a:lnTo>
                      <a:pt x="493951" y="10001"/>
                    </a:lnTo>
                    <a:close/>
                    <a:moveTo>
                      <a:pt x="394891" y="174784"/>
                    </a:moveTo>
                    <a:cubicBezTo>
                      <a:pt x="392986" y="174784"/>
                      <a:pt x="392034" y="175736"/>
                      <a:pt x="391081" y="177641"/>
                    </a:cubicBezTo>
                    <a:cubicBezTo>
                      <a:pt x="390129" y="178594"/>
                      <a:pt x="390129" y="180499"/>
                      <a:pt x="392034" y="181451"/>
                    </a:cubicBezTo>
                    <a:cubicBezTo>
                      <a:pt x="396796" y="185261"/>
                      <a:pt x="402511" y="189071"/>
                      <a:pt x="407274" y="191929"/>
                    </a:cubicBezTo>
                    <a:cubicBezTo>
                      <a:pt x="412036" y="194786"/>
                      <a:pt x="417751" y="196691"/>
                      <a:pt x="422514" y="198596"/>
                    </a:cubicBezTo>
                    <a:cubicBezTo>
                      <a:pt x="424419" y="198596"/>
                      <a:pt x="425371" y="199549"/>
                      <a:pt x="427276" y="199549"/>
                    </a:cubicBezTo>
                    <a:cubicBezTo>
                      <a:pt x="432991" y="199549"/>
                      <a:pt x="438706" y="198596"/>
                      <a:pt x="444421" y="198596"/>
                    </a:cubicBezTo>
                    <a:cubicBezTo>
                      <a:pt x="446326" y="198596"/>
                      <a:pt x="447279" y="197644"/>
                      <a:pt x="449184" y="198596"/>
                    </a:cubicBezTo>
                    <a:cubicBezTo>
                      <a:pt x="449184" y="198596"/>
                      <a:pt x="449184" y="199549"/>
                      <a:pt x="449184" y="199549"/>
                    </a:cubicBezTo>
                    <a:cubicBezTo>
                      <a:pt x="452041" y="200501"/>
                      <a:pt x="454899" y="201454"/>
                      <a:pt x="456804" y="204311"/>
                    </a:cubicBezTo>
                    <a:cubicBezTo>
                      <a:pt x="457756" y="205264"/>
                      <a:pt x="458709" y="206216"/>
                      <a:pt x="458709" y="207169"/>
                    </a:cubicBezTo>
                    <a:cubicBezTo>
                      <a:pt x="458709" y="208121"/>
                      <a:pt x="457756" y="210979"/>
                      <a:pt x="456804" y="211931"/>
                    </a:cubicBezTo>
                    <a:cubicBezTo>
                      <a:pt x="456804" y="211931"/>
                      <a:pt x="456804" y="212884"/>
                      <a:pt x="456804" y="212884"/>
                    </a:cubicBezTo>
                    <a:cubicBezTo>
                      <a:pt x="455851" y="215741"/>
                      <a:pt x="454899" y="217646"/>
                      <a:pt x="453946" y="220504"/>
                    </a:cubicBezTo>
                    <a:cubicBezTo>
                      <a:pt x="452994" y="222409"/>
                      <a:pt x="452994" y="225266"/>
                      <a:pt x="452994" y="227171"/>
                    </a:cubicBezTo>
                    <a:lnTo>
                      <a:pt x="452994" y="230981"/>
                    </a:lnTo>
                    <a:cubicBezTo>
                      <a:pt x="453946" y="233839"/>
                      <a:pt x="455851" y="237649"/>
                      <a:pt x="456804" y="240506"/>
                    </a:cubicBezTo>
                    <a:cubicBezTo>
                      <a:pt x="460614" y="249079"/>
                      <a:pt x="462519" y="258604"/>
                      <a:pt x="462519" y="268129"/>
                    </a:cubicBezTo>
                    <a:lnTo>
                      <a:pt x="463471" y="273844"/>
                    </a:lnTo>
                    <a:cubicBezTo>
                      <a:pt x="469186" y="271939"/>
                      <a:pt x="474901" y="269081"/>
                      <a:pt x="479664" y="266224"/>
                    </a:cubicBezTo>
                    <a:cubicBezTo>
                      <a:pt x="482521" y="264319"/>
                      <a:pt x="485379" y="262414"/>
                      <a:pt x="488236" y="260509"/>
                    </a:cubicBezTo>
                    <a:cubicBezTo>
                      <a:pt x="490141" y="259556"/>
                      <a:pt x="492999" y="258604"/>
                      <a:pt x="495856" y="259556"/>
                    </a:cubicBezTo>
                    <a:cubicBezTo>
                      <a:pt x="499666" y="260509"/>
                      <a:pt x="502524" y="264319"/>
                      <a:pt x="502524" y="268129"/>
                    </a:cubicBezTo>
                    <a:cubicBezTo>
                      <a:pt x="502524" y="270034"/>
                      <a:pt x="502524" y="271939"/>
                      <a:pt x="501571" y="273844"/>
                    </a:cubicBezTo>
                    <a:cubicBezTo>
                      <a:pt x="501571" y="274796"/>
                      <a:pt x="500619" y="275749"/>
                      <a:pt x="499666" y="276701"/>
                    </a:cubicBezTo>
                    <a:cubicBezTo>
                      <a:pt x="498714" y="279559"/>
                      <a:pt x="496809" y="281464"/>
                      <a:pt x="493951" y="283369"/>
                    </a:cubicBezTo>
                    <a:cubicBezTo>
                      <a:pt x="488236" y="287179"/>
                      <a:pt x="483474" y="291941"/>
                      <a:pt x="478711" y="296704"/>
                    </a:cubicBezTo>
                    <a:cubicBezTo>
                      <a:pt x="473949" y="301466"/>
                      <a:pt x="468234" y="306229"/>
                      <a:pt x="463471" y="310991"/>
                    </a:cubicBezTo>
                    <a:cubicBezTo>
                      <a:pt x="453946" y="319564"/>
                      <a:pt x="445374" y="330041"/>
                      <a:pt x="438706" y="339566"/>
                    </a:cubicBezTo>
                    <a:cubicBezTo>
                      <a:pt x="433944" y="346234"/>
                      <a:pt x="428229" y="352901"/>
                      <a:pt x="423466" y="359569"/>
                    </a:cubicBezTo>
                    <a:lnTo>
                      <a:pt x="416799" y="367189"/>
                    </a:lnTo>
                    <a:lnTo>
                      <a:pt x="417751" y="367189"/>
                    </a:lnTo>
                    <a:cubicBezTo>
                      <a:pt x="439659" y="361474"/>
                      <a:pt x="461566" y="353854"/>
                      <a:pt x="482521" y="343376"/>
                    </a:cubicBezTo>
                    <a:cubicBezTo>
                      <a:pt x="490141" y="339566"/>
                      <a:pt x="497761" y="334804"/>
                      <a:pt x="504429" y="330041"/>
                    </a:cubicBezTo>
                    <a:cubicBezTo>
                      <a:pt x="513001" y="323374"/>
                      <a:pt x="520621" y="316706"/>
                      <a:pt x="527289" y="308134"/>
                    </a:cubicBezTo>
                    <a:cubicBezTo>
                      <a:pt x="532051" y="301466"/>
                      <a:pt x="535861" y="294799"/>
                      <a:pt x="538719" y="288131"/>
                    </a:cubicBezTo>
                    <a:cubicBezTo>
                      <a:pt x="539671" y="286226"/>
                      <a:pt x="540624" y="283369"/>
                      <a:pt x="541576" y="280511"/>
                    </a:cubicBezTo>
                    <a:cubicBezTo>
                      <a:pt x="543481" y="272891"/>
                      <a:pt x="543481" y="264319"/>
                      <a:pt x="542529" y="255746"/>
                    </a:cubicBezTo>
                    <a:cubicBezTo>
                      <a:pt x="540624" y="239554"/>
                      <a:pt x="533956" y="225266"/>
                      <a:pt x="523479" y="212884"/>
                    </a:cubicBezTo>
                    <a:cubicBezTo>
                      <a:pt x="515859" y="205264"/>
                      <a:pt x="507286" y="198596"/>
                      <a:pt x="497761" y="193834"/>
                    </a:cubicBezTo>
                    <a:cubicBezTo>
                      <a:pt x="488236" y="189071"/>
                      <a:pt x="476806" y="184309"/>
                      <a:pt x="466329" y="181451"/>
                    </a:cubicBezTo>
                    <a:cubicBezTo>
                      <a:pt x="463471" y="180499"/>
                      <a:pt x="459661" y="179546"/>
                      <a:pt x="456804" y="179546"/>
                    </a:cubicBezTo>
                    <a:cubicBezTo>
                      <a:pt x="447279" y="177641"/>
                      <a:pt x="437754" y="175736"/>
                      <a:pt x="428229" y="174784"/>
                    </a:cubicBezTo>
                    <a:cubicBezTo>
                      <a:pt x="426324" y="174784"/>
                      <a:pt x="424419" y="174784"/>
                      <a:pt x="423466" y="174784"/>
                    </a:cubicBezTo>
                    <a:cubicBezTo>
                      <a:pt x="421561" y="174784"/>
                      <a:pt x="420609" y="174784"/>
                      <a:pt x="418704" y="174784"/>
                    </a:cubicBezTo>
                    <a:cubicBezTo>
                      <a:pt x="417751" y="174784"/>
                      <a:pt x="415846" y="174784"/>
                      <a:pt x="414894" y="175736"/>
                    </a:cubicBezTo>
                    <a:cubicBezTo>
                      <a:pt x="411084" y="175736"/>
                      <a:pt x="407274" y="175736"/>
                      <a:pt x="402511" y="175736"/>
                    </a:cubicBezTo>
                    <a:cubicBezTo>
                      <a:pt x="399654" y="174784"/>
                      <a:pt x="397749" y="174784"/>
                      <a:pt x="394891" y="174784"/>
                    </a:cubicBezTo>
                    <a:lnTo>
                      <a:pt x="394891" y="174784"/>
                    </a:lnTo>
                    <a:close/>
                    <a:moveTo>
                      <a:pt x="192009" y="347186"/>
                    </a:moveTo>
                    <a:cubicBezTo>
                      <a:pt x="191056" y="356711"/>
                      <a:pt x="192009" y="366236"/>
                      <a:pt x="194866" y="374809"/>
                    </a:cubicBezTo>
                    <a:cubicBezTo>
                      <a:pt x="198676" y="385286"/>
                      <a:pt x="205344" y="395764"/>
                      <a:pt x="213916" y="403384"/>
                    </a:cubicBezTo>
                    <a:cubicBezTo>
                      <a:pt x="216774" y="405289"/>
                      <a:pt x="219631" y="407194"/>
                      <a:pt x="222489" y="409099"/>
                    </a:cubicBezTo>
                    <a:cubicBezTo>
                      <a:pt x="225346" y="410051"/>
                      <a:pt x="227251" y="410051"/>
                      <a:pt x="229156" y="411004"/>
                    </a:cubicBezTo>
                    <a:cubicBezTo>
                      <a:pt x="230109" y="411004"/>
                      <a:pt x="232014" y="411956"/>
                      <a:pt x="232966" y="411956"/>
                    </a:cubicBezTo>
                    <a:cubicBezTo>
                      <a:pt x="233919" y="411956"/>
                      <a:pt x="233919" y="411956"/>
                      <a:pt x="234871" y="412909"/>
                    </a:cubicBezTo>
                    <a:lnTo>
                      <a:pt x="238681" y="411956"/>
                    </a:lnTo>
                    <a:cubicBezTo>
                      <a:pt x="238681" y="408146"/>
                      <a:pt x="237729" y="405289"/>
                      <a:pt x="234871" y="401479"/>
                    </a:cubicBezTo>
                    <a:cubicBezTo>
                      <a:pt x="232014" y="396716"/>
                      <a:pt x="229156" y="391954"/>
                      <a:pt x="228204" y="387191"/>
                    </a:cubicBezTo>
                    <a:cubicBezTo>
                      <a:pt x="228204" y="386239"/>
                      <a:pt x="227251" y="384334"/>
                      <a:pt x="228204" y="383381"/>
                    </a:cubicBezTo>
                    <a:cubicBezTo>
                      <a:pt x="229156" y="381476"/>
                      <a:pt x="230109" y="379571"/>
                      <a:pt x="232966" y="378619"/>
                    </a:cubicBezTo>
                    <a:cubicBezTo>
                      <a:pt x="235824" y="377666"/>
                      <a:pt x="239634" y="376714"/>
                      <a:pt x="243444" y="377666"/>
                    </a:cubicBezTo>
                    <a:cubicBezTo>
                      <a:pt x="244396" y="377666"/>
                      <a:pt x="245349" y="378619"/>
                      <a:pt x="246301" y="378619"/>
                    </a:cubicBezTo>
                    <a:cubicBezTo>
                      <a:pt x="251064" y="380524"/>
                      <a:pt x="254874" y="382429"/>
                      <a:pt x="258684" y="386239"/>
                    </a:cubicBezTo>
                    <a:cubicBezTo>
                      <a:pt x="262494" y="389096"/>
                      <a:pt x="267256" y="392906"/>
                      <a:pt x="270114" y="395764"/>
                    </a:cubicBezTo>
                    <a:cubicBezTo>
                      <a:pt x="272971" y="399574"/>
                      <a:pt x="275829" y="403384"/>
                      <a:pt x="278686" y="406241"/>
                    </a:cubicBezTo>
                    <a:lnTo>
                      <a:pt x="281544" y="410051"/>
                    </a:lnTo>
                    <a:cubicBezTo>
                      <a:pt x="295831" y="415766"/>
                      <a:pt x="310119" y="418624"/>
                      <a:pt x="325359" y="420529"/>
                    </a:cubicBezTo>
                    <a:lnTo>
                      <a:pt x="335836" y="421481"/>
                    </a:lnTo>
                    <a:lnTo>
                      <a:pt x="342504" y="421481"/>
                    </a:lnTo>
                    <a:cubicBezTo>
                      <a:pt x="342504" y="418624"/>
                      <a:pt x="342504" y="414814"/>
                      <a:pt x="340599" y="411956"/>
                    </a:cubicBezTo>
                    <a:cubicBezTo>
                      <a:pt x="338694" y="408146"/>
                      <a:pt x="337741" y="404336"/>
                      <a:pt x="334884" y="401479"/>
                    </a:cubicBezTo>
                    <a:cubicBezTo>
                      <a:pt x="331074" y="397669"/>
                      <a:pt x="326311" y="392906"/>
                      <a:pt x="321549" y="390049"/>
                    </a:cubicBezTo>
                    <a:cubicBezTo>
                      <a:pt x="315834" y="385286"/>
                      <a:pt x="309166" y="382429"/>
                      <a:pt x="302499" y="379571"/>
                    </a:cubicBezTo>
                    <a:cubicBezTo>
                      <a:pt x="290116" y="373856"/>
                      <a:pt x="276781" y="369094"/>
                      <a:pt x="263446" y="365284"/>
                    </a:cubicBezTo>
                    <a:lnTo>
                      <a:pt x="255826" y="363379"/>
                    </a:lnTo>
                    <a:lnTo>
                      <a:pt x="250111" y="361474"/>
                    </a:lnTo>
                    <a:lnTo>
                      <a:pt x="237729" y="358616"/>
                    </a:lnTo>
                    <a:lnTo>
                      <a:pt x="207249" y="350996"/>
                    </a:lnTo>
                    <a:lnTo>
                      <a:pt x="192009" y="347186"/>
                    </a:lnTo>
                    <a:lnTo>
                      <a:pt x="192009" y="34718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87755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27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+mn-ea"/>
                  <a:cs typeface="+mn-cs"/>
                </a:endParaRPr>
              </a:p>
            </p:txBody>
          </p:sp>
          <p:sp>
            <p:nvSpPr>
              <p:cNvPr id="68" name="Freeform: Shape 37">
                <a:extLst>
                  <a:ext uri="{FF2B5EF4-FFF2-40B4-BE49-F238E27FC236}">
                    <a16:creationId xmlns:a16="http://schemas.microsoft.com/office/drawing/2014/main" id="{DE4D785E-8D38-49CD-849E-D1DA9B4A394C}"/>
                  </a:ext>
                </a:extLst>
              </p:cNvPr>
              <p:cNvSpPr/>
              <p:nvPr/>
            </p:nvSpPr>
            <p:spPr>
              <a:xfrm>
                <a:off x="829775" y="3208066"/>
                <a:ext cx="1504950" cy="1114425"/>
              </a:xfrm>
              <a:custGeom>
                <a:avLst/>
                <a:gdLst>
                  <a:gd name="connsiteX0" fmla="*/ 408293 w 1504950"/>
                  <a:gd name="connsiteY0" fmla="*/ 15716 h 1114425"/>
                  <a:gd name="connsiteX1" fmla="*/ 414960 w 1504950"/>
                  <a:gd name="connsiteY1" fmla="*/ 15716 h 1114425"/>
                  <a:gd name="connsiteX2" fmla="*/ 420675 w 1504950"/>
                  <a:gd name="connsiteY2" fmla="*/ 17621 h 1114425"/>
                  <a:gd name="connsiteX3" fmla="*/ 426390 w 1504950"/>
                  <a:gd name="connsiteY3" fmla="*/ 22384 h 1114425"/>
                  <a:gd name="connsiteX4" fmla="*/ 440678 w 1504950"/>
                  <a:gd name="connsiteY4" fmla="*/ 30004 h 1114425"/>
                  <a:gd name="connsiteX5" fmla="*/ 441630 w 1504950"/>
                  <a:gd name="connsiteY5" fmla="*/ 29051 h 1114425"/>
                  <a:gd name="connsiteX6" fmla="*/ 442583 w 1504950"/>
                  <a:gd name="connsiteY6" fmla="*/ 27146 h 1114425"/>
                  <a:gd name="connsiteX7" fmla="*/ 444488 w 1504950"/>
                  <a:gd name="connsiteY7" fmla="*/ 22384 h 1114425"/>
                  <a:gd name="connsiteX8" fmla="*/ 455918 w 1504950"/>
                  <a:gd name="connsiteY8" fmla="*/ 9049 h 1114425"/>
                  <a:gd name="connsiteX9" fmla="*/ 462585 w 1504950"/>
                  <a:gd name="connsiteY9" fmla="*/ 7144 h 1114425"/>
                  <a:gd name="connsiteX10" fmla="*/ 464490 w 1504950"/>
                  <a:gd name="connsiteY10" fmla="*/ 7144 h 1114425"/>
                  <a:gd name="connsiteX11" fmla="*/ 471158 w 1504950"/>
                  <a:gd name="connsiteY11" fmla="*/ 10954 h 1114425"/>
                  <a:gd name="connsiteX12" fmla="*/ 473063 w 1504950"/>
                  <a:gd name="connsiteY12" fmla="*/ 14764 h 1114425"/>
                  <a:gd name="connsiteX13" fmla="*/ 473063 w 1504950"/>
                  <a:gd name="connsiteY13" fmla="*/ 24289 h 1114425"/>
                  <a:gd name="connsiteX14" fmla="*/ 470205 w 1504950"/>
                  <a:gd name="connsiteY14" fmla="*/ 42386 h 1114425"/>
                  <a:gd name="connsiteX15" fmla="*/ 470205 w 1504950"/>
                  <a:gd name="connsiteY15" fmla="*/ 44291 h 1114425"/>
                  <a:gd name="connsiteX16" fmla="*/ 469253 w 1504950"/>
                  <a:gd name="connsiteY16" fmla="*/ 52864 h 1114425"/>
                  <a:gd name="connsiteX17" fmla="*/ 458775 w 1504950"/>
                  <a:gd name="connsiteY17" fmla="*/ 76676 h 1114425"/>
                  <a:gd name="connsiteX18" fmla="*/ 451155 w 1504950"/>
                  <a:gd name="connsiteY18" fmla="*/ 100489 h 1114425"/>
                  <a:gd name="connsiteX19" fmla="*/ 450203 w 1504950"/>
                  <a:gd name="connsiteY19" fmla="*/ 109061 h 1114425"/>
                  <a:gd name="connsiteX20" fmla="*/ 450203 w 1504950"/>
                  <a:gd name="connsiteY20" fmla="*/ 118586 h 1114425"/>
                  <a:gd name="connsiteX21" fmla="*/ 453060 w 1504950"/>
                  <a:gd name="connsiteY21" fmla="*/ 136684 h 1114425"/>
                  <a:gd name="connsiteX22" fmla="*/ 453060 w 1504950"/>
                  <a:gd name="connsiteY22" fmla="*/ 137636 h 1114425"/>
                  <a:gd name="connsiteX23" fmla="*/ 454013 w 1504950"/>
                  <a:gd name="connsiteY23" fmla="*/ 150019 h 1114425"/>
                  <a:gd name="connsiteX24" fmla="*/ 453060 w 1504950"/>
                  <a:gd name="connsiteY24" fmla="*/ 154781 h 1114425"/>
                  <a:gd name="connsiteX25" fmla="*/ 452108 w 1504950"/>
                  <a:gd name="connsiteY25" fmla="*/ 165259 h 1114425"/>
                  <a:gd name="connsiteX26" fmla="*/ 451155 w 1504950"/>
                  <a:gd name="connsiteY26" fmla="*/ 169069 h 1114425"/>
                  <a:gd name="connsiteX27" fmla="*/ 456870 w 1504950"/>
                  <a:gd name="connsiteY27" fmla="*/ 173831 h 1114425"/>
                  <a:gd name="connsiteX28" fmla="*/ 462585 w 1504950"/>
                  <a:gd name="connsiteY28" fmla="*/ 178594 h 1114425"/>
                  <a:gd name="connsiteX29" fmla="*/ 470205 w 1504950"/>
                  <a:gd name="connsiteY29" fmla="*/ 184309 h 1114425"/>
                  <a:gd name="connsiteX30" fmla="*/ 479730 w 1504950"/>
                  <a:gd name="connsiteY30" fmla="*/ 190024 h 1114425"/>
                  <a:gd name="connsiteX31" fmla="*/ 484493 w 1504950"/>
                  <a:gd name="connsiteY31" fmla="*/ 191929 h 1114425"/>
                  <a:gd name="connsiteX32" fmla="*/ 491160 w 1504950"/>
                  <a:gd name="connsiteY32" fmla="*/ 191929 h 1114425"/>
                  <a:gd name="connsiteX33" fmla="*/ 500685 w 1504950"/>
                  <a:gd name="connsiteY33" fmla="*/ 189071 h 1114425"/>
                  <a:gd name="connsiteX34" fmla="*/ 509258 w 1504950"/>
                  <a:gd name="connsiteY34" fmla="*/ 184309 h 1114425"/>
                  <a:gd name="connsiteX35" fmla="*/ 512115 w 1504950"/>
                  <a:gd name="connsiteY35" fmla="*/ 182404 h 1114425"/>
                  <a:gd name="connsiteX36" fmla="*/ 515925 w 1504950"/>
                  <a:gd name="connsiteY36" fmla="*/ 179546 h 1114425"/>
                  <a:gd name="connsiteX37" fmla="*/ 519735 w 1504950"/>
                  <a:gd name="connsiteY37" fmla="*/ 176689 h 1114425"/>
                  <a:gd name="connsiteX38" fmla="*/ 524498 w 1504950"/>
                  <a:gd name="connsiteY38" fmla="*/ 171926 h 1114425"/>
                  <a:gd name="connsiteX39" fmla="*/ 529260 w 1504950"/>
                  <a:gd name="connsiteY39" fmla="*/ 166211 h 1114425"/>
                  <a:gd name="connsiteX40" fmla="*/ 532118 w 1504950"/>
                  <a:gd name="connsiteY40" fmla="*/ 161449 h 1114425"/>
                  <a:gd name="connsiteX41" fmla="*/ 538785 w 1504950"/>
                  <a:gd name="connsiteY41" fmla="*/ 151924 h 1114425"/>
                  <a:gd name="connsiteX42" fmla="*/ 548310 w 1504950"/>
                  <a:gd name="connsiteY42" fmla="*/ 127159 h 1114425"/>
                  <a:gd name="connsiteX43" fmla="*/ 549263 w 1504950"/>
                  <a:gd name="connsiteY43" fmla="*/ 122396 h 1114425"/>
                  <a:gd name="connsiteX44" fmla="*/ 550215 w 1504950"/>
                  <a:gd name="connsiteY44" fmla="*/ 116681 h 1114425"/>
                  <a:gd name="connsiteX45" fmla="*/ 552120 w 1504950"/>
                  <a:gd name="connsiteY45" fmla="*/ 98584 h 1114425"/>
                  <a:gd name="connsiteX46" fmla="*/ 554978 w 1504950"/>
                  <a:gd name="connsiteY46" fmla="*/ 90964 h 1114425"/>
                  <a:gd name="connsiteX47" fmla="*/ 556883 w 1504950"/>
                  <a:gd name="connsiteY47" fmla="*/ 87154 h 1114425"/>
                  <a:gd name="connsiteX48" fmla="*/ 560693 w 1504950"/>
                  <a:gd name="connsiteY48" fmla="*/ 81439 h 1114425"/>
                  <a:gd name="connsiteX49" fmla="*/ 565455 w 1504950"/>
                  <a:gd name="connsiteY49" fmla="*/ 76676 h 1114425"/>
                  <a:gd name="connsiteX50" fmla="*/ 571170 w 1504950"/>
                  <a:gd name="connsiteY50" fmla="*/ 73819 h 1114425"/>
                  <a:gd name="connsiteX51" fmla="*/ 573075 w 1504950"/>
                  <a:gd name="connsiteY51" fmla="*/ 73819 h 1114425"/>
                  <a:gd name="connsiteX52" fmla="*/ 574980 w 1504950"/>
                  <a:gd name="connsiteY52" fmla="*/ 74771 h 1114425"/>
                  <a:gd name="connsiteX53" fmla="*/ 576885 w 1504950"/>
                  <a:gd name="connsiteY53" fmla="*/ 76676 h 1114425"/>
                  <a:gd name="connsiteX54" fmla="*/ 578790 w 1504950"/>
                  <a:gd name="connsiteY54" fmla="*/ 81439 h 1114425"/>
                  <a:gd name="connsiteX55" fmla="*/ 579743 w 1504950"/>
                  <a:gd name="connsiteY55" fmla="*/ 83344 h 1114425"/>
                  <a:gd name="connsiteX56" fmla="*/ 579743 w 1504950"/>
                  <a:gd name="connsiteY56" fmla="*/ 90011 h 1114425"/>
                  <a:gd name="connsiteX57" fmla="*/ 577838 w 1504950"/>
                  <a:gd name="connsiteY57" fmla="*/ 117634 h 1114425"/>
                  <a:gd name="connsiteX58" fmla="*/ 575933 w 1504950"/>
                  <a:gd name="connsiteY58" fmla="*/ 129064 h 1114425"/>
                  <a:gd name="connsiteX59" fmla="*/ 577838 w 1504950"/>
                  <a:gd name="connsiteY59" fmla="*/ 138589 h 1114425"/>
                  <a:gd name="connsiteX60" fmla="*/ 580695 w 1504950"/>
                  <a:gd name="connsiteY60" fmla="*/ 141446 h 1114425"/>
                  <a:gd name="connsiteX61" fmla="*/ 584505 w 1504950"/>
                  <a:gd name="connsiteY61" fmla="*/ 143351 h 1114425"/>
                  <a:gd name="connsiteX62" fmla="*/ 589268 w 1504950"/>
                  <a:gd name="connsiteY62" fmla="*/ 143351 h 1114425"/>
                  <a:gd name="connsiteX63" fmla="*/ 595935 w 1504950"/>
                  <a:gd name="connsiteY63" fmla="*/ 141446 h 1114425"/>
                  <a:gd name="connsiteX64" fmla="*/ 604508 w 1504950"/>
                  <a:gd name="connsiteY64" fmla="*/ 136684 h 1114425"/>
                  <a:gd name="connsiteX65" fmla="*/ 621653 w 1504950"/>
                  <a:gd name="connsiteY65" fmla="*/ 125254 h 1114425"/>
                  <a:gd name="connsiteX66" fmla="*/ 635940 w 1504950"/>
                  <a:gd name="connsiteY66" fmla="*/ 115729 h 1114425"/>
                  <a:gd name="connsiteX67" fmla="*/ 639750 w 1504950"/>
                  <a:gd name="connsiteY67" fmla="*/ 114776 h 1114425"/>
                  <a:gd name="connsiteX68" fmla="*/ 643560 w 1504950"/>
                  <a:gd name="connsiteY68" fmla="*/ 116681 h 1114425"/>
                  <a:gd name="connsiteX69" fmla="*/ 645465 w 1504950"/>
                  <a:gd name="connsiteY69" fmla="*/ 118586 h 1114425"/>
                  <a:gd name="connsiteX70" fmla="*/ 646418 w 1504950"/>
                  <a:gd name="connsiteY70" fmla="*/ 123349 h 1114425"/>
                  <a:gd name="connsiteX71" fmla="*/ 645465 w 1504950"/>
                  <a:gd name="connsiteY71" fmla="*/ 128111 h 1114425"/>
                  <a:gd name="connsiteX72" fmla="*/ 645465 w 1504950"/>
                  <a:gd name="connsiteY72" fmla="*/ 129064 h 1114425"/>
                  <a:gd name="connsiteX73" fmla="*/ 644513 w 1504950"/>
                  <a:gd name="connsiteY73" fmla="*/ 133826 h 1114425"/>
                  <a:gd name="connsiteX74" fmla="*/ 644513 w 1504950"/>
                  <a:gd name="connsiteY74" fmla="*/ 134779 h 1114425"/>
                  <a:gd name="connsiteX75" fmla="*/ 644513 w 1504950"/>
                  <a:gd name="connsiteY75" fmla="*/ 137636 h 1114425"/>
                  <a:gd name="connsiteX76" fmla="*/ 642608 w 1504950"/>
                  <a:gd name="connsiteY76" fmla="*/ 141446 h 1114425"/>
                  <a:gd name="connsiteX77" fmla="*/ 640703 w 1504950"/>
                  <a:gd name="connsiteY77" fmla="*/ 146209 h 1114425"/>
                  <a:gd name="connsiteX78" fmla="*/ 637845 w 1504950"/>
                  <a:gd name="connsiteY78" fmla="*/ 150971 h 1114425"/>
                  <a:gd name="connsiteX79" fmla="*/ 632130 w 1504950"/>
                  <a:gd name="connsiteY79" fmla="*/ 157639 h 1114425"/>
                  <a:gd name="connsiteX80" fmla="*/ 621653 w 1504950"/>
                  <a:gd name="connsiteY80" fmla="*/ 165259 h 1114425"/>
                  <a:gd name="connsiteX81" fmla="*/ 610223 w 1504950"/>
                  <a:gd name="connsiteY81" fmla="*/ 170021 h 1114425"/>
                  <a:gd name="connsiteX82" fmla="*/ 607365 w 1504950"/>
                  <a:gd name="connsiteY82" fmla="*/ 170974 h 1114425"/>
                  <a:gd name="connsiteX83" fmla="*/ 598793 w 1504950"/>
                  <a:gd name="connsiteY83" fmla="*/ 172879 h 1114425"/>
                  <a:gd name="connsiteX84" fmla="*/ 588315 w 1504950"/>
                  <a:gd name="connsiteY84" fmla="*/ 175736 h 1114425"/>
                  <a:gd name="connsiteX85" fmla="*/ 578790 w 1504950"/>
                  <a:gd name="connsiteY85" fmla="*/ 178594 h 1114425"/>
                  <a:gd name="connsiteX86" fmla="*/ 571170 w 1504950"/>
                  <a:gd name="connsiteY86" fmla="*/ 182404 h 1114425"/>
                  <a:gd name="connsiteX87" fmla="*/ 564503 w 1504950"/>
                  <a:gd name="connsiteY87" fmla="*/ 185261 h 1114425"/>
                  <a:gd name="connsiteX88" fmla="*/ 556883 w 1504950"/>
                  <a:gd name="connsiteY88" fmla="*/ 188119 h 1114425"/>
                  <a:gd name="connsiteX89" fmla="*/ 534023 w 1504950"/>
                  <a:gd name="connsiteY89" fmla="*/ 202406 h 1114425"/>
                  <a:gd name="connsiteX90" fmla="*/ 515925 w 1504950"/>
                  <a:gd name="connsiteY90" fmla="*/ 227171 h 1114425"/>
                  <a:gd name="connsiteX91" fmla="*/ 514020 w 1504950"/>
                  <a:gd name="connsiteY91" fmla="*/ 234791 h 1114425"/>
                  <a:gd name="connsiteX92" fmla="*/ 513068 w 1504950"/>
                  <a:gd name="connsiteY92" fmla="*/ 243364 h 1114425"/>
                  <a:gd name="connsiteX93" fmla="*/ 514020 w 1504950"/>
                  <a:gd name="connsiteY93" fmla="*/ 257651 h 1114425"/>
                  <a:gd name="connsiteX94" fmla="*/ 514973 w 1504950"/>
                  <a:gd name="connsiteY94" fmla="*/ 271939 h 1114425"/>
                  <a:gd name="connsiteX95" fmla="*/ 514973 w 1504950"/>
                  <a:gd name="connsiteY95" fmla="*/ 277654 h 1114425"/>
                  <a:gd name="connsiteX96" fmla="*/ 514020 w 1504950"/>
                  <a:gd name="connsiteY96" fmla="*/ 289084 h 1114425"/>
                  <a:gd name="connsiteX97" fmla="*/ 513068 w 1504950"/>
                  <a:gd name="connsiteY97" fmla="*/ 291941 h 1114425"/>
                  <a:gd name="connsiteX98" fmla="*/ 495923 w 1504950"/>
                  <a:gd name="connsiteY98" fmla="*/ 330994 h 1114425"/>
                  <a:gd name="connsiteX99" fmla="*/ 486398 w 1504950"/>
                  <a:gd name="connsiteY99" fmla="*/ 342424 h 1114425"/>
                  <a:gd name="connsiteX100" fmla="*/ 474015 w 1504950"/>
                  <a:gd name="connsiteY100" fmla="*/ 350044 h 1114425"/>
                  <a:gd name="connsiteX101" fmla="*/ 443535 w 1504950"/>
                  <a:gd name="connsiteY101" fmla="*/ 371951 h 1114425"/>
                  <a:gd name="connsiteX102" fmla="*/ 422580 w 1504950"/>
                  <a:gd name="connsiteY102" fmla="*/ 382429 h 1114425"/>
                  <a:gd name="connsiteX103" fmla="*/ 351143 w 1504950"/>
                  <a:gd name="connsiteY103" fmla="*/ 436721 h 1114425"/>
                  <a:gd name="connsiteX104" fmla="*/ 348285 w 1504950"/>
                  <a:gd name="connsiteY104" fmla="*/ 435769 h 1114425"/>
                  <a:gd name="connsiteX105" fmla="*/ 349238 w 1504950"/>
                  <a:gd name="connsiteY105" fmla="*/ 443389 h 1114425"/>
                  <a:gd name="connsiteX106" fmla="*/ 418770 w 1504950"/>
                  <a:gd name="connsiteY106" fmla="*/ 551974 h 1114425"/>
                  <a:gd name="connsiteX107" fmla="*/ 524498 w 1504950"/>
                  <a:gd name="connsiteY107" fmla="*/ 634841 h 1114425"/>
                  <a:gd name="connsiteX108" fmla="*/ 614985 w 1504950"/>
                  <a:gd name="connsiteY108" fmla="*/ 673894 h 1114425"/>
                  <a:gd name="connsiteX109" fmla="*/ 733095 w 1504950"/>
                  <a:gd name="connsiteY109" fmla="*/ 680561 h 1114425"/>
                  <a:gd name="connsiteX110" fmla="*/ 770243 w 1504950"/>
                  <a:gd name="connsiteY110" fmla="*/ 677704 h 1114425"/>
                  <a:gd name="connsiteX111" fmla="*/ 838823 w 1504950"/>
                  <a:gd name="connsiteY111" fmla="*/ 668179 h 1114425"/>
                  <a:gd name="connsiteX112" fmla="*/ 941693 w 1504950"/>
                  <a:gd name="connsiteY112" fmla="*/ 654844 h 1114425"/>
                  <a:gd name="connsiteX113" fmla="*/ 990270 w 1504950"/>
                  <a:gd name="connsiteY113" fmla="*/ 647224 h 1114425"/>
                  <a:gd name="connsiteX114" fmla="*/ 1023608 w 1504950"/>
                  <a:gd name="connsiteY114" fmla="*/ 582454 h 1114425"/>
                  <a:gd name="connsiteX115" fmla="*/ 1043610 w 1504950"/>
                  <a:gd name="connsiteY115" fmla="*/ 535781 h 1114425"/>
                  <a:gd name="connsiteX116" fmla="*/ 1110285 w 1504950"/>
                  <a:gd name="connsiteY116" fmla="*/ 495776 h 1114425"/>
                  <a:gd name="connsiteX117" fmla="*/ 1099808 w 1504950"/>
                  <a:gd name="connsiteY117" fmla="*/ 525304 h 1114425"/>
                  <a:gd name="connsiteX118" fmla="*/ 1076948 w 1504950"/>
                  <a:gd name="connsiteY118" fmla="*/ 584359 h 1114425"/>
                  <a:gd name="connsiteX119" fmla="*/ 1075043 w 1504950"/>
                  <a:gd name="connsiteY119" fmla="*/ 600551 h 1114425"/>
                  <a:gd name="connsiteX120" fmla="*/ 1083615 w 1504950"/>
                  <a:gd name="connsiteY120" fmla="*/ 672941 h 1114425"/>
                  <a:gd name="connsiteX121" fmla="*/ 1100760 w 1504950"/>
                  <a:gd name="connsiteY121" fmla="*/ 743426 h 1114425"/>
                  <a:gd name="connsiteX122" fmla="*/ 1133145 w 1504950"/>
                  <a:gd name="connsiteY122" fmla="*/ 820579 h 1114425"/>
                  <a:gd name="connsiteX123" fmla="*/ 1223633 w 1504950"/>
                  <a:gd name="connsiteY123" fmla="*/ 822484 h 1114425"/>
                  <a:gd name="connsiteX124" fmla="*/ 1264590 w 1504950"/>
                  <a:gd name="connsiteY124" fmla="*/ 838676 h 1114425"/>
                  <a:gd name="connsiteX125" fmla="*/ 1314120 w 1504950"/>
                  <a:gd name="connsiteY125" fmla="*/ 867251 h 1114425"/>
                  <a:gd name="connsiteX126" fmla="*/ 1428420 w 1504950"/>
                  <a:gd name="connsiteY126" fmla="*/ 889159 h 1114425"/>
                  <a:gd name="connsiteX127" fmla="*/ 1455090 w 1504950"/>
                  <a:gd name="connsiteY127" fmla="*/ 888206 h 1114425"/>
                  <a:gd name="connsiteX128" fmla="*/ 1506525 w 1504950"/>
                  <a:gd name="connsiteY128" fmla="*/ 912971 h 1114425"/>
                  <a:gd name="connsiteX129" fmla="*/ 1485570 w 1504950"/>
                  <a:gd name="connsiteY129" fmla="*/ 924401 h 1114425"/>
                  <a:gd name="connsiteX130" fmla="*/ 1466520 w 1504950"/>
                  <a:gd name="connsiteY130" fmla="*/ 932021 h 1114425"/>
                  <a:gd name="connsiteX131" fmla="*/ 1476045 w 1504950"/>
                  <a:gd name="connsiteY131" fmla="*/ 947261 h 1114425"/>
                  <a:gd name="connsiteX132" fmla="*/ 1475093 w 1504950"/>
                  <a:gd name="connsiteY132" fmla="*/ 969169 h 1114425"/>
                  <a:gd name="connsiteX133" fmla="*/ 1456995 w 1504950"/>
                  <a:gd name="connsiteY133" fmla="*/ 976789 h 1114425"/>
                  <a:gd name="connsiteX134" fmla="*/ 1447470 w 1504950"/>
                  <a:gd name="connsiteY134" fmla="*/ 979646 h 1114425"/>
                  <a:gd name="connsiteX135" fmla="*/ 1429373 w 1504950"/>
                  <a:gd name="connsiteY135" fmla="*/ 975836 h 1114425"/>
                  <a:gd name="connsiteX136" fmla="*/ 1397940 w 1504950"/>
                  <a:gd name="connsiteY136" fmla="*/ 968216 h 1114425"/>
                  <a:gd name="connsiteX137" fmla="*/ 1305548 w 1504950"/>
                  <a:gd name="connsiteY137" fmla="*/ 932021 h 1114425"/>
                  <a:gd name="connsiteX138" fmla="*/ 1258875 w 1504950"/>
                  <a:gd name="connsiteY138" fmla="*/ 912019 h 1114425"/>
                  <a:gd name="connsiteX139" fmla="*/ 1179818 w 1504950"/>
                  <a:gd name="connsiteY139" fmla="*/ 912971 h 1114425"/>
                  <a:gd name="connsiteX140" fmla="*/ 1115048 w 1504950"/>
                  <a:gd name="connsiteY140" fmla="*/ 931069 h 1114425"/>
                  <a:gd name="connsiteX141" fmla="*/ 967410 w 1504950"/>
                  <a:gd name="connsiteY141" fmla="*/ 912971 h 1114425"/>
                  <a:gd name="connsiteX142" fmla="*/ 829298 w 1504950"/>
                  <a:gd name="connsiteY142" fmla="*/ 897731 h 1114425"/>
                  <a:gd name="connsiteX143" fmla="*/ 780720 w 1504950"/>
                  <a:gd name="connsiteY143" fmla="*/ 916781 h 1114425"/>
                  <a:gd name="connsiteX144" fmla="*/ 765480 w 1504950"/>
                  <a:gd name="connsiteY144" fmla="*/ 924401 h 1114425"/>
                  <a:gd name="connsiteX145" fmla="*/ 689280 w 1504950"/>
                  <a:gd name="connsiteY145" fmla="*/ 932974 h 1114425"/>
                  <a:gd name="connsiteX146" fmla="*/ 560693 w 1504950"/>
                  <a:gd name="connsiteY146" fmla="*/ 921544 h 1114425"/>
                  <a:gd name="connsiteX147" fmla="*/ 525450 w 1504950"/>
                  <a:gd name="connsiteY147" fmla="*/ 918686 h 1114425"/>
                  <a:gd name="connsiteX148" fmla="*/ 504495 w 1504950"/>
                  <a:gd name="connsiteY148" fmla="*/ 915829 h 1114425"/>
                  <a:gd name="connsiteX149" fmla="*/ 461633 w 1504950"/>
                  <a:gd name="connsiteY149" fmla="*/ 925354 h 1114425"/>
                  <a:gd name="connsiteX150" fmla="*/ 349238 w 1504950"/>
                  <a:gd name="connsiteY150" fmla="*/ 930116 h 1114425"/>
                  <a:gd name="connsiteX151" fmla="*/ 216840 w 1504950"/>
                  <a:gd name="connsiteY151" fmla="*/ 991076 h 1114425"/>
                  <a:gd name="connsiteX152" fmla="*/ 179693 w 1504950"/>
                  <a:gd name="connsiteY152" fmla="*/ 1032034 h 1114425"/>
                  <a:gd name="connsiteX153" fmla="*/ 162548 w 1504950"/>
                  <a:gd name="connsiteY153" fmla="*/ 1058704 h 1114425"/>
                  <a:gd name="connsiteX154" fmla="*/ 118733 w 1504950"/>
                  <a:gd name="connsiteY154" fmla="*/ 1095851 h 1114425"/>
                  <a:gd name="connsiteX155" fmla="*/ 87300 w 1504950"/>
                  <a:gd name="connsiteY155" fmla="*/ 1108234 h 1114425"/>
                  <a:gd name="connsiteX156" fmla="*/ 97778 w 1504950"/>
                  <a:gd name="connsiteY156" fmla="*/ 1081564 h 1114425"/>
                  <a:gd name="connsiteX157" fmla="*/ 116828 w 1504950"/>
                  <a:gd name="connsiteY157" fmla="*/ 1049179 h 1114425"/>
                  <a:gd name="connsiteX158" fmla="*/ 133973 w 1504950"/>
                  <a:gd name="connsiteY158" fmla="*/ 1024414 h 1114425"/>
                  <a:gd name="connsiteX159" fmla="*/ 166358 w 1504950"/>
                  <a:gd name="connsiteY159" fmla="*/ 984409 h 1114425"/>
                  <a:gd name="connsiteX160" fmla="*/ 187313 w 1504950"/>
                  <a:gd name="connsiteY160" fmla="*/ 960596 h 1114425"/>
                  <a:gd name="connsiteX161" fmla="*/ 137783 w 1504950"/>
                  <a:gd name="connsiteY161" fmla="*/ 986314 h 1114425"/>
                  <a:gd name="connsiteX162" fmla="*/ 32055 w 1504950"/>
                  <a:gd name="connsiteY162" fmla="*/ 1031081 h 1114425"/>
                  <a:gd name="connsiteX163" fmla="*/ 7290 w 1504950"/>
                  <a:gd name="connsiteY163" fmla="*/ 1028224 h 1114425"/>
                  <a:gd name="connsiteX164" fmla="*/ 111113 w 1504950"/>
                  <a:gd name="connsiteY164" fmla="*/ 962501 h 1114425"/>
                  <a:gd name="connsiteX165" fmla="*/ 222555 w 1504950"/>
                  <a:gd name="connsiteY165" fmla="*/ 901541 h 1114425"/>
                  <a:gd name="connsiteX166" fmla="*/ 333998 w 1504950"/>
                  <a:gd name="connsiteY166" fmla="*/ 866299 h 1114425"/>
                  <a:gd name="connsiteX167" fmla="*/ 374003 w 1504950"/>
                  <a:gd name="connsiteY167" fmla="*/ 852964 h 1114425"/>
                  <a:gd name="connsiteX168" fmla="*/ 359715 w 1504950"/>
                  <a:gd name="connsiteY168" fmla="*/ 802481 h 1114425"/>
                  <a:gd name="connsiteX169" fmla="*/ 332093 w 1504950"/>
                  <a:gd name="connsiteY169" fmla="*/ 769144 h 1114425"/>
                  <a:gd name="connsiteX170" fmla="*/ 307328 w 1504950"/>
                  <a:gd name="connsiteY170" fmla="*/ 746284 h 1114425"/>
                  <a:gd name="connsiteX171" fmla="*/ 276848 w 1504950"/>
                  <a:gd name="connsiteY171" fmla="*/ 658654 h 1114425"/>
                  <a:gd name="connsiteX172" fmla="*/ 267323 w 1504950"/>
                  <a:gd name="connsiteY172" fmla="*/ 592931 h 1114425"/>
                  <a:gd name="connsiteX173" fmla="*/ 244463 w 1504950"/>
                  <a:gd name="connsiteY173" fmla="*/ 572929 h 1114425"/>
                  <a:gd name="connsiteX174" fmla="*/ 154928 w 1504950"/>
                  <a:gd name="connsiteY174" fmla="*/ 567214 h 1114425"/>
                  <a:gd name="connsiteX175" fmla="*/ 133973 w 1504950"/>
                  <a:gd name="connsiteY175" fmla="*/ 547211 h 1114425"/>
                  <a:gd name="connsiteX176" fmla="*/ 167310 w 1504950"/>
                  <a:gd name="connsiteY176" fmla="*/ 505301 h 1114425"/>
                  <a:gd name="connsiteX177" fmla="*/ 242558 w 1504950"/>
                  <a:gd name="connsiteY177" fmla="*/ 466249 h 1114425"/>
                  <a:gd name="connsiteX178" fmla="*/ 230175 w 1504950"/>
                  <a:gd name="connsiteY178" fmla="*/ 465296 h 1114425"/>
                  <a:gd name="connsiteX179" fmla="*/ 179693 w 1504950"/>
                  <a:gd name="connsiteY179" fmla="*/ 466249 h 1114425"/>
                  <a:gd name="connsiteX180" fmla="*/ 151118 w 1504950"/>
                  <a:gd name="connsiteY180" fmla="*/ 467201 h 1114425"/>
                  <a:gd name="connsiteX181" fmla="*/ 127305 w 1504950"/>
                  <a:gd name="connsiteY181" fmla="*/ 465296 h 1114425"/>
                  <a:gd name="connsiteX182" fmla="*/ 112065 w 1504950"/>
                  <a:gd name="connsiteY182" fmla="*/ 460534 h 1114425"/>
                  <a:gd name="connsiteX183" fmla="*/ 107303 w 1504950"/>
                  <a:gd name="connsiteY183" fmla="*/ 450056 h 1114425"/>
                  <a:gd name="connsiteX184" fmla="*/ 114923 w 1504950"/>
                  <a:gd name="connsiteY184" fmla="*/ 441484 h 1114425"/>
                  <a:gd name="connsiteX185" fmla="*/ 130163 w 1504950"/>
                  <a:gd name="connsiteY185" fmla="*/ 440531 h 1114425"/>
                  <a:gd name="connsiteX186" fmla="*/ 123495 w 1504950"/>
                  <a:gd name="connsiteY186" fmla="*/ 431959 h 1114425"/>
                  <a:gd name="connsiteX187" fmla="*/ 117780 w 1504950"/>
                  <a:gd name="connsiteY187" fmla="*/ 422434 h 1114425"/>
                  <a:gd name="connsiteX188" fmla="*/ 113018 w 1504950"/>
                  <a:gd name="connsiteY188" fmla="*/ 412909 h 1114425"/>
                  <a:gd name="connsiteX189" fmla="*/ 100635 w 1504950"/>
                  <a:gd name="connsiteY189" fmla="*/ 371951 h 1114425"/>
                  <a:gd name="connsiteX190" fmla="*/ 91110 w 1504950"/>
                  <a:gd name="connsiteY190" fmla="*/ 363379 h 1114425"/>
                  <a:gd name="connsiteX191" fmla="*/ 85395 w 1504950"/>
                  <a:gd name="connsiteY191" fmla="*/ 354806 h 1114425"/>
                  <a:gd name="connsiteX192" fmla="*/ 89205 w 1504950"/>
                  <a:gd name="connsiteY192" fmla="*/ 345281 h 1114425"/>
                  <a:gd name="connsiteX193" fmla="*/ 99683 w 1504950"/>
                  <a:gd name="connsiteY193" fmla="*/ 345281 h 1114425"/>
                  <a:gd name="connsiteX194" fmla="*/ 113970 w 1504950"/>
                  <a:gd name="connsiteY194" fmla="*/ 350996 h 1114425"/>
                  <a:gd name="connsiteX195" fmla="*/ 129210 w 1504950"/>
                  <a:gd name="connsiteY195" fmla="*/ 355759 h 1114425"/>
                  <a:gd name="connsiteX196" fmla="*/ 140640 w 1504950"/>
                  <a:gd name="connsiteY196" fmla="*/ 356711 h 1114425"/>
                  <a:gd name="connsiteX197" fmla="*/ 134925 w 1504950"/>
                  <a:gd name="connsiteY197" fmla="*/ 350996 h 1114425"/>
                  <a:gd name="connsiteX198" fmla="*/ 128258 w 1504950"/>
                  <a:gd name="connsiteY198" fmla="*/ 341471 h 1114425"/>
                  <a:gd name="connsiteX199" fmla="*/ 121590 w 1504950"/>
                  <a:gd name="connsiteY199" fmla="*/ 324326 h 1114425"/>
                  <a:gd name="connsiteX200" fmla="*/ 117780 w 1504950"/>
                  <a:gd name="connsiteY200" fmla="*/ 317659 h 1114425"/>
                  <a:gd name="connsiteX201" fmla="*/ 120638 w 1504950"/>
                  <a:gd name="connsiteY201" fmla="*/ 308134 h 1114425"/>
                  <a:gd name="connsiteX202" fmla="*/ 129210 w 1504950"/>
                  <a:gd name="connsiteY202" fmla="*/ 307181 h 1114425"/>
                  <a:gd name="connsiteX203" fmla="*/ 139688 w 1504950"/>
                  <a:gd name="connsiteY203" fmla="*/ 313849 h 1114425"/>
                  <a:gd name="connsiteX204" fmla="*/ 152070 w 1504950"/>
                  <a:gd name="connsiteY204" fmla="*/ 327184 h 1114425"/>
                  <a:gd name="connsiteX205" fmla="*/ 166358 w 1504950"/>
                  <a:gd name="connsiteY205" fmla="*/ 339566 h 1114425"/>
                  <a:gd name="connsiteX206" fmla="*/ 191123 w 1504950"/>
                  <a:gd name="connsiteY206" fmla="*/ 356711 h 1114425"/>
                  <a:gd name="connsiteX207" fmla="*/ 213983 w 1504950"/>
                  <a:gd name="connsiteY207" fmla="*/ 366236 h 1114425"/>
                  <a:gd name="connsiteX208" fmla="*/ 216840 w 1504950"/>
                  <a:gd name="connsiteY208" fmla="*/ 366236 h 1114425"/>
                  <a:gd name="connsiteX209" fmla="*/ 226365 w 1504950"/>
                  <a:gd name="connsiteY209" fmla="*/ 361474 h 1114425"/>
                  <a:gd name="connsiteX210" fmla="*/ 228270 w 1504950"/>
                  <a:gd name="connsiteY210" fmla="*/ 357664 h 1114425"/>
                  <a:gd name="connsiteX211" fmla="*/ 227318 w 1504950"/>
                  <a:gd name="connsiteY211" fmla="*/ 352901 h 1114425"/>
                  <a:gd name="connsiteX212" fmla="*/ 224460 w 1504950"/>
                  <a:gd name="connsiteY212" fmla="*/ 336709 h 1114425"/>
                  <a:gd name="connsiteX213" fmla="*/ 229223 w 1504950"/>
                  <a:gd name="connsiteY213" fmla="*/ 319564 h 1114425"/>
                  <a:gd name="connsiteX214" fmla="*/ 241605 w 1504950"/>
                  <a:gd name="connsiteY214" fmla="*/ 317659 h 1114425"/>
                  <a:gd name="connsiteX215" fmla="*/ 245415 w 1504950"/>
                  <a:gd name="connsiteY215" fmla="*/ 325279 h 1114425"/>
                  <a:gd name="connsiteX216" fmla="*/ 254940 w 1504950"/>
                  <a:gd name="connsiteY216" fmla="*/ 373856 h 1114425"/>
                  <a:gd name="connsiteX217" fmla="*/ 316853 w 1504950"/>
                  <a:gd name="connsiteY217" fmla="*/ 383381 h 1114425"/>
                  <a:gd name="connsiteX218" fmla="*/ 324473 w 1504950"/>
                  <a:gd name="connsiteY218" fmla="*/ 376714 h 1114425"/>
                  <a:gd name="connsiteX219" fmla="*/ 335903 w 1504950"/>
                  <a:gd name="connsiteY219" fmla="*/ 363379 h 1114425"/>
                  <a:gd name="connsiteX220" fmla="*/ 359715 w 1504950"/>
                  <a:gd name="connsiteY220" fmla="*/ 327184 h 1114425"/>
                  <a:gd name="connsiteX221" fmla="*/ 369240 w 1504950"/>
                  <a:gd name="connsiteY221" fmla="*/ 299561 h 1114425"/>
                  <a:gd name="connsiteX222" fmla="*/ 370193 w 1504950"/>
                  <a:gd name="connsiteY222" fmla="*/ 297656 h 1114425"/>
                  <a:gd name="connsiteX223" fmla="*/ 370193 w 1504950"/>
                  <a:gd name="connsiteY223" fmla="*/ 277654 h 1114425"/>
                  <a:gd name="connsiteX224" fmla="*/ 362573 w 1504950"/>
                  <a:gd name="connsiteY224" fmla="*/ 259556 h 1114425"/>
                  <a:gd name="connsiteX225" fmla="*/ 352095 w 1504950"/>
                  <a:gd name="connsiteY225" fmla="*/ 247174 h 1114425"/>
                  <a:gd name="connsiteX226" fmla="*/ 333998 w 1504950"/>
                  <a:gd name="connsiteY226" fmla="*/ 231934 h 1114425"/>
                  <a:gd name="connsiteX227" fmla="*/ 311138 w 1504950"/>
                  <a:gd name="connsiteY227" fmla="*/ 223361 h 1114425"/>
                  <a:gd name="connsiteX228" fmla="*/ 291135 w 1504950"/>
                  <a:gd name="connsiteY228" fmla="*/ 218599 h 1114425"/>
                  <a:gd name="connsiteX229" fmla="*/ 281610 w 1504950"/>
                  <a:gd name="connsiteY229" fmla="*/ 216694 h 1114425"/>
                  <a:gd name="connsiteX230" fmla="*/ 266370 w 1504950"/>
                  <a:gd name="connsiteY230" fmla="*/ 214789 h 1114425"/>
                  <a:gd name="connsiteX231" fmla="*/ 242558 w 1504950"/>
                  <a:gd name="connsiteY231" fmla="*/ 212884 h 1114425"/>
                  <a:gd name="connsiteX232" fmla="*/ 232080 w 1504950"/>
                  <a:gd name="connsiteY232" fmla="*/ 211931 h 1114425"/>
                  <a:gd name="connsiteX233" fmla="*/ 216840 w 1504950"/>
                  <a:gd name="connsiteY233" fmla="*/ 206216 h 1114425"/>
                  <a:gd name="connsiteX234" fmla="*/ 213030 w 1504950"/>
                  <a:gd name="connsiteY234" fmla="*/ 196691 h 1114425"/>
                  <a:gd name="connsiteX235" fmla="*/ 221603 w 1504950"/>
                  <a:gd name="connsiteY235" fmla="*/ 186214 h 1114425"/>
                  <a:gd name="connsiteX236" fmla="*/ 235890 w 1504950"/>
                  <a:gd name="connsiteY236" fmla="*/ 182404 h 1114425"/>
                  <a:gd name="connsiteX237" fmla="*/ 253035 w 1504950"/>
                  <a:gd name="connsiteY237" fmla="*/ 182404 h 1114425"/>
                  <a:gd name="connsiteX238" fmla="*/ 288278 w 1504950"/>
                  <a:gd name="connsiteY238" fmla="*/ 159544 h 1114425"/>
                  <a:gd name="connsiteX239" fmla="*/ 284468 w 1504950"/>
                  <a:gd name="connsiteY239" fmla="*/ 151924 h 1114425"/>
                  <a:gd name="connsiteX240" fmla="*/ 273990 w 1504950"/>
                  <a:gd name="connsiteY240" fmla="*/ 124301 h 1114425"/>
                  <a:gd name="connsiteX241" fmla="*/ 277800 w 1504950"/>
                  <a:gd name="connsiteY241" fmla="*/ 114776 h 1114425"/>
                  <a:gd name="connsiteX242" fmla="*/ 286373 w 1504950"/>
                  <a:gd name="connsiteY242" fmla="*/ 112871 h 1114425"/>
                  <a:gd name="connsiteX243" fmla="*/ 293993 w 1504950"/>
                  <a:gd name="connsiteY243" fmla="*/ 116681 h 1114425"/>
                  <a:gd name="connsiteX244" fmla="*/ 300660 w 1504950"/>
                  <a:gd name="connsiteY244" fmla="*/ 126206 h 1114425"/>
                  <a:gd name="connsiteX245" fmla="*/ 308280 w 1504950"/>
                  <a:gd name="connsiteY245" fmla="*/ 138589 h 1114425"/>
                  <a:gd name="connsiteX246" fmla="*/ 316853 w 1504950"/>
                  <a:gd name="connsiteY246" fmla="*/ 148114 h 1114425"/>
                  <a:gd name="connsiteX247" fmla="*/ 323520 w 1504950"/>
                  <a:gd name="connsiteY247" fmla="*/ 153829 h 1114425"/>
                  <a:gd name="connsiteX248" fmla="*/ 327330 w 1504950"/>
                  <a:gd name="connsiteY248" fmla="*/ 152876 h 1114425"/>
                  <a:gd name="connsiteX249" fmla="*/ 333998 w 1504950"/>
                  <a:gd name="connsiteY249" fmla="*/ 152876 h 1114425"/>
                  <a:gd name="connsiteX250" fmla="*/ 353048 w 1504950"/>
                  <a:gd name="connsiteY250" fmla="*/ 154781 h 1114425"/>
                  <a:gd name="connsiteX251" fmla="*/ 371145 w 1504950"/>
                  <a:gd name="connsiteY251" fmla="*/ 156686 h 1114425"/>
                  <a:gd name="connsiteX252" fmla="*/ 394005 w 1504950"/>
                  <a:gd name="connsiteY252" fmla="*/ 158591 h 1114425"/>
                  <a:gd name="connsiteX253" fmla="*/ 414960 w 1504950"/>
                  <a:gd name="connsiteY253" fmla="*/ 156686 h 1114425"/>
                  <a:gd name="connsiteX254" fmla="*/ 417818 w 1504950"/>
                  <a:gd name="connsiteY254" fmla="*/ 152876 h 1114425"/>
                  <a:gd name="connsiteX255" fmla="*/ 419723 w 1504950"/>
                  <a:gd name="connsiteY255" fmla="*/ 145256 h 1114425"/>
                  <a:gd name="connsiteX256" fmla="*/ 420675 w 1504950"/>
                  <a:gd name="connsiteY256" fmla="*/ 143351 h 1114425"/>
                  <a:gd name="connsiteX257" fmla="*/ 420675 w 1504950"/>
                  <a:gd name="connsiteY257" fmla="*/ 135731 h 1114425"/>
                  <a:gd name="connsiteX258" fmla="*/ 419723 w 1504950"/>
                  <a:gd name="connsiteY258" fmla="*/ 127159 h 1114425"/>
                  <a:gd name="connsiteX259" fmla="*/ 417818 w 1504950"/>
                  <a:gd name="connsiteY259" fmla="*/ 120491 h 1114425"/>
                  <a:gd name="connsiteX260" fmla="*/ 414960 w 1504950"/>
                  <a:gd name="connsiteY260" fmla="*/ 117634 h 1114425"/>
                  <a:gd name="connsiteX261" fmla="*/ 410198 w 1504950"/>
                  <a:gd name="connsiteY261" fmla="*/ 114776 h 1114425"/>
                  <a:gd name="connsiteX262" fmla="*/ 404483 w 1504950"/>
                  <a:gd name="connsiteY262" fmla="*/ 110014 h 1114425"/>
                  <a:gd name="connsiteX263" fmla="*/ 397815 w 1504950"/>
                  <a:gd name="connsiteY263" fmla="*/ 106204 h 1114425"/>
                  <a:gd name="connsiteX264" fmla="*/ 386385 w 1504950"/>
                  <a:gd name="connsiteY264" fmla="*/ 100489 h 1114425"/>
                  <a:gd name="connsiteX265" fmla="*/ 378765 w 1504950"/>
                  <a:gd name="connsiteY265" fmla="*/ 96679 h 1114425"/>
                  <a:gd name="connsiteX266" fmla="*/ 367335 w 1504950"/>
                  <a:gd name="connsiteY266" fmla="*/ 88106 h 1114425"/>
                  <a:gd name="connsiteX267" fmla="*/ 362573 w 1504950"/>
                  <a:gd name="connsiteY267" fmla="*/ 82391 h 1114425"/>
                  <a:gd name="connsiteX268" fmla="*/ 360668 w 1504950"/>
                  <a:gd name="connsiteY268" fmla="*/ 73819 h 1114425"/>
                  <a:gd name="connsiteX269" fmla="*/ 374955 w 1504950"/>
                  <a:gd name="connsiteY269" fmla="*/ 67151 h 1114425"/>
                  <a:gd name="connsiteX270" fmla="*/ 411150 w 1504950"/>
                  <a:gd name="connsiteY270" fmla="*/ 83344 h 1114425"/>
                  <a:gd name="connsiteX271" fmla="*/ 414008 w 1504950"/>
                  <a:gd name="connsiteY271" fmla="*/ 84296 h 1114425"/>
                  <a:gd name="connsiteX272" fmla="*/ 415913 w 1504950"/>
                  <a:gd name="connsiteY272" fmla="*/ 84296 h 1114425"/>
                  <a:gd name="connsiteX273" fmla="*/ 427343 w 1504950"/>
                  <a:gd name="connsiteY273" fmla="*/ 75724 h 1114425"/>
                  <a:gd name="connsiteX274" fmla="*/ 429248 w 1504950"/>
                  <a:gd name="connsiteY274" fmla="*/ 67151 h 1114425"/>
                  <a:gd name="connsiteX275" fmla="*/ 429248 w 1504950"/>
                  <a:gd name="connsiteY275" fmla="*/ 66199 h 1114425"/>
                  <a:gd name="connsiteX276" fmla="*/ 428295 w 1504950"/>
                  <a:gd name="connsiteY276" fmla="*/ 57626 h 1114425"/>
                  <a:gd name="connsiteX277" fmla="*/ 424485 w 1504950"/>
                  <a:gd name="connsiteY277" fmla="*/ 50959 h 1114425"/>
                  <a:gd name="connsiteX278" fmla="*/ 415913 w 1504950"/>
                  <a:gd name="connsiteY278" fmla="*/ 43339 h 1114425"/>
                  <a:gd name="connsiteX279" fmla="*/ 401625 w 1504950"/>
                  <a:gd name="connsiteY279" fmla="*/ 29051 h 1114425"/>
                  <a:gd name="connsiteX280" fmla="*/ 400673 w 1504950"/>
                  <a:gd name="connsiteY280" fmla="*/ 22384 h 1114425"/>
                  <a:gd name="connsiteX281" fmla="*/ 404483 w 1504950"/>
                  <a:gd name="connsiteY281" fmla="*/ 16669 h 1114425"/>
                  <a:gd name="connsiteX282" fmla="*/ 408293 w 1504950"/>
                  <a:gd name="connsiteY282" fmla="*/ 15716 h 1114425"/>
                  <a:gd name="connsiteX283" fmla="*/ 408293 w 1504950"/>
                  <a:gd name="connsiteY283" fmla="*/ 15716 h 1114425"/>
                  <a:gd name="connsiteX284" fmla="*/ 324473 w 1504950"/>
                  <a:gd name="connsiteY284" fmla="*/ 188119 h 1114425"/>
                  <a:gd name="connsiteX285" fmla="*/ 320663 w 1504950"/>
                  <a:gd name="connsiteY285" fmla="*/ 190976 h 1114425"/>
                  <a:gd name="connsiteX286" fmla="*/ 321615 w 1504950"/>
                  <a:gd name="connsiteY286" fmla="*/ 193834 h 1114425"/>
                  <a:gd name="connsiteX287" fmla="*/ 337808 w 1504950"/>
                  <a:gd name="connsiteY287" fmla="*/ 203359 h 1114425"/>
                  <a:gd name="connsiteX288" fmla="*/ 354000 w 1504950"/>
                  <a:gd name="connsiteY288" fmla="*/ 209074 h 1114425"/>
                  <a:gd name="connsiteX289" fmla="*/ 358763 w 1504950"/>
                  <a:gd name="connsiteY289" fmla="*/ 210026 h 1114425"/>
                  <a:gd name="connsiteX290" fmla="*/ 375908 w 1504950"/>
                  <a:gd name="connsiteY290" fmla="*/ 208121 h 1114425"/>
                  <a:gd name="connsiteX291" fmla="*/ 380670 w 1504950"/>
                  <a:gd name="connsiteY291" fmla="*/ 207169 h 1114425"/>
                  <a:gd name="connsiteX292" fmla="*/ 380670 w 1504950"/>
                  <a:gd name="connsiteY292" fmla="*/ 208121 h 1114425"/>
                  <a:gd name="connsiteX293" fmla="*/ 389243 w 1504950"/>
                  <a:gd name="connsiteY293" fmla="*/ 211931 h 1114425"/>
                  <a:gd name="connsiteX294" fmla="*/ 391148 w 1504950"/>
                  <a:gd name="connsiteY294" fmla="*/ 214789 h 1114425"/>
                  <a:gd name="connsiteX295" fmla="*/ 390195 w 1504950"/>
                  <a:gd name="connsiteY295" fmla="*/ 219551 h 1114425"/>
                  <a:gd name="connsiteX296" fmla="*/ 390195 w 1504950"/>
                  <a:gd name="connsiteY296" fmla="*/ 220504 h 1114425"/>
                  <a:gd name="connsiteX297" fmla="*/ 388290 w 1504950"/>
                  <a:gd name="connsiteY297" fmla="*/ 229076 h 1114425"/>
                  <a:gd name="connsiteX298" fmla="*/ 388290 w 1504950"/>
                  <a:gd name="connsiteY298" fmla="*/ 235744 h 1114425"/>
                  <a:gd name="connsiteX299" fmla="*/ 389243 w 1504950"/>
                  <a:gd name="connsiteY299" fmla="*/ 239554 h 1114425"/>
                  <a:gd name="connsiteX300" fmla="*/ 394005 w 1504950"/>
                  <a:gd name="connsiteY300" fmla="*/ 249079 h 1114425"/>
                  <a:gd name="connsiteX301" fmla="*/ 402578 w 1504950"/>
                  <a:gd name="connsiteY301" fmla="*/ 275749 h 1114425"/>
                  <a:gd name="connsiteX302" fmla="*/ 403530 w 1504950"/>
                  <a:gd name="connsiteY302" fmla="*/ 281464 h 1114425"/>
                  <a:gd name="connsiteX303" fmla="*/ 418770 w 1504950"/>
                  <a:gd name="connsiteY303" fmla="*/ 271939 h 1114425"/>
                  <a:gd name="connsiteX304" fmla="*/ 427343 w 1504950"/>
                  <a:gd name="connsiteY304" fmla="*/ 265271 h 1114425"/>
                  <a:gd name="connsiteX305" fmla="*/ 434010 w 1504950"/>
                  <a:gd name="connsiteY305" fmla="*/ 263366 h 1114425"/>
                  <a:gd name="connsiteX306" fmla="*/ 441630 w 1504950"/>
                  <a:gd name="connsiteY306" fmla="*/ 270986 h 1114425"/>
                  <a:gd name="connsiteX307" fmla="*/ 441630 w 1504950"/>
                  <a:gd name="connsiteY307" fmla="*/ 276701 h 1114425"/>
                  <a:gd name="connsiteX308" fmla="*/ 440678 w 1504950"/>
                  <a:gd name="connsiteY308" fmla="*/ 279559 h 1114425"/>
                  <a:gd name="connsiteX309" fmla="*/ 435915 w 1504950"/>
                  <a:gd name="connsiteY309" fmla="*/ 287179 h 1114425"/>
                  <a:gd name="connsiteX310" fmla="*/ 421628 w 1504950"/>
                  <a:gd name="connsiteY310" fmla="*/ 301466 h 1114425"/>
                  <a:gd name="connsiteX311" fmla="*/ 408293 w 1504950"/>
                  <a:gd name="connsiteY311" fmla="*/ 316706 h 1114425"/>
                  <a:gd name="connsiteX312" fmla="*/ 386385 w 1504950"/>
                  <a:gd name="connsiteY312" fmla="*/ 347186 h 1114425"/>
                  <a:gd name="connsiteX313" fmla="*/ 373050 w 1504950"/>
                  <a:gd name="connsiteY313" fmla="*/ 368141 h 1114425"/>
                  <a:gd name="connsiteX314" fmla="*/ 367335 w 1504950"/>
                  <a:gd name="connsiteY314" fmla="*/ 376714 h 1114425"/>
                  <a:gd name="connsiteX315" fmla="*/ 368288 w 1504950"/>
                  <a:gd name="connsiteY315" fmla="*/ 376714 h 1114425"/>
                  <a:gd name="connsiteX316" fmla="*/ 430200 w 1504950"/>
                  <a:gd name="connsiteY316" fmla="*/ 348139 h 1114425"/>
                  <a:gd name="connsiteX317" fmla="*/ 450203 w 1504950"/>
                  <a:gd name="connsiteY317" fmla="*/ 332899 h 1114425"/>
                  <a:gd name="connsiteX318" fmla="*/ 470205 w 1504950"/>
                  <a:gd name="connsiteY318" fmla="*/ 309086 h 1114425"/>
                  <a:gd name="connsiteX319" fmla="*/ 479730 w 1504950"/>
                  <a:gd name="connsiteY319" fmla="*/ 288131 h 1114425"/>
                  <a:gd name="connsiteX320" fmla="*/ 481635 w 1504950"/>
                  <a:gd name="connsiteY320" fmla="*/ 280511 h 1114425"/>
                  <a:gd name="connsiteX321" fmla="*/ 480683 w 1504950"/>
                  <a:gd name="connsiteY321" fmla="*/ 255746 h 1114425"/>
                  <a:gd name="connsiteX322" fmla="*/ 457823 w 1504950"/>
                  <a:gd name="connsiteY322" fmla="*/ 214789 h 1114425"/>
                  <a:gd name="connsiteX323" fmla="*/ 430200 w 1504950"/>
                  <a:gd name="connsiteY323" fmla="*/ 197644 h 1114425"/>
                  <a:gd name="connsiteX324" fmla="*/ 397815 w 1504950"/>
                  <a:gd name="connsiteY324" fmla="*/ 188119 h 1114425"/>
                  <a:gd name="connsiteX325" fmla="*/ 388290 w 1504950"/>
                  <a:gd name="connsiteY325" fmla="*/ 186214 h 1114425"/>
                  <a:gd name="connsiteX326" fmla="*/ 358763 w 1504950"/>
                  <a:gd name="connsiteY326" fmla="*/ 183356 h 1114425"/>
                  <a:gd name="connsiteX327" fmla="*/ 354000 w 1504950"/>
                  <a:gd name="connsiteY327" fmla="*/ 183356 h 1114425"/>
                  <a:gd name="connsiteX328" fmla="*/ 349238 w 1504950"/>
                  <a:gd name="connsiteY328" fmla="*/ 183356 h 1114425"/>
                  <a:gd name="connsiteX329" fmla="*/ 345428 w 1504950"/>
                  <a:gd name="connsiteY329" fmla="*/ 184309 h 1114425"/>
                  <a:gd name="connsiteX330" fmla="*/ 333045 w 1504950"/>
                  <a:gd name="connsiteY330" fmla="*/ 185261 h 1114425"/>
                  <a:gd name="connsiteX331" fmla="*/ 324473 w 1504950"/>
                  <a:gd name="connsiteY331" fmla="*/ 188119 h 1114425"/>
                  <a:gd name="connsiteX332" fmla="*/ 324473 w 1504950"/>
                  <a:gd name="connsiteY332" fmla="*/ 188119 h 1114425"/>
                  <a:gd name="connsiteX333" fmla="*/ 324473 w 1504950"/>
                  <a:gd name="connsiteY333" fmla="*/ 188119 h 1114425"/>
                  <a:gd name="connsiteX334" fmla="*/ 137783 w 1504950"/>
                  <a:gd name="connsiteY334" fmla="*/ 375761 h 1114425"/>
                  <a:gd name="connsiteX335" fmla="*/ 142545 w 1504950"/>
                  <a:gd name="connsiteY335" fmla="*/ 403384 h 1114425"/>
                  <a:gd name="connsiteX336" fmla="*/ 164453 w 1504950"/>
                  <a:gd name="connsiteY336" fmla="*/ 430054 h 1114425"/>
                  <a:gd name="connsiteX337" fmla="*/ 173978 w 1504950"/>
                  <a:gd name="connsiteY337" fmla="*/ 434816 h 1114425"/>
                  <a:gd name="connsiteX338" fmla="*/ 180645 w 1504950"/>
                  <a:gd name="connsiteY338" fmla="*/ 435769 h 1114425"/>
                  <a:gd name="connsiteX339" fmla="*/ 184455 w 1504950"/>
                  <a:gd name="connsiteY339" fmla="*/ 436721 h 1114425"/>
                  <a:gd name="connsiteX340" fmla="*/ 186360 w 1504950"/>
                  <a:gd name="connsiteY340" fmla="*/ 436721 h 1114425"/>
                  <a:gd name="connsiteX341" fmla="*/ 190170 w 1504950"/>
                  <a:gd name="connsiteY341" fmla="*/ 435769 h 1114425"/>
                  <a:gd name="connsiteX342" fmla="*/ 185408 w 1504950"/>
                  <a:gd name="connsiteY342" fmla="*/ 426244 h 1114425"/>
                  <a:gd name="connsiteX343" fmla="*/ 176835 w 1504950"/>
                  <a:gd name="connsiteY343" fmla="*/ 412909 h 1114425"/>
                  <a:gd name="connsiteX344" fmla="*/ 175883 w 1504950"/>
                  <a:gd name="connsiteY344" fmla="*/ 409099 h 1114425"/>
                  <a:gd name="connsiteX345" fmla="*/ 180645 w 1504950"/>
                  <a:gd name="connsiteY345" fmla="*/ 404336 h 1114425"/>
                  <a:gd name="connsiteX346" fmla="*/ 191123 w 1504950"/>
                  <a:gd name="connsiteY346" fmla="*/ 402431 h 1114425"/>
                  <a:gd name="connsiteX347" fmla="*/ 193980 w 1504950"/>
                  <a:gd name="connsiteY347" fmla="*/ 403384 h 1114425"/>
                  <a:gd name="connsiteX348" fmla="*/ 206363 w 1504950"/>
                  <a:gd name="connsiteY348" fmla="*/ 410051 h 1114425"/>
                  <a:gd name="connsiteX349" fmla="*/ 218745 w 1504950"/>
                  <a:gd name="connsiteY349" fmla="*/ 418624 h 1114425"/>
                  <a:gd name="connsiteX350" fmla="*/ 228270 w 1504950"/>
                  <a:gd name="connsiteY350" fmla="*/ 429101 h 1114425"/>
                  <a:gd name="connsiteX351" fmla="*/ 232080 w 1504950"/>
                  <a:gd name="connsiteY351" fmla="*/ 432911 h 1114425"/>
                  <a:gd name="connsiteX352" fmla="*/ 276848 w 1504950"/>
                  <a:gd name="connsiteY352" fmla="*/ 439579 h 1114425"/>
                  <a:gd name="connsiteX353" fmla="*/ 287325 w 1504950"/>
                  <a:gd name="connsiteY353" fmla="*/ 439579 h 1114425"/>
                  <a:gd name="connsiteX354" fmla="*/ 293993 w 1504950"/>
                  <a:gd name="connsiteY354" fmla="*/ 439579 h 1114425"/>
                  <a:gd name="connsiteX355" fmla="*/ 291135 w 1504950"/>
                  <a:gd name="connsiteY355" fmla="*/ 430054 h 1114425"/>
                  <a:gd name="connsiteX356" fmla="*/ 284468 w 1504950"/>
                  <a:gd name="connsiteY356" fmla="*/ 420529 h 1114425"/>
                  <a:gd name="connsiteX357" fmla="*/ 270180 w 1504950"/>
                  <a:gd name="connsiteY357" fmla="*/ 410051 h 1114425"/>
                  <a:gd name="connsiteX358" fmla="*/ 250178 w 1504950"/>
                  <a:gd name="connsiteY358" fmla="*/ 401479 h 1114425"/>
                  <a:gd name="connsiteX359" fmla="*/ 210173 w 1504950"/>
                  <a:gd name="connsiteY359" fmla="*/ 390049 h 1114425"/>
                  <a:gd name="connsiteX360" fmla="*/ 202553 w 1504950"/>
                  <a:gd name="connsiteY360" fmla="*/ 388144 h 1114425"/>
                  <a:gd name="connsiteX361" fmla="*/ 196838 w 1504950"/>
                  <a:gd name="connsiteY361" fmla="*/ 387191 h 1114425"/>
                  <a:gd name="connsiteX362" fmla="*/ 184455 w 1504950"/>
                  <a:gd name="connsiteY362" fmla="*/ 385286 h 1114425"/>
                  <a:gd name="connsiteX363" fmla="*/ 154928 w 1504950"/>
                  <a:gd name="connsiteY363" fmla="*/ 378619 h 1114425"/>
                  <a:gd name="connsiteX364" fmla="*/ 137783 w 1504950"/>
                  <a:gd name="connsiteY364" fmla="*/ 375761 h 1114425"/>
                  <a:gd name="connsiteX365" fmla="*/ 137783 w 1504950"/>
                  <a:gd name="connsiteY365" fmla="*/ 375761 h 1114425"/>
                  <a:gd name="connsiteX366" fmla="*/ 137783 w 1504950"/>
                  <a:gd name="connsiteY366" fmla="*/ 375761 h 1114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</a:cxnLst>
                <a:rect l="l" t="t" r="r" b="b"/>
                <a:pathLst>
                  <a:path w="1504950" h="1114425">
                    <a:moveTo>
                      <a:pt x="408293" y="15716"/>
                    </a:moveTo>
                    <a:cubicBezTo>
                      <a:pt x="411150" y="14764"/>
                      <a:pt x="413055" y="14764"/>
                      <a:pt x="414960" y="15716"/>
                    </a:cubicBezTo>
                    <a:cubicBezTo>
                      <a:pt x="417818" y="16669"/>
                      <a:pt x="418770" y="16669"/>
                      <a:pt x="420675" y="17621"/>
                    </a:cubicBezTo>
                    <a:cubicBezTo>
                      <a:pt x="423533" y="18574"/>
                      <a:pt x="424485" y="20479"/>
                      <a:pt x="426390" y="22384"/>
                    </a:cubicBezTo>
                    <a:cubicBezTo>
                      <a:pt x="430200" y="26194"/>
                      <a:pt x="434963" y="29051"/>
                      <a:pt x="440678" y="30004"/>
                    </a:cubicBezTo>
                    <a:lnTo>
                      <a:pt x="441630" y="29051"/>
                    </a:lnTo>
                    <a:lnTo>
                      <a:pt x="442583" y="27146"/>
                    </a:lnTo>
                    <a:cubicBezTo>
                      <a:pt x="443535" y="25241"/>
                      <a:pt x="443535" y="24289"/>
                      <a:pt x="444488" y="22384"/>
                    </a:cubicBezTo>
                    <a:cubicBezTo>
                      <a:pt x="447345" y="16669"/>
                      <a:pt x="450203" y="12859"/>
                      <a:pt x="455918" y="9049"/>
                    </a:cubicBezTo>
                    <a:cubicBezTo>
                      <a:pt x="457823" y="8096"/>
                      <a:pt x="460680" y="7144"/>
                      <a:pt x="462585" y="7144"/>
                    </a:cubicBezTo>
                    <a:cubicBezTo>
                      <a:pt x="463538" y="7144"/>
                      <a:pt x="463538" y="7144"/>
                      <a:pt x="464490" y="7144"/>
                    </a:cubicBezTo>
                    <a:cubicBezTo>
                      <a:pt x="467348" y="7144"/>
                      <a:pt x="469253" y="9049"/>
                      <a:pt x="471158" y="10954"/>
                    </a:cubicBezTo>
                    <a:cubicBezTo>
                      <a:pt x="472110" y="11906"/>
                      <a:pt x="473063" y="13811"/>
                      <a:pt x="473063" y="14764"/>
                    </a:cubicBezTo>
                    <a:cubicBezTo>
                      <a:pt x="473063" y="18574"/>
                      <a:pt x="473063" y="21431"/>
                      <a:pt x="473063" y="24289"/>
                    </a:cubicBezTo>
                    <a:lnTo>
                      <a:pt x="470205" y="42386"/>
                    </a:lnTo>
                    <a:cubicBezTo>
                      <a:pt x="470205" y="43339"/>
                      <a:pt x="470205" y="43339"/>
                      <a:pt x="470205" y="44291"/>
                    </a:cubicBezTo>
                    <a:cubicBezTo>
                      <a:pt x="469253" y="47149"/>
                      <a:pt x="469253" y="50006"/>
                      <a:pt x="469253" y="52864"/>
                    </a:cubicBezTo>
                    <a:cubicBezTo>
                      <a:pt x="466395" y="61436"/>
                      <a:pt x="462585" y="69056"/>
                      <a:pt x="458775" y="76676"/>
                    </a:cubicBezTo>
                    <a:cubicBezTo>
                      <a:pt x="454965" y="84296"/>
                      <a:pt x="452108" y="91916"/>
                      <a:pt x="451155" y="100489"/>
                    </a:cubicBezTo>
                    <a:cubicBezTo>
                      <a:pt x="450203" y="103346"/>
                      <a:pt x="451155" y="106204"/>
                      <a:pt x="450203" y="109061"/>
                    </a:cubicBezTo>
                    <a:cubicBezTo>
                      <a:pt x="449250" y="111919"/>
                      <a:pt x="450203" y="115729"/>
                      <a:pt x="450203" y="118586"/>
                    </a:cubicBezTo>
                    <a:cubicBezTo>
                      <a:pt x="451155" y="126206"/>
                      <a:pt x="452108" y="130969"/>
                      <a:pt x="453060" y="136684"/>
                    </a:cubicBezTo>
                    <a:cubicBezTo>
                      <a:pt x="453060" y="133826"/>
                      <a:pt x="453060" y="135731"/>
                      <a:pt x="453060" y="137636"/>
                    </a:cubicBezTo>
                    <a:cubicBezTo>
                      <a:pt x="454013" y="141446"/>
                      <a:pt x="454013" y="145256"/>
                      <a:pt x="454013" y="150019"/>
                    </a:cubicBezTo>
                    <a:cubicBezTo>
                      <a:pt x="454013" y="151924"/>
                      <a:pt x="453060" y="153829"/>
                      <a:pt x="453060" y="154781"/>
                    </a:cubicBezTo>
                    <a:cubicBezTo>
                      <a:pt x="453060" y="157639"/>
                      <a:pt x="453060" y="161449"/>
                      <a:pt x="452108" y="165259"/>
                    </a:cubicBezTo>
                    <a:cubicBezTo>
                      <a:pt x="452108" y="166211"/>
                      <a:pt x="451155" y="167164"/>
                      <a:pt x="451155" y="169069"/>
                    </a:cubicBezTo>
                    <a:lnTo>
                      <a:pt x="456870" y="173831"/>
                    </a:lnTo>
                    <a:cubicBezTo>
                      <a:pt x="458775" y="175736"/>
                      <a:pt x="459728" y="177641"/>
                      <a:pt x="462585" y="178594"/>
                    </a:cubicBezTo>
                    <a:cubicBezTo>
                      <a:pt x="465443" y="180499"/>
                      <a:pt x="467348" y="182404"/>
                      <a:pt x="470205" y="184309"/>
                    </a:cubicBezTo>
                    <a:cubicBezTo>
                      <a:pt x="473063" y="186214"/>
                      <a:pt x="475920" y="188119"/>
                      <a:pt x="479730" y="190024"/>
                    </a:cubicBezTo>
                    <a:cubicBezTo>
                      <a:pt x="480683" y="190976"/>
                      <a:pt x="482588" y="191929"/>
                      <a:pt x="484493" y="191929"/>
                    </a:cubicBezTo>
                    <a:cubicBezTo>
                      <a:pt x="486398" y="191929"/>
                      <a:pt x="489255" y="191929"/>
                      <a:pt x="491160" y="191929"/>
                    </a:cubicBezTo>
                    <a:cubicBezTo>
                      <a:pt x="494970" y="191929"/>
                      <a:pt x="497828" y="190024"/>
                      <a:pt x="500685" y="189071"/>
                    </a:cubicBezTo>
                    <a:cubicBezTo>
                      <a:pt x="504495" y="187166"/>
                      <a:pt x="506400" y="186214"/>
                      <a:pt x="509258" y="184309"/>
                    </a:cubicBezTo>
                    <a:cubicBezTo>
                      <a:pt x="509258" y="184309"/>
                      <a:pt x="510210" y="183356"/>
                      <a:pt x="512115" y="182404"/>
                    </a:cubicBezTo>
                    <a:cubicBezTo>
                      <a:pt x="513068" y="181451"/>
                      <a:pt x="514973" y="180499"/>
                      <a:pt x="515925" y="179546"/>
                    </a:cubicBezTo>
                    <a:cubicBezTo>
                      <a:pt x="516878" y="178594"/>
                      <a:pt x="518783" y="177641"/>
                      <a:pt x="519735" y="176689"/>
                    </a:cubicBezTo>
                    <a:cubicBezTo>
                      <a:pt x="521640" y="174784"/>
                      <a:pt x="522593" y="172879"/>
                      <a:pt x="524498" y="171926"/>
                    </a:cubicBezTo>
                    <a:cubicBezTo>
                      <a:pt x="526403" y="169069"/>
                      <a:pt x="527355" y="168116"/>
                      <a:pt x="529260" y="166211"/>
                    </a:cubicBezTo>
                    <a:cubicBezTo>
                      <a:pt x="529260" y="165259"/>
                      <a:pt x="531165" y="164306"/>
                      <a:pt x="532118" y="161449"/>
                    </a:cubicBezTo>
                    <a:cubicBezTo>
                      <a:pt x="534023" y="158591"/>
                      <a:pt x="536880" y="155734"/>
                      <a:pt x="538785" y="151924"/>
                    </a:cubicBezTo>
                    <a:cubicBezTo>
                      <a:pt x="542595" y="144304"/>
                      <a:pt x="546405" y="135731"/>
                      <a:pt x="548310" y="127159"/>
                    </a:cubicBezTo>
                    <a:cubicBezTo>
                      <a:pt x="548310" y="126206"/>
                      <a:pt x="549263" y="124301"/>
                      <a:pt x="549263" y="122396"/>
                    </a:cubicBezTo>
                    <a:cubicBezTo>
                      <a:pt x="549263" y="120491"/>
                      <a:pt x="549263" y="118586"/>
                      <a:pt x="550215" y="116681"/>
                    </a:cubicBezTo>
                    <a:cubicBezTo>
                      <a:pt x="550215" y="110966"/>
                      <a:pt x="551168" y="105251"/>
                      <a:pt x="552120" y="98584"/>
                    </a:cubicBezTo>
                    <a:cubicBezTo>
                      <a:pt x="553073" y="95726"/>
                      <a:pt x="554025" y="92869"/>
                      <a:pt x="554978" y="90964"/>
                    </a:cubicBezTo>
                    <a:cubicBezTo>
                      <a:pt x="555930" y="89059"/>
                      <a:pt x="555930" y="88106"/>
                      <a:pt x="556883" y="87154"/>
                    </a:cubicBezTo>
                    <a:cubicBezTo>
                      <a:pt x="557835" y="85249"/>
                      <a:pt x="558788" y="83344"/>
                      <a:pt x="560693" y="81439"/>
                    </a:cubicBezTo>
                    <a:cubicBezTo>
                      <a:pt x="561645" y="79534"/>
                      <a:pt x="563550" y="77629"/>
                      <a:pt x="565455" y="76676"/>
                    </a:cubicBezTo>
                    <a:cubicBezTo>
                      <a:pt x="567360" y="74771"/>
                      <a:pt x="569265" y="74771"/>
                      <a:pt x="571170" y="73819"/>
                    </a:cubicBezTo>
                    <a:cubicBezTo>
                      <a:pt x="572123" y="73819"/>
                      <a:pt x="572123" y="73819"/>
                      <a:pt x="573075" y="73819"/>
                    </a:cubicBezTo>
                    <a:cubicBezTo>
                      <a:pt x="574028" y="73819"/>
                      <a:pt x="574980" y="74771"/>
                      <a:pt x="574980" y="74771"/>
                    </a:cubicBezTo>
                    <a:cubicBezTo>
                      <a:pt x="575933" y="74771"/>
                      <a:pt x="576885" y="75724"/>
                      <a:pt x="576885" y="76676"/>
                    </a:cubicBezTo>
                    <a:cubicBezTo>
                      <a:pt x="577838" y="79534"/>
                      <a:pt x="578790" y="80486"/>
                      <a:pt x="578790" y="81439"/>
                    </a:cubicBezTo>
                    <a:cubicBezTo>
                      <a:pt x="578790" y="81439"/>
                      <a:pt x="579743" y="82391"/>
                      <a:pt x="579743" y="83344"/>
                    </a:cubicBezTo>
                    <a:cubicBezTo>
                      <a:pt x="579743" y="85249"/>
                      <a:pt x="579743" y="88106"/>
                      <a:pt x="579743" y="90011"/>
                    </a:cubicBezTo>
                    <a:cubicBezTo>
                      <a:pt x="579743" y="99536"/>
                      <a:pt x="578790" y="108109"/>
                      <a:pt x="577838" y="117634"/>
                    </a:cubicBezTo>
                    <a:lnTo>
                      <a:pt x="575933" y="129064"/>
                    </a:lnTo>
                    <a:cubicBezTo>
                      <a:pt x="574980" y="131921"/>
                      <a:pt x="575933" y="135731"/>
                      <a:pt x="577838" y="138589"/>
                    </a:cubicBezTo>
                    <a:cubicBezTo>
                      <a:pt x="577838" y="139541"/>
                      <a:pt x="578790" y="140494"/>
                      <a:pt x="580695" y="141446"/>
                    </a:cubicBezTo>
                    <a:cubicBezTo>
                      <a:pt x="581648" y="142399"/>
                      <a:pt x="583553" y="143351"/>
                      <a:pt x="584505" y="143351"/>
                    </a:cubicBezTo>
                    <a:cubicBezTo>
                      <a:pt x="586410" y="143351"/>
                      <a:pt x="587363" y="143351"/>
                      <a:pt x="589268" y="143351"/>
                    </a:cubicBezTo>
                    <a:cubicBezTo>
                      <a:pt x="592125" y="142399"/>
                      <a:pt x="594030" y="142399"/>
                      <a:pt x="595935" y="141446"/>
                    </a:cubicBezTo>
                    <a:cubicBezTo>
                      <a:pt x="598793" y="140494"/>
                      <a:pt x="601650" y="138589"/>
                      <a:pt x="604508" y="136684"/>
                    </a:cubicBezTo>
                    <a:cubicBezTo>
                      <a:pt x="610223" y="132874"/>
                      <a:pt x="615938" y="130016"/>
                      <a:pt x="621653" y="125254"/>
                    </a:cubicBezTo>
                    <a:cubicBezTo>
                      <a:pt x="626415" y="121444"/>
                      <a:pt x="631178" y="118586"/>
                      <a:pt x="635940" y="115729"/>
                    </a:cubicBezTo>
                    <a:cubicBezTo>
                      <a:pt x="636893" y="114776"/>
                      <a:pt x="637845" y="114776"/>
                      <a:pt x="639750" y="114776"/>
                    </a:cubicBezTo>
                    <a:cubicBezTo>
                      <a:pt x="640703" y="115729"/>
                      <a:pt x="642608" y="115729"/>
                      <a:pt x="643560" y="116681"/>
                    </a:cubicBezTo>
                    <a:cubicBezTo>
                      <a:pt x="644513" y="116681"/>
                      <a:pt x="645465" y="117634"/>
                      <a:pt x="645465" y="118586"/>
                    </a:cubicBezTo>
                    <a:cubicBezTo>
                      <a:pt x="646418" y="119539"/>
                      <a:pt x="646418" y="121444"/>
                      <a:pt x="646418" y="123349"/>
                    </a:cubicBezTo>
                    <a:cubicBezTo>
                      <a:pt x="646418" y="125254"/>
                      <a:pt x="646418" y="126206"/>
                      <a:pt x="645465" y="128111"/>
                    </a:cubicBezTo>
                    <a:cubicBezTo>
                      <a:pt x="645465" y="128111"/>
                      <a:pt x="645465" y="129064"/>
                      <a:pt x="645465" y="129064"/>
                    </a:cubicBezTo>
                    <a:cubicBezTo>
                      <a:pt x="645465" y="130969"/>
                      <a:pt x="644513" y="131921"/>
                      <a:pt x="644513" y="133826"/>
                    </a:cubicBezTo>
                    <a:cubicBezTo>
                      <a:pt x="644513" y="133826"/>
                      <a:pt x="644513" y="133826"/>
                      <a:pt x="644513" y="134779"/>
                    </a:cubicBezTo>
                    <a:cubicBezTo>
                      <a:pt x="644513" y="135731"/>
                      <a:pt x="644513" y="136684"/>
                      <a:pt x="644513" y="137636"/>
                    </a:cubicBezTo>
                    <a:cubicBezTo>
                      <a:pt x="643560" y="138589"/>
                      <a:pt x="642608" y="140494"/>
                      <a:pt x="642608" y="141446"/>
                    </a:cubicBezTo>
                    <a:cubicBezTo>
                      <a:pt x="641655" y="143351"/>
                      <a:pt x="641655" y="145256"/>
                      <a:pt x="640703" y="146209"/>
                    </a:cubicBezTo>
                    <a:cubicBezTo>
                      <a:pt x="639750" y="148114"/>
                      <a:pt x="638798" y="149066"/>
                      <a:pt x="637845" y="150971"/>
                    </a:cubicBezTo>
                    <a:cubicBezTo>
                      <a:pt x="635940" y="152876"/>
                      <a:pt x="634035" y="155734"/>
                      <a:pt x="632130" y="157639"/>
                    </a:cubicBezTo>
                    <a:cubicBezTo>
                      <a:pt x="629273" y="160496"/>
                      <a:pt x="625463" y="163354"/>
                      <a:pt x="621653" y="165259"/>
                    </a:cubicBezTo>
                    <a:cubicBezTo>
                      <a:pt x="617843" y="167164"/>
                      <a:pt x="614033" y="169069"/>
                      <a:pt x="610223" y="170021"/>
                    </a:cubicBezTo>
                    <a:cubicBezTo>
                      <a:pt x="609270" y="170021"/>
                      <a:pt x="608318" y="170974"/>
                      <a:pt x="607365" y="170974"/>
                    </a:cubicBezTo>
                    <a:cubicBezTo>
                      <a:pt x="604508" y="171926"/>
                      <a:pt x="601650" y="171926"/>
                      <a:pt x="598793" y="172879"/>
                    </a:cubicBezTo>
                    <a:cubicBezTo>
                      <a:pt x="595935" y="173831"/>
                      <a:pt x="592125" y="174784"/>
                      <a:pt x="588315" y="175736"/>
                    </a:cubicBezTo>
                    <a:cubicBezTo>
                      <a:pt x="585458" y="176689"/>
                      <a:pt x="581648" y="177641"/>
                      <a:pt x="578790" y="178594"/>
                    </a:cubicBezTo>
                    <a:cubicBezTo>
                      <a:pt x="576885" y="179546"/>
                      <a:pt x="574028" y="181451"/>
                      <a:pt x="571170" y="182404"/>
                    </a:cubicBezTo>
                    <a:cubicBezTo>
                      <a:pt x="568313" y="183356"/>
                      <a:pt x="566408" y="184309"/>
                      <a:pt x="564503" y="185261"/>
                    </a:cubicBezTo>
                    <a:cubicBezTo>
                      <a:pt x="561645" y="186214"/>
                      <a:pt x="559740" y="187166"/>
                      <a:pt x="556883" y="188119"/>
                    </a:cubicBezTo>
                    <a:cubicBezTo>
                      <a:pt x="549263" y="192881"/>
                      <a:pt x="541643" y="196691"/>
                      <a:pt x="534023" y="202406"/>
                    </a:cubicBezTo>
                    <a:cubicBezTo>
                      <a:pt x="525450" y="209074"/>
                      <a:pt x="519735" y="217646"/>
                      <a:pt x="515925" y="227171"/>
                    </a:cubicBezTo>
                    <a:cubicBezTo>
                      <a:pt x="514973" y="230029"/>
                      <a:pt x="514973" y="231934"/>
                      <a:pt x="514020" y="234791"/>
                    </a:cubicBezTo>
                    <a:cubicBezTo>
                      <a:pt x="513068" y="237649"/>
                      <a:pt x="513068" y="240506"/>
                      <a:pt x="513068" y="243364"/>
                    </a:cubicBezTo>
                    <a:cubicBezTo>
                      <a:pt x="513068" y="248126"/>
                      <a:pt x="514020" y="252889"/>
                      <a:pt x="514020" y="257651"/>
                    </a:cubicBezTo>
                    <a:cubicBezTo>
                      <a:pt x="514020" y="262414"/>
                      <a:pt x="514973" y="267176"/>
                      <a:pt x="514973" y="271939"/>
                    </a:cubicBezTo>
                    <a:cubicBezTo>
                      <a:pt x="514973" y="273844"/>
                      <a:pt x="514973" y="275749"/>
                      <a:pt x="514973" y="277654"/>
                    </a:cubicBezTo>
                    <a:cubicBezTo>
                      <a:pt x="514973" y="281464"/>
                      <a:pt x="514020" y="285274"/>
                      <a:pt x="514020" y="289084"/>
                    </a:cubicBezTo>
                    <a:cubicBezTo>
                      <a:pt x="514020" y="290036"/>
                      <a:pt x="513068" y="290989"/>
                      <a:pt x="513068" y="291941"/>
                    </a:cubicBezTo>
                    <a:cubicBezTo>
                      <a:pt x="510210" y="306229"/>
                      <a:pt x="504495" y="319564"/>
                      <a:pt x="495923" y="330994"/>
                    </a:cubicBezTo>
                    <a:lnTo>
                      <a:pt x="486398" y="342424"/>
                    </a:lnTo>
                    <a:lnTo>
                      <a:pt x="474015" y="350044"/>
                    </a:lnTo>
                    <a:cubicBezTo>
                      <a:pt x="464490" y="358616"/>
                      <a:pt x="454965" y="366236"/>
                      <a:pt x="443535" y="371951"/>
                    </a:cubicBezTo>
                    <a:cubicBezTo>
                      <a:pt x="437820" y="374809"/>
                      <a:pt x="431153" y="378619"/>
                      <a:pt x="422580" y="382429"/>
                    </a:cubicBezTo>
                    <a:cubicBezTo>
                      <a:pt x="373050" y="409099"/>
                      <a:pt x="368288" y="425291"/>
                      <a:pt x="351143" y="436721"/>
                    </a:cubicBezTo>
                    <a:lnTo>
                      <a:pt x="348285" y="435769"/>
                    </a:lnTo>
                    <a:cubicBezTo>
                      <a:pt x="348285" y="440531"/>
                      <a:pt x="349238" y="442436"/>
                      <a:pt x="349238" y="443389"/>
                    </a:cubicBezTo>
                    <a:cubicBezTo>
                      <a:pt x="354000" y="445294"/>
                      <a:pt x="398768" y="514826"/>
                      <a:pt x="418770" y="551974"/>
                    </a:cubicBezTo>
                    <a:cubicBezTo>
                      <a:pt x="454965" y="616744"/>
                      <a:pt x="483540" y="639604"/>
                      <a:pt x="524498" y="634841"/>
                    </a:cubicBezTo>
                    <a:cubicBezTo>
                      <a:pt x="547358" y="631984"/>
                      <a:pt x="591173" y="650081"/>
                      <a:pt x="614985" y="673894"/>
                    </a:cubicBezTo>
                    <a:cubicBezTo>
                      <a:pt x="626415" y="683419"/>
                      <a:pt x="683565" y="687229"/>
                      <a:pt x="733095" y="680561"/>
                    </a:cubicBezTo>
                    <a:cubicBezTo>
                      <a:pt x="750240" y="678656"/>
                      <a:pt x="766433" y="676751"/>
                      <a:pt x="770243" y="677704"/>
                    </a:cubicBezTo>
                    <a:cubicBezTo>
                      <a:pt x="773100" y="678656"/>
                      <a:pt x="804533" y="673894"/>
                      <a:pt x="838823" y="668179"/>
                    </a:cubicBezTo>
                    <a:cubicBezTo>
                      <a:pt x="873113" y="662464"/>
                      <a:pt x="919785" y="656749"/>
                      <a:pt x="941693" y="654844"/>
                    </a:cubicBezTo>
                    <a:cubicBezTo>
                      <a:pt x="963600" y="652939"/>
                      <a:pt x="985508" y="649129"/>
                      <a:pt x="990270" y="647224"/>
                    </a:cubicBezTo>
                    <a:cubicBezTo>
                      <a:pt x="1003605" y="642461"/>
                      <a:pt x="1013130" y="622459"/>
                      <a:pt x="1023608" y="582454"/>
                    </a:cubicBezTo>
                    <a:cubicBezTo>
                      <a:pt x="1028370" y="562451"/>
                      <a:pt x="1036943" y="542449"/>
                      <a:pt x="1043610" y="535781"/>
                    </a:cubicBezTo>
                    <a:cubicBezTo>
                      <a:pt x="1061708" y="516731"/>
                      <a:pt x="1101713" y="492919"/>
                      <a:pt x="1110285" y="495776"/>
                    </a:cubicBezTo>
                    <a:cubicBezTo>
                      <a:pt x="1119810" y="499586"/>
                      <a:pt x="1117905" y="505301"/>
                      <a:pt x="1099808" y="525304"/>
                    </a:cubicBezTo>
                    <a:cubicBezTo>
                      <a:pt x="1082663" y="544354"/>
                      <a:pt x="1071233" y="571976"/>
                      <a:pt x="1076948" y="584359"/>
                    </a:cubicBezTo>
                    <a:cubicBezTo>
                      <a:pt x="1078853" y="588169"/>
                      <a:pt x="1077900" y="595789"/>
                      <a:pt x="1075043" y="600551"/>
                    </a:cubicBezTo>
                    <a:cubicBezTo>
                      <a:pt x="1061708" y="621506"/>
                      <a:pt x="1062660" y="636746"/>
                      <a:pt x="1083615" y="672941"/>
                    </a:cubicBezTo>
                    <a:cubicBezTo>
                      <a:pt x="1102665" y="707231"/>
                      <a:pt x="1102665" y="708184"/>
                      <a:pt x="1100760" y="743426"/>
                    </a:cubicBezTo>
                    <a:cubicBezTo>
                      <a:pt x="1097903" y="789146"/>
                      <a:pt x="1106475" y="808196"/>
                      <a:pt x="1133145" y="820579"/>
                    </a:cubicBezTo>
                    <a:cubicBezTo>
                      <a:pt x="1152195" y="829151"/>
                      <a:pt x="1196010" y="830104"/>
                      <a:pt x="1223633" y="822484"/>
                    </a:cubicBezTo>
                    <a:cubicBezTo>
                      <a:pt x="1235063" y="819626"/>
                      <a:pt x="1241730" y="821531"/>
                      <a:pt x="1264590" y="838676"/>
                    </a:cubicBezTo>
                    <a:cubicBezTo>
                      <a:pt x="1279830" y="850106"/>
                      <a:pt x="1301738" y="862489"/>
                      <a:pt x="1314120" y="867251"/>
                    </a:cubicBezTo>
                    <a:cubicBezTo>
                      <a:pt x="1346505" y="879634"/>
                      <a:pt x="1417943" y="893921"/>
                      <a:pt x="1428420" y="889159"/>
                    </a:cubicBezTo>
                    <a:cubicBezTo>
                      <a:pt x="1433183" y="887254"/>
                      <a:pt x="1445565" y="886301"/>
                      <a:pt x="1455090" y="888206"/>
                    </a:cubicBezTo>
                    <a:cubicBezTo>
                      <a:pt x="1475093" y="891064"/>
                      <a:pt x="1509383" y="907256"/>
                      <a:pt x="1506525" y="912971"/>
                    </a:cubicBezTo>
                    <a:cubicBezTo>
                      <a:pt x="1505573" y="914876"/>
                      <a:pt x="1496048" y="919639"/>
                      <a:pt x="1485570" y="924401"/>
                    </a:cubicBezTo>
                    <a:lnTo>
                      <a:pt x="1466520" y="932021"/>
                    </a:lnTo>
                    <a:lnTo>
                      <a:pt x="1476045" y="947261"/>
                    </a:lnTo>
                    <a:cubicBezTo>
                      <a:pt x="1485570" y="961549"/>
                      <a:pt x="1485570" y="962501"/>
                      <a:pt x="1475093" y="969169"/>
                    </a:cubicBezTo>
                    <a:cubicBezTo>
                      <a:pt x="1468425" y="972979"/>
                      <a:pt x="1460805" y="975836"/>
                      <a:pt x="1456995" y="976789"/>
                    </a:cubicBezTo>
                    <a:cubicBezTo>
                      <a:pt x="1453185" y="977741"/>
                      <a:pt x="1449375" y="978694"/>
                      <a:pt x="1447470" y="979646"/>
                    </a:cubicBezTo>
                    <a:cubicBezTo>
                      <a:pt x="1445565" y="980599"/>
                      <a:pt x="1436993" y="978694"/>
                      <a:pt x="1429373" y="975836"/>
                    </a:cubicBezTo>
                    <a:cubicBezTo>
                      <a:pt x="1420800" y="972979"/>
                      <a:pt x="1406513" y="969169"/>
                      <a:pt x="1397940" y="968216"/>
                    </a:cubicBezTo>
                    <a:cubicBezTo>
                      <a:pt x="1366508" y="962501"/>
                      <a:pt x="1316978" y="942499"/>
                      <a:pt x="1305548" y="932021"/>
                    </a:cubicBezTo>
                    <a:cubicBezTo>
                      <a:pt x="1298880" y="926306"/>
                      <a:pt x="1277925" y="917734"/>
                      <a:pt x="1258875" y="912019"/>
                    </a:cubicBezTo>
                    <a:cubicBezTo>
                      <a:pt x="1224585" y="901541"/>
                      <a:pt x="1222680" y="901541"/>
                      <a:pt x="1179818" y="912971"/>
                    </a:cubicBezTo>
                    <a:cubicBezTo>
                      <a:pt x="1156005" y="919639"/>
                      <a:pt x="1126478" y="927259"/>
                      <a:pt x="1115048" y="931069"/>
                    </a:cubicBezTo>
                    <a:cubicBezTo>
                      <a:pt x="1045515" y="952024"/>
                      <a:pt x="1013130" y="948214"/>
                      <a:pt x="967410" y="912971"/>
                    </a:cubicBezTo>
                    <a:cubicBezTo>
                      <a:pt x="925500" y="880586"/>
                      <a:pt x="895973" y="876776"/>
                      <a:pt x="829298" y="897731"/>
                    </a:cubicBezTo>
                    <a:cubicBezTo>
                      <a:pt x="804533" y="905351"/>
                      <a:pt x="782625" y="913924"/>
                      <a:pt x="780720" y="916781"/>
                    </a:cubicBezTo>
                    <a:cubicBezTo>
                      <a:pt x="778815" y="919639"/>
                      <a:pt x="772148" y="922496"/>
                      <a:pt x="765480" y="924401"/>
                    </a:cubicBezTo>
                    <a:cubicBezTo>
                      <a:pt x="751193" y="928211"/>
                      <a:pt x="703568" y="933926"/>
                      <a:pt x="689280" y="932974"/>
                    </a:cubicBezTo>
                    <a:cubicBezTo>
                      <a:pt x="666420" y="931069"/>
                      <a:pt x="586410" y="924401"/>
                      <a:pt x="560693" y="921544"/>
                    </a:cubicBezTo>
                    <a:cubicBezTo>
                      <a:pt x="545453" y="919639"/>
                      <a:pt x="530213" y="918686"/>
                      <a:pt x="525450" y="918686"/>
                    </a:cubicBezTo>
                    <a:cubicBezTo>
                      <a:pt x="520688" y="918686"/>
                      <a:pt x="512115" y="916781"/>
                      <a:pt x="504495" y="915829"/>
                    </a:cubicBezTo>
                    <a:cubicBezTo>
                      <a:pt x="496875" y="914876"/>
                      <a:pt x="479730" y="918686"/>
                      <a:pt x="461633" y="925354"/>
                    </a:cubicBezTo>
                    <a:cubicBezTo>
                      <a:pt x="431153" y="936784"/>
                      <a:pt x="407340" y="937736"/>
                      <a:pt x="349238" y="930116"/>
                    </a:cubicBezTo>
                    <a:cubicBezTo>
                      <a:pt x="290183" y="922496"/>
                      <a:pt x="262560" y="934879"/>
                      <a:pt x="216840" y="991076"/>
                    </a:cubicBezTo>
                    <a:cubicBezTo>
                      <a:pt x="199695" y="1012031"/>
                      <a:pt x="182550" y="1030129"/>
                      <a:pt x="179693" y="1032034"/>
                    </a:cubicBezTo>
                    <a:cubicBezTo>
                      <a:pt x="176835" y="1032986"/>
                      <a:pt x="169215" y="1045369"/>
                      <a:pt x="162548" y="1058704"/>
                    </a:cubicBezTo>
                    <a:cubicBezTo>
                      <a:pt x="150165" y="1082516"/>
                      <a:pt x="148260" y="1083469"/>
                      <a:pt x="118733" y="1095851"/>
                    </a:cubicBezTo>
                    <a:lnTo>
                      <a:pt x="87300" y="1108234"/>
                    </a:lnTo>
                    <a:lnTo>
                      <a:pt x="97778" y="1081564"/>
                    </a:lnTo>
                    <a:cubicBezTo>
                      <a:pt x="103493" y="1067276"/>
                      <a:pt x="112065" y="1052036"/>
                      <a:pt x="116828" y="1049179"/>
                    </a:cubicBezTo>
                    <a:cubicBezTo>
                      <a:pt x="120638" y="1045369"/>
                      <a:pt x="128258" y="1034891"/>
                      <a:pt x="133973" y="1024414"/>
                    </a:cubicBezTo>
                    <a:cubicBezTo>
                      <a:pt x="138735" y="1013936"/>
                      <a:pt x="153975" y="995839"/>
                      <a:pt x="166358" y="984409"/>
                    </a:cubicBezTo>
                    <a:cubicBezTo>
                      <a:pt x="178740" y="972979"/>
                      <a:pt x="188265" y="962501"/>
                      <a:pt x="187313" y="960596"/>
                    </a:cubicBezTo>
                    <a:cubicBezTo>
                      <a:pt x="185408" y="955834"/>
                      <a:pt x="179693" y="957739"/>
                      <a:pt x="137783" y="986314"/>
                    </a:cubicBezTo>
                    <a:cubicBezTo>
                      <a:pt x="89205" y="1018699"/>
                      <a:pt x="61583" y="1030129"/>
                      <a:pt x="32055" y="1031081"/>
                    </a:cubicBezTo>
                    <a:cubicBezTo>
                      <a:pt x="18720" y="1031081"/>
                      <a:pt x="8243" y="1030129"/>
                      <a:pt x="7290" y="1028224"/>
                    </a:cubicBezTo>
                    <a:cubicBezTo>
                      <a:pt x="3480" y="1020604"/>
                      <a:pt x="74918" y="975836"/>
                      <a:pt x="111113" y="962501"/>
                    </a:cubicBezTo>
                    <a:cubicBezTo>
                      <a:pt x="145403" y="950119"/>
                      <a:pt x="207315" y="915829"/>
                      <a:pt x="222555" y="901541"/>
                    </a:cubicBezTo>
                    <a:cubicBezTo>
                      <a:pt x="237795" y="887254"/>
                      <a:pt x="234938" y="888206"/>
                      <a:pt x="333998" y="866299"/>
                    </a:cubicBezTo>
                    <a:cubicBezTo>
                      <a:pt x="352095" y="862489"/>
                      <a:pt x="370193" y="855821"/>
                      <a:pt x="374003" y="852964"/>
                    </a:cubicBezTo>
                    <a:cubicBezTo>
                      <a:pt x="384480" y="843439"/>
                      <a:pt x="379718" y="827246"/>
                      <a:pt x="359715" y="802481"/>
                    </a:cubicBezTo>
                    <a:cubicBezTo>
                      <a:pt x="350190" y="791051"/>
                      <a:pt x="337808" y="775811"/>
                      <a:pt x="332093" y="769144"/>
                    </a:cubicBezTo>
                    <a:cubicBezTo>
                      <a:pt x="327330" y="762476"/>
                      <a:pt x="314948" y="751999"/>
                      <a:pt x="307328" y="746284"/>
                    </a:cubicBezTo>
                    <a:cubicBezTo>
                      <a:pt x="275895" y="724376"/>
                      <a:pt x="273038" y="713899"/>
                      <a:pt x="276848" y="658654"/>
                    </a:cubicBezTo>
                    <a:cubicBezTo>
                      <a:pt x="280658" y="610076"/>
                      <a:pt x="279705" y="607219"/>
                      <a:pt x="267323" y="592931"/>
                    </a:cubicBezTo>
                    <a:cubicBezTo>
                      <a:pt x="260655" y="584359"/>
                      <a:pt x="250178" y="575786"/>
                      <a:pt x="244463" y="572929"/>
                    </a:cubicBezTo>
                    <a:cubicBezTo>
                      <a:pt x="233033" y="568166"/>
                      <a:pt x="163500" y="563404"/>
                      <a:pt x="154928" y="567214"/>
                    </a:cubicBezTo>
                    <a:cubicBezTo>
                      <a:pt x="148260" y="570071"/>
                      <a:pt x="140640" y="561499"/>
                      <a:pt x="133973" y="547211"/>
                    </a:cubicBezTo>
                    <a:cubicBezTo>
                      <a:pt x="125400" y="527209"/>
                      <a:pt x="128258" y="522446"/>
                      <a:pt x="167310" y="505301"/>
                    </a:cubicBezTo>
                    <a:cubicBezTo>
                      <a:pt x="194933" y="493871"/>
                      <a:pt x="222555" y="478631"/>
                      <a:pt x="242558" y="466249"/>
                    </a:cubicBezTo>
                    <a:lnTo>
                      <a:pt x="230175" y="465296"/>
                    </a:lnTo>
                    <a:lnTo>
                      <a:pt x="179693" y="466249"/>
                    </a:lnTo>
                    <a:cubicBezTo>
                      <a:pt x="170168" y="466249"/>
                      <a:pt x="160643" y="466249"/>
                      <a:pt x="151118" y="467201"/>
                    </a:cubicBezTo>
                    <a:cubicBezTo>
                      <a:pt x="142545" y="468154"/>
                      <a:pt x="134925" y="467201"/>
                      <a:pt x="127305" y="465296"/>
                    </a:cubicBezTo>
                    <a:cubicBezTo>
                      <a:pt x="122543" y="463391"/>
                      <a:pt x="116828" y="462439"/>
                      <a:pt x="112065" y="460534"/>
                    </a:cubicBezTo>
                    <a:cubicBezTo>
                      <a:pt x="107303" y="458629"/>
                      <a:pt x="105398" y="454819"/>
                      <a:pt x="107303" y="450056"/>
                    </a:cubicBezTo>
                    <a:cubicBezTo>
                      <a:pt x="108255" y="446246"/>
                      <a:pt x="110160" y="443389"/>
                      <a:pt x="114923" y="441484"/>
                    </a:cubicBezTo>
                    <a:cubicBezTo>
                      <a:pt x="119685" y="439579"/>
                      <a:pt x="125400" y="439579"/>
                      <a:pt x="130163" y="440531"/>
                    </a:cubicBezTo>
                    <a:lnTo>
                      <a:pt x="123495" y="431959"/>
                    </a:lnTo>
                    <a:lnTo>
                      <a:pt x="117780" y="422434"/>
                    </a:lnTo>
                    <a:lnTo>
                      <a:pt x="113018" y="412909"/>
                    </a:lnTo>
                    <a:cubicBezTo>
                      <a:pt x="107303" y="399574"/>
                      <a:pt x="102540" y="386239"/>
                      <a:pt x="100635" y="371951"/>
                    </a:cubicBezTo>
                    <a:lnTo>
                      <a:pt x="91110" y="363379"/>
                    </a:lnTo>
                    <a:cubicBezTo>
                      <a:pt x="88253" y="361474"/>
                      <a:pt x="86348" y="358616"/>
                      <a:pt x="85395" y="354806"/>
                    </a:cubicBezTo>
                    <a:cubicBezTo>
                      <a:pt x="84443" y="350996"/>
                      <a:pt x="85395" y="347186"/>
                      <a:pt x="89205" y="345281"/>
                    </a:cubicBezTo>
                    <a:cubicBezTo>
                      <a:pt x="93015" y="343376"/>
                      <a:pt x="96825" y="343376"/>
                      <a:pt x="99683" y="345281"/>
                    </a:cubicBezTo>
                    <a:lnTo>
                      <a:pt x="113970" y="350996"/>
                    </a:lnTo>
                    <a:cubicBezTo>
                      <a:pt x="118733" y="353854"/>
                      <a:pt x="124448" y="354806"/>
                      <a:pt x="129210" y="355759"/>
                    </a:cubicBezTo>
                    <a:cubicBezTo>
                      <a:pt x="133020" y="356711"/>
                      <a:pt x="136830" y="356711"/>
                      <a:pt x="140640" y="356711"/>
                    </a:cubicBezTo>
                    <a:lnTo>
                      <a:pt x="134925" y="350996"/>
                    </a:lnTo>
                    <a:lnTo>
                      <a:pt x="128258" y="341471"/>
                    </a:lnTo>
                    <a:lnTo>
                      <a:pt x="121590" y="324326"/>
                    </a:lnTo>
                    <a:lnTo>
                      <a:pt x="117780" y="317659"/>
                    </a:lnTo>
                    <a:cubicBezTo>
                      <a:pt x="116828" y="313849"/>
                      <a:pt x="117780" y="310039"/>
                      <a:pt x="120638" y="308134"/>
                    </a:cubicBezTo>
                    <a:cubicBezTo>
                      <a:pt x="122543" y="306229"/>
                      <a:pt x="126353" y="306229"/>
                      <a:pt x="129210" y="307181"/>
                    </a:cubicBezTo>
                    <a:cubicBezTo>
                      <a:pt x="133020" y="309086"/>
                      <a:pt x="136830" y="310991"/>
                      <a:pt x="139688" y="313849"/>
                    </a:cubicBezTo>
                    <a:cubicBezTo>
                      <a:pt x="144450" y="317659"/>
                      <a:pt x="148260" y="322421"/>
                      <a:pt x="152070" y="327184"/>
                    </a:cubicBezTo>
                    <a:cubicBezTo>
                      <a:pt x="155880" y="331946"/>
                      <a:pt x="161595" y="335756"/>
                      <a:pt x="166358" y="339566"/>
                    </a:cubicBezTo>
                    <a:cubicBezTo>
                      <a:pt x="175883" y="346234"/>
                      <a:pt x="183503" y="350996"/>
                      <a:pt x="191123" y="356711"/>
                    </a:cubicBezTo>
                    <a:cubicBezTo>
                      <a:pt x="196838" y="360521"/>
                      <a:pt x="205410" y="364331"/>
                      <a:pt x="213983" y="366236"/>
                    </a:cubicBezTo>
                    <a:cubicBezTo>
                      <a:pt x="214935" y="366236"/>
                      <a:pt x="215888" y="366236"/>
                      <a:pt x="216840" y="366236"/>
                    </a:cubicBezTo>
                    <a:cubicBezTo>
                      <a:pt x="220650" y="367189"/>
                      <a:pt x="224460" y="365284"/>
                      <a:pt x="226365" y="361474"/>
                    </a:cubicBezTo>
                    <a:cubicBezTo>
                      <a:pt x="227318" y="360521"/>
                      <a:pt x="227318" y="358616"/>
                      <a:pt x="228270" y="357664"/>
                    </a:cubicBezTo>
                    <a:cubicBezTo>
                      <a:pt x="228270" y="355759"/>
                      <a:pt x="228270" y="354806"/>
                      <a:pt x="227318" y="352901"/>
                    </a:cubicBezTo>
                    <a:cubicBezTo>
                      <a:pt x="225413" y="348139"/>
                      <a:pt x="224460" y="342424"/>
                      <a:pt x="224460" y="336709"/>
                    </a:cubicBezTo>
                    <a:cubicBezTo>
                      <a:pt x="224460" y="330994"/>
                      <a:pt x="226365" y="325279"/>
                      <a:pt x="229223" y="319564"/>
                    </a:cubicBezTo>
                    <a:cubicBezTo>
                      <a:pt x="232080" y="314801"/>
                      <a:pt x="237795" y="313849"/>
                      <a:pt x="241605" y="317659"/>
                    </a:cubicBezTo>
                    <a:cubicBezTo>
                      <a:pt x="243510" y="319564"/>
                      <a:pt x="245415" y="322421"/>
                      <a:pt x="245415" y="325279"/>
                    </a:cubicBezTo>
                    <a:cubicBezTo>
                      <a:pt x="248273" y="341471"/>
                      <a:pt x="251130" y="357664"/>
                      <a:pt x="254940" y="373856"/>
                    </a:cubicBezTo>
                    <a:lnTo>
                      <a:pt x="316853" y="383381"/>
                    </a:lnTo>
                    <a:lnTo>
                      <a:pt x="324473" y="376714"/>
                    </a:lnTo>
                    <a:lnTo>
                      <a:pt x="335903" y="363379"/>
                    </a:lnTo>
                    <a:cubicBezTo>
                      <a:pt x="345428" y="351949"/>
                      <a:pt x="353048" y="340519"/>
                      <a:pt x="359715" y="327184"/>
                    </a:cubicBezTo>
                    <a:cubicBezTo>
                      <a:pt x="364478" y="318611"/>
                      <a:pt x="367335" y="309086"/>
                      <a:pt x="369240" y="299561"/>
                    </a:cubicBezTo>
                    <a:cubicBezTo>
                      <a:pt x="370193" y="298609"/>
                      <a:pt x="370193" y="297656"/>
                      <a:pt x="370193" y="297656"/>
                    </a:cubicBezTo>
                    <a:cubicBezTo>
                      <a:pt x="371145" y="290989"/>
                      <a:pt x="371145" y="284321"/>
                      <a:pt x="370193" y="277654"/>
                    </a:cubicBezTo>
                    <a:cubicBezTo>
                      <a:pt x="369240" y="270986"/>
                      <a:pt x="366383" y="264319"/>
                      <a:pt x="362573" y="259556"/>
                    </a:cubicBezTo>
                    <a:cubicBezTo>
                      <a:pt x="359715" y="254794"/>
                      <a:pt x="354953" y="250984"/>
                      <a:pt x="352095" y="247174"/>
                    </a:cubicBezTo>
                    <a:cubicBezTo>
                      <a:pt x="346380" y="241459"/>
                      <a:pt x="340665" y="235744"/>
                      <a:pt x="333998" y="231934"/>
                    </a:cubicBezTo>
                    <a:cubicBezTo>
                      <a:pt x="327330" y="227171"/>
                      <a:pt x="319710" y="225266"/>
                      <a:pt x="311138" y="223361"/>
                    </a:cubicBezTo>
                    <a:cubicBezTo>
                      <a:pt x="305423" y="221456"/>
                      <a:pt x="297803" y="219551"/>
                      <a:pt x="291135" y="218599"/>
                    </a:cubicBezTo>
                    <a:cubicBezTo>
                      <a:pt x="288278" y="216694"/>
                      <a:pt x="284468" y="216694"/>
                      <a:pt x="281610" y="216694"/>
                    </a:cubicBezTo>
                    <a:cubicBezTo>
                      <a:pt x="276848" y="215741"/>
                      <a:pt x="272085" y="214789"/>
                      <a:pt x="266370" y="214789"/>
                    </a:cubicBezTo>
                    <a:cubicBezTo>
                      <a:pt x="258750" y="214789"/>
                      <a:pt x="250178" y="213836"/>
                      <a:pt x="242558" y="212884"/>
                    </a:cubicBezTo>
                    <a:lnTo>
                      <a:pt x="232080" y="211931"/>
                    </a:lnTo>
                    <a:cubicBezTo>
                      <a:pt x="226365" y="210979"/>
                      <a:pt x="221603" y="209074"/>
                      <a:pt x="216840" y="206216"/>
                    </a:cubicBezTo>
                    <a:cubicBezTo>
                      <a:pt x="213983" y="203359"/>
                      <a:pt x="212078" y="200501"/>
                      <a:pt x="213030" y="196691"/>
                    </a:cubicBezTo>
                    <a:cubicBezTo>
                      <a:pt x="213983" y="191929"/>
                      <a:pt x="216840" y="188119"/>
                      <a:pt x="221603" y="186214"/>
                    </a:cubicBezTo>
                    <a:cubicBezTo>
                      <a:pt x="226365" y="184309"/>
                      <a:pt x="231128" y="183356"/>
                      <a:pt x="235890" y="182404"/>
                    </a:cubicBezTo>
                    <a:cubicBezTo>
                      <a:pt x="241605" y="182404"/>
                      <a:pt x="247320" y="182404"/>
                      <a:pt x="253035" y="182404"/>
                    </a:cubicBezTo>
                    <a:lnTo>
                      <a:pt x="288278" y="159544"/>
                    </a:lnTo>
                    <a:lnTo>
                      <a:pt x="284468" y="151924"/>
                    </a:lnTo>
                    <a:cubicBezTo>
                      <a:pt x="279705" y="143351"/>
                      <a:pt x="275895" y="133826"/>
                      <a:pt x="273990" y="124301"/>
                    </a:cubicBezTo>
                    <a:cubicBezTo>
                      <a:pt x="273038" y="120491"/>
                      <a:pt x="274943" y="116681"/>
                      <a:pt x="277800" y="114776"/>
                    </a:cubicBezTo>
                    <a:cubicBezTo>
                      <a:pt x="279705" y="112871"/>
                      <a:pt x="283515" y="112871"/>
                      <a:pt x="286373" y="112871"/>
                    </a:cubicBezTo>
                    <a:cubicBezTo>
                      <a:pt x="289230" y="113824"/>
                      <a:pt x="292088" y="114776"/>
                      <a:pt x="293993" y="116681"/>
                    </a:cubicBezTo>
                    <a:cubicBezTo>
                      <a:pt x="296850" y="119539"/>
                      <a:pt x="298755" y="123349"/>
                      <a:pt x="300660" y="126206"/>
                    </a:cubicBezTo>
                    <a:cubicBezTo>
                      <a:pt x="302565" y="130969"/>
                      <a:pt x="305423" y="134779"/>
                      <a:pt x="308280" y="138589"/>
                    </a:cubicBezTo>
                    <a:cubicBezTo>
                      <a:pt x="311138" y="142399"/>
                      <a:pt x="313995" y="145256"/>
                      <a:pt x="316853" y="148114"/>
                    </a:cubicBezTo>
                    <a:cubicBezTo>
                      <a:pt x="318758" y="150019"/>
                      <a:pt x="321615" y="151924"/>
                      <a:pt x="323520" y="153829"/>
                    </a:cubicBezTo>
                    <a:lnTo>
                      <a:pt x="327330" y="152876"/>
                    </a:lnTo>
                    <a:lnTo>
                      <a:pt x="333998" y="152876"/>
                    </a:lnTo>
                    <a:lnTo>
                      <a:pt x="353048" y="154781"/>
                    </a:lnTo>
                    <a:lnTo>
                      <a:pt x="371145" y="156686"/>
                    </a:lnTo>
                    <a:lnTo>
                      <a:pt x="394005" y="158591"/>
                    </a:lnTo>
                    <a:cubicBezTo>
                      <a:pt x="401625" y="159544"/>
                      <a:pt x="408293" y="158591"/>
                      <a:pt x="414960" y="156686"/>
                    </a:cubicBezTo>
                    <a:lnTo>
                      <a:pt x="417818" y="152876"/>
                    </a:lnTo>
                    <a:cubicBezTo>
                      <a:pt x="419723" y="150019"/>
                      <a:pt x="419723" y="148114"/>
                      <a:pt x="419723" y="145256"/>
                    </a:cubicBezTo>
                    <a:cubicBezTo>
                      <a:pt x="419723" y="144304"/>
                      <a:pt x="420675" y="144304"/>
                      <a:pt x="420675" y="143351"/>
                    </a:cubicBezTo>
                    <a:cubicBezTo>
                      <a:pt x="420675" y="140494"/>
                      <a:pt x="420675" y="137636"/>
                      <a:pt x="420675" y="135731"/>
                    </a:cubicBezTo>
                    <a:cubicBezTo>
                      <a:pt x="420675" y="132874"/>
                      <a:pt x="420675" y="130016"/>
                      <a:pt x="419723" y="127159"/>
                    </a:cubicBezTo>
                    <a:cubicBezTo>
                      <a:pt x="418770" y="125254"/>
                      <a:pt x="418770" y="122396"/>
                      <a:pt x="417818" y="120491"/>
                    </a:cubicBezTo>
                    <a:cubicBezTo>
                      <a:pt x="416865" y="119539"/>
                      <a:pt x="415913" y="118586"/>
                      <a:pt x="414960" y="117634"/>
                    </a:cubicBezTo>
                    <a:cubicBezTo>
                      <a:pt x="413055" y="116681"/>
                      <a:pt x="412103" y="115729"/>
                      <a:pt x="410198" y="114776"/>
                    </a:cubicBezTo>
                    <a:cubicBezTo>
                      <a:pt x="408293" y="112871"/>
                      <a:pt x="406388" y="110966"/>
                      <a:pt x="404483" y="110014"/>
                    </a:cubicBezTo>
                    <a:cubicBezTo>
                      <a:pt x="402578" y="109061"/>
                      <a:pt x="399720" y="108109"/>
                      <a:pt x="397815" y="106204"/>
                    </a:cubicBezTo>
                    <a:lnTo>
                      <a:pt x="386385" y="100489"/>
                    </a:lnTo>
                    <a:lnTo>
                      <a:pt x="378765" y="96679"/>
                    </a:lnTo>
                    <a:cubicBezTo>
                      <a:pt x="374003" y="94774"/>
                      <a:pt x="370193" y="90964"/>
                      <a:pt x="367335" y="88106"/>
                    </a:cubicBezTo>
                    <a:cubicBezTo>
                      <a:pt x="365430" y="86201"/>
                      <a:pt x="363525" y="84296"/>
                      <a:pt x="362573" y="82391"/>
                    </a:cubicBezTo>
                    <a:cubicBezTo>
                      <a:pt x="359715" y="79534"/>
                      <a:pt x="358763" y="76676"/>
                      <a:pt x="360668" y="73819"/>
                    </a:cubicBezTo>
                    <a:cubicBezTo>
                      <a:pt x="363525" y="68104"/>
                      <a:pt x="369240" y="66199"/>
                      <a:pt x="374955" y="67151"/>
                    </a:cubicBezTo>
                    <a:cubicBezTo>
                      <a:pt x="387338" y="70961"/>
                      <a:pt x="399720" y="75724"/>
                      <a:pt x="411150" y="83344"/>
                    </a:cubicBezTo>
                    <a:cubicBezTo>
                      <a:pt x="412103" y="83344"/>
                      <a:pt x="413055" y="84296"/>
                      <a:pt x="414008" y="84296"/>
                    </a:cubicBezTo>
                    <a:cubicBezTo>
                      <a:pt x="414960" y="84296"/>
                      <a:pt x="414960" y="84296"/>
                      <a:pt x="415913" y="84296"/>
                    </a:cubicBezTo>
                    <a:cubicBezTo>
                      <a:pt x="420675" y="83344"/>
                      <a:pt x="425438" y="80486"/>
                      <a:pt x="427343" y="75724"/>
                    </a:cubicBezTo>
                    <a:cubicBezTo>
                      <a:pt x="428295" y="72866"/>
                      <a:pt x="428295" y="70009"/>
                      <a:pt x="429248" y="67151"/>
                    </a:cubicBezTo>
                    <a:cubicBezTo>
                      <a:pt x="429248" y="67151"/>
                      <a:pt x="429248" y="67151"/>
                      <a:pt x="429248" y="66199"/>
                    </a:cubicBezTo>
                    <a:cubicBezTo>
                      <a:pt x="430200" y="63341"/>
                      <a:pt x="429248" y="60484"/>
                      <a:pt x="428295" y="57626"/>
                    </a:cubicBezTo>
                    <a:cubicBezTo>
                      <a:pt x="427343" y="55721"/>
                      <a:pt x="426390" y="52864"/>
                      <a:pt x="424485" y="50959"/>
                    </a:cubicBezTo>
                    <a:cubicBezTo>
                      <a:pt x="421628" y="48101"/>
                      <a:pt x="418770" y="46196"/>
                      <a:pt x="415913" y="43339"/>
                    </a:cubicBezTo>
                    <a:cubicBezTo>
                      <a:pt x="410198" y="39529"/>
                      <a:pt x="405435" y="34766"/>
                      <a:pt x="401625" y="29051"/>
                    </a:cubicBezTo>
                    <a:cubicBezTo>
                      <a:pt x="399720" y="27146"/>
                      <a:pt x="399720" y="24289"/>
                      <a:pt x="400673" y="22384"/>
                    </a:cubicBezTo>
                    <a:cubicBezTo>
                      <a:pt x="401625" y="20479"/>
                      <a:pt x="402578" y="18574"/>
                      <a:pt x="404483" y="16669"/>
                    </a:cubicBezTo>
                    <a:cubicBezTo>
                      <a:pt x="405435" y="16669"/>
                      <a:pt x="407340" y="16669"/>
                      <a:pt x="408293" y="15716"/>
                    </a:cubicBezTo>
                    <a:lnTo>
                      <a:pt x="408293" y="15716"/>
                    </a:lnTo>
                    <a:close/>
                    <a:moveTo>
                      <a:pt x="324473" y="188119"/>
                    </a:moveTo>
                    <a:cubicBezTo>
                      <a:pt x="323520" y="188119"/>
                      <a:pt x="321615" y="189071"/>
                      <a:pt x="320663" y="190976"/>
                    </a:cubicBezTo>
                    <a:cubicBezTo>
                      <a:pt x="319710" y="191929"/>
                      <a:pt x="320663" y="193834"/>
                      <a:pt x="321615" y="193834"/>
                    </a:cubicBezTo>
                    <a:cubicBezTo>
                      <a:pt x="327330" y="197644"/>
                      <a:pt x="332093" y="200501"/>
                      <a:pt x="337808" y="203359"/>
                    </a:cubicBezTo>
                    <a:cubicBezTo>
                      <a:pt x="343523" y="206216"/>
                      <a:pt x="348285" y="207169"/>
                      <a:pt x="354000" y="209074"/>
                    </a:cubicBezTo>
                    <a:cubicBezTo>
                      <a:pt x="355905" y="209074"/>
                      <a:pt x="357810" y="210026"/>
                      <a:pt x="358763" y="210026"/>
                    </a:cubicBezTo>
                    <a:cubicBezTo>
                      <a:pt x="364478" y="209074"/>
                      <a:pt x="370193" y="208121"/>
                      <a:pt x="375908" y="208121"/>
                    </a:cubicBezTo>
                    <a:cubicBezTo>
                      <a:pt x="376860" y="208121"/>
                      <a:pt x="378765" y="207169"/>
                      <a:pt x="380670" y="207169"/>
                    </a:cubicBezTo>
                    <a:cubicBezTo>
                      <a:pt x="380670" y="207169"/>
                      <a:pt x="380670" y="208121"/>
                      <a:pt x="380670" y="208121"/>
                    </a:cubicBezTo>
                    <a:cubicBezTo>
                      <a:pt x="383528" y="209074"/>
                      <a:pt x="386385" y="210026"/>
                      <a:pt x="389243" y="211931"/>
                    </a:cubicBezTo>
                    <a:cubicBezTo>
                      <a:pt x="390195" y="212884"/>
                      <a:pt x="391148" y="213836"/>
                      <a:pt x="391148" y="214789"/>
                    </a:cubicBezTo>
                    <a:cubicBezTo>
                      <a:pt x="391148" y="215741"/>
                      <a:pt x="390195" y="218599"/>
                      <a:pt x="390195" y="219551"/>
                    </a:cubicBezTo>
                    <a:cubicBezTo>
                      <a:pt x="390195" y="219551"/>
                      <a:pt x="390195" y="220504"/>
                      <a:pt x="390195" y="220504"/>
                    </a:cubicBezTo>
                    <a:cubicBezTo>
                      <a:pt x="389243" y="223361"/>
                      <a:pt x="388290" y="225266"/>
                      <a:pt x="388290" y="229076"/>
                    </a:cubicBezTo>
                    <a:cubicBezTo>
                      <a:pt x="387338" y="230981"/>
                      <a:pt x="388290" y="233839"/>
                      <a:pt x="388290" y="235744"/>
                    </a:cubicBezTo>
                    <a:lnTo>
                      <a:pt x="389243" y="239554"/>
                    </a:lnTo>
                    <a:cubicBezTo>
                      <a:pt x="391148" y="242411"/>
                      <a:pt x="392100" y="246221"/>
                      <a:pt x="394005" y="249079"/>
                    </a:cubicBezTo>
                    <a:cubicBezTo>
                      <a:pt x="397815" y="257651"/>
                      <a:pt x="400673" y="266224"/>
                      <a:pt x="402578" y="275749"/>
                    </a:cubicBezTo>
                    <a:lnTo>
                      <a:pt x="403530" y="281464"/>
                    </a:lnTo>
                    <a:cubicBezTo>
                      <a:pt x="408293" y="278606"/>
                      <a:pt x="414008" y="275749"/>
                      <a:pt x="418770" y="271939"/>
                    </a:cubicBezTo>
                    <a:cubicBezTo>
                      <a:pt x="421628" y="270034"/>
                      <a:pt x="423533" y="267176"/>
                      <a:pt x="427343" y="265271"/>
                    </a:cubicBezTo>
                    <a:cubicBezTo>
                      <a:pt x="429248" y="264319"/>
                      <a:pt x="432105" y="263366"/>
                      <a:pt x="434010" y="263366"/>
                    </a:cubicBezTo>
                    <a:cubicBezTo>
                      <a:pt x="437820" y="264319"/>
                      <a:pt x="441630" y="267176"/>
                      <a:pt x="441630" y="270986"/>
                    </a:cubicBezTo>
                    <a:cubicBezTo>
                      <a:pt x="441630" y="272891"/>
                      <a:pt x="441630" y="274796"/>
                      <a:pt x="441630" y="276701"/>
                    </a:cubicBezTo>
                    <a:cubicBezTo>
                      <a:pt x="441630" y="277654"/>
                      <a:pt x="440678" y="278606"/>
                      <a:pt x="440678" y="279559"/>
                    </a:cubicBezTo>
                    <a:cubicBezTo>
                      <a:pt x="439725" y="282416"/>
                      <a:pt x="437820" y="285274"/>
                      <a:pt x="435915" y="287179"/>
                    </a:cubicBezTo>
                    <a:cubicBezTo>
                      <a:pt x="431153" y="291941"/>
                      <a:pt x="426390" y="296704"/>
                      <a:pt x="421628" y="301466"/>
                    </a:cubicBezTo>
                    <a:cubicBezTo>
                      <a:pt x="416865" y="306229"/>
                      <a:pt x="412103" y="310991"/>
                      <a:pt x="408293" y="316706"/>
                    </a:cubicBezTo>
                    <a:cubicBezTo>
                      <a:pt x="399720" y="326231"/>
                      <a:pt x="392100" y="336709"/>
                      <a:pt x="386385" y="347186"/>
                    </a:cubicBezTo>
                    <a:cubicBezTo>
                      <a:pt x="381623" y="353854"/>
                      <a:pt x="377813" y="361474"/>
                      <a:pt x="373050" y="368141"/>
                    </a:cubicBezTo>
                    <a:lnTo>
                      <a:pt x="367335" y="376714"/>
                    </a:lnTo>
                    <a:lnTo>
                      <a:pt x="368288" y="376714"/>
                    </a:lnTo>
                    <a:cubicBezTo>
                      <a:pt x="390195" y="369094"/>
                      <a:pt x="411150" y="359569"/>
                      <a:pt x="430200" y="348139"/>
                    </a:cubicBezTo>
                    <a:cubicBezTo>
                      <a:pt x="437820" y="343376"/>
                      <a:pt x="444488" y="338614"/>
                      <a:pt x="450203" y="332899"/>
                    </a:cubicBezTo>
                    <a:cubicBezTo>
                      <a:pt x="457823" y="326231"/>
                      <a:pt x="465443" y="317659"/>
                      <a:pt x="470205" y="309086"/>
                    </a:cubicBezTo>
                    <a:cubicBezTo>
                      <a:pt x="474015" y="302419"/>
                      <a:pt x="477825" y="294799"/>
                      <a:pt x="479730" y="288131"/>
                    </a:cubicBezTo>
                    <a:cubicBezTo>
                      <a:pt x="480683" y="285274"/>
                      <a:pt x="480683" y="283369"/>
                      <a:pt x="481635" y="280511"/>
                    </a:cubicBezTo>
                    <a:cubicBezTo>
                      <a:pt x="483540" y="272891"/>
                      <a:pt x="482588" y="264319"/>
                      <a:pt x="480683" y="255746"/>
                    </a:cubicBezTo>
                    <a:cubicBezTo>
                      <a:pt x="477825" y="239554"/>
                      <a:pt x="469253" y="225266"/>
                      <a:pt x="457823" y="214789"/>
                    </a:cubicBezTo>
                    <a:cubicBezTo>
                      <a:pt x="450203" y="207169"/>
                      <a:pt x="440678" y="201454"/>
                      <a:pt x="430200" y="197644"/>
                    </a:cubicBezTo>
                    <a:cubicBezTo>
                      <a:pt x="419723" y="193834"/>
                      <a:pt x="408293" y="190024"/>
                      <a:pt x="397815" y="188119"/>
                    </a:cubicBezTo>
                    <a:cubicBezTo>
                      <a:pt x="394958" y="187166"/>
                      <a:pt x="391148" y="187166"/>
                      <a:pt x="388290" y="186214"/>
                    </a:cubicBezTo>
                    <a:cubicBezTo>
                      <a:pt x="378765" y="184309"/>
                      <a:pt x="369240" y="183356"/>
                      <a:pt x="358763" y="183356"/>
                    </a:cubicBezTo>
                    <a:cubicBezTo>
                      <a:pt x="356858" y="183356"/>
                      <a:pt x="354953" y="183356"/>
                      <a:pt x="354000" y="183356"/>
                    </a:cubicBezTo>
                    <a:cubicBezTo>
                      <a:pt x="352095" y="183356"/>
                      <a:pt x="351143" y="183356"/>
                      <a:pt x="349238" y="183356"/>
                    </a:cubicBezTo>
                    <a:cubicBezTo>
                      <a:pt x="348285" y="183356"/>
                      <a:pt x="346380" y="184309"/>
                      <a:pt x="345428" y="184309"/>
                    </a:cubicBezTo>
                    <a:cubicBezTo>
                      <a:pt x="341618" y="185261"/>
                      <a:pt x="337808" y="185261"/>
                      <a:pt x="333045" y="185261"/>
                    </a:cubicBezTo>
                    <a:cubicBezTo>
                      <a:pt x="329235" y="187166"/>
                      <a:pt x="326378" y="187166"/>
                      <a:pt x="324473" y="188119"/>
                    </a:cubicBezTo>
                    <a:lnTo>
                      <a:pt x="324473" y="188119"/>
                    </a:lnTo>
                    <a:lnTo>
                      <a:pt x="324473" y="188119"/>
                    </a:lnTo>
                    <a:close/>
                    <a:moveTo>
                      <a:pt x="137783" y="375761"/>
                    </a:moveTo>
                    <a:cubicBezTo>
                      <a:pt x="137783" y="385286"/>
                      <a:pt x="139688" y="394811"/>
                      <a:pt x="142545" y="403384"/>
                    </a:cubicBezTo>
                    <a:cubicBezTo>
                      <a:pt x="147308" y="413861"/>
                      <a:pt x="154928" y="423386"/>
                      <a:pt x="164453" y="430054"/>
                    </a:cubicBezTo>
                    <a:cubicBezTo>
                      <a:pt x="167310" y="431959"/>
                      <a:pt x="170168" y="433864"/>
                      <a:pt x="173978" y="434816"/>
                    </a:cubicBezTo>
                    <a:cubicBezTo>
                      <a:pt x="176835" y="435769"/>
                      <a:pt x="178740" y="435769"/>
                      <a:pt x="180645" y="435769"/>
                    </a:cubicBezTo>
                    <a:cubicBezTo>
                      <a:pt x="181598" y="435769"/>
                      <a:pt x="183503" y="436721"/>
                      <a:pt x="184455" y="436721"/>
                    </a:cubicBezTo>
                    <a:cubicBezTo>
                      <a:pt x="185408" y="436721"/>
                      <a:pt x="186360" y="436721"/>
                      <a:pt x="186360" y="436721"/>
                    </a:cubicBezTo>
                    <a:lnTo>
                      <a:pt x="190170" y="435769"/>
                    </a:lnTo>
                    <a:cubicBezTo>
                      <a:pt x="190170" y="431959"/>
                      <a:pt x="188265" y="429101"/>
                      <a:pt x="185408" y="426244"/>
                    </a:cubicBezTo>
                    <a:cubicBezTo>
                      <a:pt x="181598" y="422434"/>
                      <a:pt x="178740" y="417671"/>
                      <a:pt x="176835" y="412909"/>
                    </a:cubicBezTo>
                    <a:cubicBezTo>
                      <a:pt x="176835" y="411956"/>
                      <a:pt x="175883" y="410051"/>
                      <a:pt x="175883" y="409099"/>
                    </a:cubicBezTo>
                    <a:cubicBezTo>
                      <a:pt x="175883" y="407194"/>
                      <a:pt x="177788" y="405289"/>
                      <a:pt x="180645" y="404336"/>
                    </a:cubicBezTo>
                    <a:cubicBezTo>
                      <a:pt x="183503" y="403384"/>
                      <a:pt x="187313" y="402431"/>
                      <a:pt x="191123" y="402431"/>
                    </a:cubicBezTo>
                    <a:cubicBezTo>
                      <a:pt x="192075" y="402431"/>
                      <a:pt x="193028" y="403384"/>
                      <a:pt x="193980" y="403384"/>
                    </a:cubicBezTo>
                    <a:cubicBezTo>
                      <a:pt x="198743" y="404336"/>
                      <a:pt x="202553" y="407194"/>
                      <a:pt x="206363" y="410051"/>
                    </a:cubicBezTo>
                    <a:cubicBezTo>
                      <a:pt x="210173" y="412909"/>
                      <a:pt x="214935" y="415766"/>
                      <a:pt x="218745" y="418624"/>
                    </a:cubicBezTo>
                    <a:cubicBezTo>
                      <a:pt x="222555" y="422434"/>
                      <a:pt x="225413" y="425291"/>
                      <a:pt x="228270" y="429101"/>
                    </a:cubicBezTo>
                    <a:lnTo>
                      <a:pt x="232080" y="432911"/>
                    </a:lnTo>
                    <a:cubicBezTo>
                      <a:pt x="246368" y="436721"/>
                      <a:pt x="261608" y="439579"/>
                      <a:pt x="276848" y="439579"/>
                    </a:cubicBezTo>
                    <a:lnTo>
                      <a:pt x="287325" y="439579"/>
                    </a:lnTo>
                    <a:lnTo>
                      <a:pt x="293993" y="439579"/>
                    </a:lnTo>
                    <a:cubicBezTo>
                      <a:pt x="293993" y="436721"/>
                      <a:pt x="293040" y="432911"/>
                      <a:pt x="291135" y="430054"/>
                    </a:cubicBezTo>
                    <a:cubicBezTo>
                      <a:pt x="289230" y="426244"/>
                      <a:pt x="287325" y="422434"/>
                      <a:pt x="284468" y="420529"/>
                    </a:cubicBezTo>
                    <a:cubicBezTo>
                      <a:pt x="280658" y="416719"/>
                      <a:pt x="274943" y="412909"/>
                      <a:pt x="270180" y="410051"/>
                    </a:cubicBezTo>
                    <a:cubicBezTo>
                      <a:pt x="263513" y="406241"/>
                      <a:pt x="256845" y="403384"/>
                      <a:pt x="250178" y="401479"/>
                    </a:cubicBezTo>
                    <a:cubicBezTo>
                      <a:pt x="236843" y="396716"/>
                      <a:pt x="224460" y="392906"/>
                      <a:pt x="210173" y="390049"/>
                    </a:cubicBezTo>
                    <a:lnTo>
                      <a:pt x="202553" y="388144"/>
                    </a:lnTo>
                    <a:lnTo>
                      <a:pt x="196838" y="387191"/>
                    </a:lnTo>
                    <a:lnTo>
                      <a:pt x="184455" y="385286"/>
                    </a:lnTo>
                    <a:lnTo>
                      <a:pt x="154928" y="378619"/>
                    </a:lnTo>
                    <a:lnTo>
                      <a:pt x="137783" y="375761"/>
                    </a:lnTo>
                    <a:lnTo>
                      <a:pt x="137783" y="375761"/>
                    </a:lnTo>
                    <a:lnTo>
                      <a:pt x="137783" y="37576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87755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27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+mn-ea"/>
                  <a:cs typeface="+mn-cs"/>
                </a:endParaRPr>
              </a:p>
            </p:txBody>
          </p:sp>
          <p:sp>
            <p:nvSpPr>
              <p:cNvPr id="69" name="Freeform: Shape 38">
                <a:extLst>
                  <a:ext uri="{FF2B5EF4-FFF2-40B4-BE49-F238E27FC236}">
                    <a16:creationId xmlns:a16="http://schemas.microsoft.com/office/drawing/2014/main" id="{8A730BAF-4253-4E06-B8B8-AD6F7CD3C253}"/>
                  </a:ext>
                </a:extLst>
              </p:cNvPr>
              <p:cNvSpPr/>
              <p:nvPr/>
            </p:nvSpPr>
            <p:spPr>
              <a:xfrm>
                <a:off x="1178536" y="3854814"/>
                <a:ext cx="5181600" cy="838200"/>
              </a:xfrm>
              <a:custGeom>
                <a:avLst/>
                <a:gdLst>
                  <a:gd name="connsiteX0" fmla="*/ 4796314 w 5181600"/>
                  <a:gd name="connsiteY0" fmla="*/ 7144 h 838200"/>
                  <a:gd name="connsiteX1" fmla="*/ 4763929 w 5181600"/>
                  <a:gd name="connsiteY1" fmla="*/ 12859 h 838200"/>
                  <a:gd name="connsiteX2" fmla="*/ 4720114 w 5181600"/>
                  <a:gd name="connsiteY2" fmla="*/ 53816 h 838200"/>
                  <a:gd name="connsiteX3" fmla="*/ 4702969 w 5181600"/>
                  <a:gd name="connsiteY3" fmla="*/ 79534 h 838200"/>
                  <a:gd name="connsiteX4" fmla="*/ 4691539 w 5181600"/>
                  <a:gd name="connsiteY4" fmla="*/ 105251 h 838200"/>
                  <a:gd name="connsiteX5" fmla="*/ 4607719 w 5181600"/>
                  <a:gd name="connsiteY5" fmla="*/ 190976 h 838200"/>
                  <a:gd name="connsiteX6" fmla="*/ 4581049 w 5181600"/>
                  <a:gd name="connsiteY6" fmla="*/ 210979 h 838200"/>
                  <a:gd name="connsiteX7" fmla="*/ 4555331 w 5181600"/>
                  <a:gd name="connsiteY7" fmla="*/ 221456 h 838200"/>
                  <a:gd name="connsiteX8" fmla="*/ 4547711 w 5181600"/>
                  <a:gd name="connsiteY8" fmla="*/ 203359 h 838200"/>
                  <a:gd name="connsiteX9" fmla="*/ 4304824 w 5181600"/>
                  <a:gd name="connsiteY9" fmla="*/ 173831 h 838200"/>
                  <a:gd name="connsiteX10" fmla="*/ 4224814 w 5181600"/>
                  <a:gd name="connsiteY10" fmla="*/ 168116 h 838200"/>
                  <a:gd name="connsiteX11" fmla="*/ 4224814 w 5181600"/>
                  <a:gd name="connsiteY11" fmla="*/ 168116 h 838200"/>
                  <a:gd name="connsiteX12" fmla="*/ 1992154 w 5181600"/>
                  <a:gd name="connsiteY12" fmla="*/ 29051 h 838200"/>
                  <a:gd name="connsiteX13" fmla="*/ 1176814 w 5181600"/>
                  <a:gd name="connsiteY13" fmla="*/ 10954 h 838200"/>
                  <a:gd name="connsiteX14" fmla="*/ 551974 w 5181600"/>
                  <a:gd name="connsiteY14" fmla="*/ 12859 h 838200"/>
                  <a:gd name="connsiteX15" fmla="*/ 10001 w 5181600"/>
                  <a:gd name="connsiteY15" fmla="*/ 29051 h 838200"/>
                  <a:gd name="connsiteX16" fmla="*/ 7144 w 5181600"/>
                  <a:gd name="connsiteY16" fmla="*/ 30004 h 838200"/>
                  <a:gd name="connsiteX17" fmla="*/ 551974 w 5181600"/>
                  <a:gd name="connsiteY17" fmla="*/ 31909 h 838200"/>
                  <a:gd name="connsiteX18" fmla="*/ 1990249 w 5181600"/>
                  <a:gd name="connsiteY18" fmla="*/ 48101 h 838200"/>
                  <a:gd name="connsiteX19" fmla="*/ 4221957 w 5181600"/>
                  <a:gd name="connsiteY19" fmla="*/ 187166 h 838200"/>
                  <a:gd name="connsiteX20" fmla="*/ 4341019 w 5181600"/>
                  <a:gd name="connsiteY20" fmla="*/ 200501 h 838200"/>
                  <a:gd name="connsiteX21" fmla="*/ 4501992 w 5181600"/>
                  <a:gd name="connsiteY21" fmla="*/ 232886 h 838200"/>
                  <a:gd name="connsiteX22" fmla="*/ 4532472 w 5181600"/>
                  <a:gd name="connsiteY22" fmla="*/ 313849 h 838200"/>
                  <a:gd name="connsiteX23" fmla="*/ 4446747 w 5181600"/>
                  <a:gd name="connsiteY23" fmla="*/ 314801 h 838200"/>
                  <a:gd name="connsiteX24" fmla="*/ 4407694 w 5181600"/>
                  <a:gd name="connsiteY24" fmla="*/ 273844 h 838200"/>
                  <a:gd name="connsiteX25" fmla="*/ 4343876 w 5181600"/>
                  <a:gd name="connsiteY25" fmla="*/ 319564 h 838200"/>
                  <a:gd name="connsiteX26" fmla="*/ 4378167 w 5181600"/>
                  <a:gd name="connsiteY26" fmla="*/ 313849 h 838200"/>
                  <a:gd name="connsiteX27" fmla="*/ 4396264 w 5181600"/>
                  <a:gd name="connsiteY27" fmla="*/ 340519 h 838200"/>
                  <a:gd name="connsiteX28" fmla="*/ 4280059 w 5181600"/>
                  <a:gd name="connsiteY28" fmla="*/ 379571 h 838200"/>
                  <a:gd name="connsiteX29" fmla="*/ 4215289 w 5181600"/>
                  <a:gd name="connsiteY29" fmla="*/ 353854 h 838200"/>
                  <a:gd name="connsiteX30" fmla="*/ 4090511 w 5181600"/>
                  <a:gd name="connsiteY30" fmla="*/ 444341 h 838200"/>
                  <a:gd name="connsiteX31" fmla="*/ 4085749 w 5181600"/>
                  <a:gd name="connsiteY31" fmla="*/ 554831 h 838200"/>
                  <a:gd name="connsiteX32" fmla="*/ 4132422 w 5181600"/>
                  <a:gd name="connsiteY32" fmla="*/ 623411 h 838200"/>
                  <a:gd name="connsiteX33" fmla="*/ 4177189 w 5181600"/>
                  <a:gd name="connsiteY33" fmla="*/ 654844 h 838200"/>
                  <a:gd name="connsiteX34" fmla="*/ 4584859 w 5181600"/>
                  <a:gd name="connsiteY34" fmla="*/ 792004 h 838200"/>
                  <a:gd name="connsiteX35" fmla="*/ 5042059 w 5181600"/>
                  <a:gd name="connsiteY35" fmla="*/ 822484 h 838200"/>
                  <a:gd name="connsiteX36" fmla="*/ 5097304 w 5181600"/>
                  <a:gd name="connsiteY36" fmla="*/ 755809 h 838200"/>
                  <a:gd name="connsiteX37" fmla="*/ 5025867 w 5181600"/>
                  <a:gd name="connsiteY37" fmla="*/ 667226 h 838200"/>
                  <a:gd name="connsiteX38" fmla="*/ 4964906 w 5181600"/>
                  <a:gd name="connsiteY38" fmla="*/ 697706 h 838200"/>
                  <a:gd name="connsiteX39" fmla="*/ 4973479 w 5181600"/>
                  <a:gd name="connsiteY39" fmla="*/ 751046 h 838200"/>
                  <a:gd name="connsiteX40" fmla="*/ 4980147 w 5181600"/>
                  <a:gd name="connsiteY40" fmla="*/ 723424 h 838200"/>
                  <a:gd name="connsiteX41" fmla="*/ 5059204 w 5181600"/>
                  <a:gd name="connsiteY41" fmla="*/ 694849 h 838200"/>
                  <a:gd name="connsiteX42" fmla="*/ 5052536 w 5181600"/>
                  <a:gd name="connsiteY42" fmla="*/ 789146 h 838200"/>
                  <a:gd name="connsiteX43" fmla="*/ 4911567 w 5181600"/>
                  <a:gd name="connsiteY43" fmla="*/ 780574 h 838200"/>
                  <a:gd name="connsiteX44" fmla="*/ 4877277 w 5181600"/>
                  <a:gd name="connsiteY44" fmla="*/ 726281 h 838200"/>
                  <a:gd name="connsiteX45" fmla="*/ 4878229 w 5181600"/>
                  <a:gd name="connsiteY45" fmla="*/ 670084 h 838200"/>
                  <a:gd name="connsiteX46" fmla="*/ 4998244 w 5181600"/>
                  <a:gd name="connsiteY46" fmla="*/ 532924 h 838200"/>
                  <a:gd name="connsiteX47" fmla="*/ 5097304 w 5181600"/>
                  <a:gd name="connsiteY47" fmla="*/ 406241 h 838200"/>
                  <a:gd name="connsiteX48" fmla="*/ 5135404 w 5181600"/>
                  <a:gd name="connsiteY48" fmla="*/ 387191 h 838200"/>
                  <a:gd name="connsiteX49" fmla="*/ 5103019 w 5181600"/>
                  <a:gd name="connsiteY49" fmla="*/ 362426 h 838200"/>
                  <a:gd name="connsiteX50" fmla="*/ 5105877 w 5181600"/>
                  <a:gd name="connsiteY50" fmla="*/ 346234 h 838200"/>
                  <a:gd name="connsiteX51" fmla="*/ 5147786 w 5181600"/>
                  <a:gd name="connsiteY51" fmla="*/ 342424 h 838200"/>
                  <a:gd name="connsiteX52" fmla="*/ 5172552 w 5181600"/>
                  <a:gd name="connsiteY52" fmla="*/ 329089 h 838200"/>
                  <a:gd name="connsiteX53" fmla="*/ 5161122 w 5181600"/>
                  <a:gd name="connsiteY53" fmla="*/ 298609 h 838200"/>
                  <a:gd name="connsiteX54" fmla="*/ 5115402 w 5181600"/>
                  <a:gd name="connsiteY54" fmla="*/ 268129 h 838200"/>
                  <a:gd name="connsiteX55" fmla="*/ 4924902 w 5181600"/>
                  <a:gd name="connsiteY55" fmla="*/ 192881 h 838200"/>
                  <a:gd name="connsiteX56" fmla="*/ 4844892 w 5181600"/>
                  <a:gd name="connsiteY56" fmla="*/ 154781 h 838200"/>
                  <a:gd name="connsiteX57" fmla="*/ 4909661 w 5181600"/>
                  <a:gd name="connsiteY57" fmla="*/ 94774 h 838200"/>
                  <a:gd name="connsiteX58" fmla="*/ 4936331 w 5181600"/>
                  <a:gd name="connsiteY58" fmla="*/ 87154 h 838200"/>
                  <a:gd name="connsiteX59" fmla="*/ 4906804 w 5181600"/>
                  <a:gd name="connsiteY59" fmla="*/ 66199 h 838200"/>
                  <a:gd name="connsiteX60" fmla="*/ 4852511 w 5181600"/>
                  <a:gd name="connsiteY60" fmla="*/ 27146 h 838200"/>
                  <a:gd name="connsiteX61" fmla="*/ 4796314 w 5181600"/>
                  <a:gd name="connsiteY61" fmla="*/ 7144 h 838200"/>
                  <a:gd name="connsiteX62" fmla="*/ 4796314 w 5181600"/>
                  <a:gd name="connsiteY62" fmla="*/ 7144 h 838200"/>
                  <a:gd name="connsiteX63" fmla="*/ 4214336 w 5181600"/>
                  <a:gd name="connsiteY63" fmla="*/ 383381 h 838200"/>
                  <a:gd name="connsiteX64" fmla="*/ 4221957 w 5181600"/>
                  <a:gd name="connsiteY64" fmla="*/ 383381 h 838200"/>
                  <a:gd name="connsiteX65" fmla="*/ 4281011 w 5181600"/>
                  <a:gd name="connsiteY65" fmla="*/ 417671 h 838200"/>
                  <a:gd name="connsiteX66" fmla="*/ 4298157 w 5181600"/>
                  <a:gd name="connsiteY66" fmla="*/ 485299 h 838200"/>
                  <a:gd name="connsiteX67" fmla="*/ 4295299 w 5181600"/>
                  <a:gd name="connsiteY67" fmla="*/ 492919 h 838200"/>
                  <a:gd name="connsiteX68" fmla="*/ 4295299 w 5181600"/>
                  <a:gd name="connsiteY68" fmla="*/ 493871 h 838200"/>
                  <a:gd name="connsiteX69" fmla="*/ 4210526 w 5181600"/>
                  <a:gd name="connsiteY69" fmla="*/ 524351 h 838200"/>
                  <a:gd name="connsiteX70" fmla="*/ 4185761 w 5181600"/>
                  <a:gd name="connsiteY70" fmla="*/ 495776 h 838200"/>
                  <a:gd name="connsiteX71" fmla="*/ 4187666 w 5181600"/>
                  <a:gd name="connsiteY71" fmla="*/ 459581 h 838200"/>
                  <a:gd name="connsiteX72" fmla="*/ 4205764 w 5181600"/>
                  <a:gd name="connsiteY72" fmla="*/ 445294 h 838200"/>
                  <a:gd name="connsiteX73" fmla="*/ 4223861 w 5181600"/>
                  <a:gd name="connsiteY73" fmla="*/ 449104 h 838200"/>
                  <a:gd name="connsiteX74" fmla="*/ 4236244 w 5181600"/>
                  <a:gd name="connsiteY74" fmla="*/ 449104 h 838200"/>
                  <a:gd name="connsiteX75" fmla="*/ 4236244 w 5181600"/>
                  <a:gd name="connsiteY75" fmla="*/ 435769 h 838200"/>
                  <a:gd name="connsiteX76" fmla="*/ 4219099 w 5181600"/>
                  <a:gd name="connsiteY76" fmla="*/ 426244 h 838200"/>
                  <a:gd name="connsiteX77" fmla="*/ 4201001 w 5181600"/>
                  <a:gd name="connsiteY77" fmla="*/ 427196 h 838200"/>
                  <a:gd name="connsiteX78" fmla="*/ 4173379 w 5181600"/>
                  <a:gd name="connsiteY78" fmla="*/ 449104 h 838200"/>
                  <a:gd name="connsiteX79" fmla="*/ 4169569 w 5181600"/>
                  <a:gd name="connsiteY79" fmla="*/ 501491 h 838200"/>
                  <a:gd name="connsiteX80" fmla="*/ 4202907 w 5181600"/>
                  <a:gd name="connsiteY80" fmla="*/ 540544 h 838200"/>
                  <a:gd name="connsiteX81" fmla="*/ 4300061 w 5181600"/>
                  <a:gd name="connsiteY81" fmla="*/ 518636 h 838200"/>
                  <a:gd name="connsiteX82" fmla="*/ 4309586 w 5181600"/>
                  <a:gd name="connsiteY82" fmla="*/ 520541 h 838200"/>
                  <a:gd name="connsiteX83" fmla="*/ 4305776 w 5181600"/>
                  <a:gd name="connsiteY83" fmla="*/ 570071 h 838200"/>
                  <a:gd name="connsiteX84" fmla="*/ 4258151 w 5181600"/>
                  <a:gd name="connsiteY84" fmla="*/ 617696 h 838200"/>
                  <a:gd name="connsiteX85" fmla="*/ 4136231 w 5181600"/>
                  <a:gd name="connsiteY85" fmla="*/ 582454 h 838200"/>
                  <a:gd name="connsiteX86" fmla="*/ 4149566 w 5181600"/>
                  <a:gd name="connsiteY86" fmla="*/ 405289 h 838200"/>
                  <a:gd name="connsiteX87" fmla="*/ 4214336 w 5181600"/>
                  <a:gd name="connsiteY87" fmla="*/ 383381 h 838200"/>
                  <a:gd name="connsiteX88" fmla="*/ 4214336 w 5181600"/>
                  <a:gd name="connsiteY88" fmla="*/ 383381 h 838200"/>
                  <a:gd name="connsiteX89" fmla="*/ 4214336 w 5181600"/>
                  <a:gd name="connsiteY89" fmla="*/ 383381 h 838200"/>
                  <a:gd name="connsiteX90" fmla="*/ 4336257 w 5181600"/>
                  <a:gd name="connsiteY90" fmla="*/ 583406 h 838200"/>
                  <a:gd name="connsiteX91" fmla="*/ 4350544 w 5181600"/>
                  <a:gd name="connsiteY91" fmla="*/ 584359 h 838200"/>
                  <a:gd name="connsiteX92" fmla="*/ 4425792 w 5181600"/>
                  <a:gd name="connsiteY92" fmla="*/ 664369 h 838200"/>
                  <a:gd name="connsiteX93" fmla="*/ 4367689 w 5181600"/>
                  <a:gd name="connsiteY93" fmla="*/ 711994 h 838200"/>
                  <a:gd name="connsiteX94" fmla="*/ 4349592 w 5181600"/>
                  <a:gd name="connsiteY94" fmla="*/ 646271 h 838200"/>
                  <a:gd name="connsiteX95" fmla="*/ 4372451 w 5181600"/>
                  <a:gd name="connsiteY95" fmla="*/ 678656 h 838200"/>
                  <a:gd name="connsiteX96" fmla="*/ 4381976 w 5181600"/>
                  <a:gd name="connsiteY96" fmla="*/ 704374 h 838200"/>
                  <a:gd name="connsiteX97" fmla="*/ 4369594 w 5181600"/>
                  <a:gd name="connsiteY97" fmla="*/ 636746 h 838200"/>
                  <a:gd name="connsiteX98" fmla="*/ 4303872 w 5181600"/>
                  <a:gd name="connsiteY98" fmla="*/ 672941 h 838200"/>
                  <a:gd name="connsiteX99" fmla="*/ 4286726 w 5181600"/>
                  <a:gd name="connsiteY99" fmla="*/ 688181 h 838200"/>
                  <a:gd name="connsiteX100" fmla="*/ 4285774 w 5181600"/>
                  <a:gd name="connsiteY100" fmla="*/ 626269 h 838200"/>
                  <a:gd name="connsiteX101" fmla="*/ 4336257 w 5181600"/>
                  <a:gd name="connsiteY101" fmla="*/ 583406 h 838200"/>
                  <a:gd name="connsiteX102" fmla="*/ 4444842 w 5181600"/>
                  <a:gd name="connsiteY102" fmla="*/ 607219 h 838200"/>
                  <a:gd name="connsiteX103" fmla="*/ 4511517 w 5181600"/>
                  <a:gd name="connsiteY103" fmla="*/ 621506 h 838200"/>
                  <a:gd name="connsiteX104" fmla="*/ 4548664 w 5181600"/>
                  <a:gd name="connsiteY104" fmla="*/ 659606 h 838200"/>
                  <a:gd name="connsiteX105" fmla="*/ 4558189 w 5181600"/>
                  <a:gd name="connsiteY105" fmla="*/ 702469 h 838200"/>
                  <a:gd name="connsiteX106" fmla="*/ 4628674 w 5181600"/>
                  <a:gd name="connsiteY106" fmla="*/ 679609 h 838200"/>
                  <a:gd name="connsiteX107" fmla="*/ 4683919 w 5181600"/>
                  <a:gd name="connsiteY107" fmla="*/ 660559 h 838200"/>
                  <a:gd name="connsiteX108" fmla="*/ 4689634 w 5181600"/>
                  <a:gd name="connsiteY108" fmla="*/ 661511 h 838200"/>
                  <a:gd name="connsiteX109" fmla="*/ 4699159 w 5181600"/>
                  <a:gd name="connsiteY109" fmla="*/ 663416 h 838200"/>
                  <a:gd name="connsiteX110" fmla="*/ 4803934 w 5181600"/>
                  <a:gd name="connsiteY110" fmla="*/ 714851 h 838200"/>
                  <a:gd name="connsiteX111" fmla="*/ 4850606 w 5181600"/>
                  <a:gd name="connsiteY111" fmla="*/ 748189 h 838200"/>
                  <a:gd name="connsiteX112" fmla="*/ 4879181 w 5181600"/>
                  <a:gd name="connsiteY112" fmla="*/ 761524 h 838200"/>
                  <a:gd name="connsiteX113" fmla="*/ 4867752 w 5181600"/>
                  <a:gd name="connsiteY113" fmla="*/ 788194 h 838200"/>
                  <a:gd name="connsiteX114" fmla="*/ 4844892 w 5181600"/>
                  <a:gd name="connsiteY114" fmla="*/ 784384 h 838200"/>
                  <a:gd name="connsiteX115" fmla="*/ 4660106 w 5181600"/>
                  <a:gd name="connsiteY115" fmla="*/ 776764 h 838200"/>
                  <a:gd name="connsiteX116" fmla="*/ 4606767 w 5181600"/>
                  <a:gd name="connsiteY116" fmla="*/ 768191 h 838200"/>
                  <a:gd name="connsiteX117" fmla="*/ 4510564 w 5181600"/>
                  <a:gd name="connsiteY117" fmla="*/ 675799 h 838200"/>
                  <a:gd name="connsiteX118" fmla="*/ 4497229 w 5181600"/>
                  <a:gd name="connsiteY118" fmla="*/ 648176 h 838200"/>
                  <a:gd name="connsiteX119" fmla="*/ 4494372 w 5181600"/>
                  <a:gd name="connsiteY119" fmla="*/ 677704 h 838200"/>
                  <a:gd name="connsiteX120" fmla="*/ 4491514 w 5181600"/>
                  <a:gd name="connsiteY120" fmla="*/ 729139 h 838200"/>
                  <a:gd name="connsiteX121" fmla="*/ 4450557 w 5181600"/>
                  <a:gd name="connsiteY121" fmla="*/ 666274 h 838200"/>
                  <a:gd name="connsiteX122" fmla="*/ 4444842 w 5181600"/>
                  <a:gd name="connsiteY122" fmla="*/ 607219 h 838200"/>
                  <a:gd name="connsiteX123" fmla="*/ 4444842 w 5181600"/>
                  <a:gd name="connsiteY123" fmla="*/ 607219 h 838200"/>
                  <a:gd name="connsiteX124" fmla="*/ 4661059 w 5181600"/>
                  <a:gd name="connsiteY124" fmla="*/ 774859 h 838200"/>
                  <a:gd name="connsiteX125" fmla="*/ 4671536 w 5181600"/>
                  <a:gd name="connsiteY125" fmla="*/ 775811 h 838200"/>
                  <a:gd name="connsiteX126" fmla="*/ 4694397 w 5181600"/>
                  <a:gd name="connsiteY126" fmla="*/ 660559 h 838200"/>
                  <a:gd name="connsiteX127" fmla="*/ 4683919 w 5181600"/>
                  <a:gd name="connsiteY127" fmla="*/ 659606 h 838200"/>
                  <a:gd name="connsiteX128" fmla="*/ 4681061 w 5181600"/>
                  <a:gd name="connsiteY128" fmla="*/ 677704 h 838200"/>
                  <a:gd name="connsiteX129" fmla="*/ 4670584 w 5181600"/>
                  <a:gd name="connsiteY129" fmla="*/ 727234 h 838200"/>
                  <a:gd name="connsiteX130" fmla="*/ 4661059 w 5181600"/>
                  <a:gd name="connsiteY130" fmla="*/ 774859 h 838200"/>
                  <a:gd name="connsiteX131" fmla="*/ 4661059 w 5181600"/>
                  <a:gd name="connsiteY131" fmla="*/ 774859 h 838200"/>
                  <a:gd name="connsiteX132" fmla="*/ 4585811 w 5181600"/>
                  <a:gd name="connsiteY132" fmla="*/ 650081 h 838200"/>
                  <a:gd name="connsiteX133" fmla="*/ 4608672 w 5181600"/>
                  <a:gd name="connsiteY133" fmla="*/ 661511 h 838200"/>
                  <a:gd name="connsiteX134" fmla="*/ 4607719 w 5181600"/>
                  <a:gd name="connsiteY134" fmla="*/ 693896 h 838200"/>
                  <a:gd name="connsiteX135" fmla="*/ 4573429 w 5181600"/>
                  <a:gd name="connsiteY135" fmla="*/ 685324 h 838200"/>
                  <a:gd name="connsiteX136" fmla="*/ 4585811 w 5181600"/>
                  <a:gd name="connsiteY136" fmla="*/ 650081 h 838200"/>
                  <a:gd name="connsiteX137" fmla="*/ 4822031 w 5181600"/>
                  <a:gd name="connsiteY137" fmla="*/ 679609 h 838200"/>
                  <a:gd name="connsiteX138" fmla="*/ 4844892 w 5181600"/>
                  <a:gd name="connsiteY138" fmla="*/ 704374 h 838200"/>
                  <a:gd name="connsiteX139" fmla="*/ 4822031 w 5181600"/>
                  <a:gd name="connsiteY139" fmla="*/ 709136 h 838200"/>
                  <a:gd name="connsiteX140" fmla="*/ 4822031 w 5181600"/>
                  <a:gd name="connsiteY140" fmla="*/ 679609 h 838200"/>
                  <a:gd name="connsiteX141" fmla="*/ 5031581 w 5181600"/>
                  <a:gd name="connsiteY141" fmla="*/ 711994 h 838200"/>
                  <a:gd name="connsiteX142" fmla="*/ 5014436 w 5181600"/>
                  <a:gd name="connsiteY142" fmla="*/ 731996 h 838200"/>
                  <a:gd name="connsiteX143" fmla="*/ 5018247 w 5181600"/>
                  <a:gd name="connsiteY143" fmla="*/ 753904 h 838200"/>
                  <a:gd name="connsiteX144" fmla="*/ 5035392 w 5181600"/>
                  <a:gd name="connsiteY144" fmla="*/ 732949 h 838200"/>
                  <a:gd name="connsiteX145" fmla="*/ 5031581 w 5181600"/>
                  <a:gd name="connsiteY145" fmla="*/ 711994 h 838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</a:cxnLst>
                <a:rect l="l" t="t" r="r" b="b"/>
                <a:pathLst>
                  <a:path w="5181600" h="838200">
                    <a:moveTo>
                      <a:pt x="4796314" y="7144"/>
                    </a:moveTo>
                    <a:cubicBezTo>
                      <a:pt x="4786789" y="7144"/>
                      <a:pt x="4776311" y="9049"/>
                      <a:pt x="4763929" y="12859"/>
                    </a:cubicBezTo>
                    <a:cubicBezTo>
                      <a:pt x="4741069" y="20479"/>
                      <a:pt x="4722019" y="38576"/>
                      <a:pt x="4720114" y="53816"/>
                    </a:cubicBezTo>
                    <a:cubicBezTo>
                      <a:pt x="4719161" y="69056"/>
                      <a:pt x="4710589" y="80486"/>
                      <a:pt x="4702969" y="79534"/>
                    </a:cubicBezTo>
                    <a:cubicBezTo>
                      <a:pt x="4695349" y="78581"/>
                      <a:pt x="4689634" y="90964"/>
                      <a:pt x="4691539" y="105251"/>
                    </a:cubicBezTo>
                    <a:cubicBezTo>
                      <a:pt x="4695349" y="137636"/>
                      <a:pt x="4641056" y="192881"/>
                      <a:pt x="4607719" y="190976"/>
                    </a:cubicBezTo>
                    <a:cubicBezTo>
                      <a:pt x="4594384" y="190024"/>
                      <a:pt x="4582002" y="198596"/>
                      <a:pt x="4581049" y="210979"/>
                    </a:cubicBezTo>
                    <a:cubicBezTo>
                      <a:pt x="4580097" y="224314"/>
                      <a:pt x="4570572" y="228124"/>
                      <a:pt x="4555331" y="221456"/>
                    </a:cubicBezTo>
                    <a:cubicBezTo>
                      <a:pt x="4541997" y="215741"/>
                      <a:pt x="4539139" y="207169"/>
                      <a:pt x="4547711" y="203359"/>
                    </a:cubicBezTo>
                    <a:cubicBezTo>
                      <a:pt x="4556284" y="199549"/>
                      <a:pt x="4447699" y="185261"/>
                      <a:pt x="4304824" y="173831"/>
                    </a:cubicBezTo>
                    <a:cubicBezTo>
                      <a:pt x="4273392" y="170974"/>
                      <a:pt x="4248626" y="169069"/>
                      <a:pt x="4224814" y="168116"/>
                    </a:cubicBezTo>
                    <a:lnTo>
                      <a:pt x="4224814" y="168116"/>
                    </a:lnTo>
                    <a:cubicBezTo>
                      <a:pt x="4224814" y="168116"/>
                      <a:pt x="3189447" y="70961"/>
                      <a:pt x="1992154" y="29051"/>
                    </a:cubicBezTo>
                    <a:cubicBezTo>
                      <a:pt x="1693069" y="18574"/>
                      <a:pt x="1418749" y="12859"/>
                      <a:pt x="1176814" y="10954"/>
                    </a:cubicBezTo>
                    <a:cubicBezTo>
                      <a:pt x="934879" y="9049"/>
                      <a:pt x="725329" y="10954"/>
                      <a:pt x="551974" y="12859"/>
                    </a:cubicBezTo>
                    <a:cubicBezTo>
                      <a:pt x="206216" y="17621"/>
                      <a:pt x="10001" y="29051"/>
                      <a:pt x="10001" y="29051"/>
                    </a:cubicBezTo>
                    <a:lnTo>
                      <a:pt x="7144" y="30004"/>
                    </a:lnTo>
                    <a:cubicBezTo>
                      <a:pt x="7144" y="30004"/>
                      <a:pt x="207169" y="36671"/>
                      <a:pt x="551974" y="31909"/>
                    </a:cubicBezTo>
                    <a:cubicBezTo>
                      <a:pt x="897731" y="27146"/>
                      <a:pt x="1392079" y="27146"/>
                      <a:pt x="1990249" y="48101"/>
                    </a:cubicBezTo>
                    <a:cubicBezTo>
                      <a:pt x="3187541" y="90011"/>
                      <a:pt x="4221957" y="187166"/>
                      <a:pt x="4221957" y="187166"/>
                    </a:cubicBezTo>
                    <a:cubicBezTo>
                      <a:pt x="4261961" y="192881"/>
                      <a:pt x="4304824" y="197644"/>
                      <a:pt x="4341019" y="200501"/>
                    </a:cubicBezTo>
                    <a:cubicBezTo>
                      <a:pt x="4410551" y="207169"/>
                      <a:pt x="4482942" y="221456"/>
                      <a:pt x="4501992" y="232886"/>
                    </a:cubicBezTo>
                    <a:cubicBezTo>
                      <a:pt x="4577239" y="278606"/>
                      <a:pt x="4578192" y="280511"/>
                      <a:pt x="4532472" y="313849"/>
                    </a:cubicBezTo>
                    <a:cubicBezTo>
                      <a:pt x="4480084" y="352901"/>
                      <a:pt x="4464844" y="352901"/>
                      <a:pt x="4446747" y="314801"/>
                    </a:cubicBezTo>
                    <a:cubicBezTo>
                      <a:pt x="4439126" y="298609"/>
                      <a:pt x="4421982" y="280511"/>
                      <a:pt x="4407694" y="273844"/>
                    </a:cubicBezTo>
                    <a:cubicBezTo>
                      <a:pt x="4376261" y="259556"/>
                      <a:pt x="4329589" y="292894"/>
                      <a:pt x="4343876" y="319564"/>
                    </a:cubicBezTo>
                    <a:cubicBezTo>
                      <a:pt x="4351497" y="333851"/>
                      <a:pt x="4360069" y="331946"/>
                      <a:pt x="4378167" y="313849"/>
                    </a:cubicBezTo>
                    <a:cubicBezTo>
                      <a:pt x="4409599" y="279559"/>
                      <a:pt x="4423886" y="299561"/>
                      <a:pt x="4396264" y="340519"/>
                    </a:cubicBezTo>
                    <a:cubicBezTo>
                      <a:pt x="4358164" y="395764"/>
                      <a:pt x="4326732" y="407194"/>
                      <a:pt x="4280059" y="379571"/>
                    </a:cubicBezTo>
                    <a:cubicBezTo>
                      <a:pt x="4258151" y="366236"/>
                      <a:pt x="4228624" y="354806"/>
                      <a:pt x="4215289" y="353854"/>
                    </a:cubicBezTo>
                    <a:cubicBezTo>
                      <a:pt x="4169569" y="350044"/>
                      <a:pt x="4115276" y="390049"/>
                      <a:pt x="4090511" y="444341"/>
                    </a:cubicBezTo>
                    <a:cubicBezTo>
                      <a:pt x="4070509" y="490061"/>
                      <a:pt x="4069556" y="507206"/>
                      <a:pt x="4085749" y="554831"/>
                    </a:cubicBezTo>
                    <a:cubicBezTo>
                      <a:pt x="4096226" y="586264"/>
                      <a:pt x="4117181" y="616744"/>
                      <a:pt x="4132422" y="623411"/>
                    </a:cubicBezTo>
                    <a:cubicBezTo>
                      <a:pt x="4147661" y="630079"/>
                      <a:pt x="4167664" y="644366"/>
                      <a:pt x="4177189" y="654844"/>
                    </a:cubicBezTo>
                    <a:cubicBezTo>
                      <a:pt x="4207669" y="688181"/>
                      <a:pt x="4441032" y="767239"/>
                      <a:pt x="4584859" y="792004"/>
                    </a:cubicBezTo>
                    <a:cubicBezTo>
                      <a:pt x="4819174" y="832961"/>
                      <a:pt x="4984909" y="844391"/>
                      <a:pt x="5042059" y="822484"/>
                    </a:cubicBezTo>
                    <a:cubicBezTo>
                      <a:pt x="5083969" y="807244"/>
                      <a:pt x="5093494" y="793909"/>
                      <a:pt x="5097304" y="755809"/>
                    </a:cubicBezTo>
                    <a:cubicBezTo>
                      <a:pt x="5102067" y="698659"/>
                      <a:pt x="5081111" y="671036"/>
                      <a:pt x="5025867" y="667226"/>
                    </a:cubicBezTo>
                    <a:cubicBezTo>
                      <a:pt x="4997292" y="665321"/>
                      <a:pt x="4978242" y="674846"/>
                      <a:pt x="4964906" y="697706"/>
                    </a:cubicBezTo>
                    <a:cubicBezTo>
                      <a:pt x="4945856" y="730091"/>
                      <a:pt x="4948714" y="749141"/>
                      <a:pt x="4973479" y="751046"/>
                    </a:cubicBezTo>
                    <a:cubicBezTo>
                      <a:pt x="4980147" y="751999"/>
                      <a:pt x="4983004" y="738664"/>
                      <a:pt x="4980147" y="723424"/>
                    </a:cubicBezTo>
                    <a:cubicBezTo>
                      <a:pt x="4974431" y="693896"/>
                      <a:pt x="5010627" y="680561"/>
                      <a:pt x="5059204" y="694849"/>
                    </a:cubicBezTo>
                    <a:cubicBezTo>
                      <a:pt x="5093494" y="704374"/>
                      <a:pt x="5089684" y="756761"/>
                      <a:pt x="5052536" y="789146"/>
                    </a:cubicBezTo>
                    <a:cubicBezTo>
                      <a:pt x="5016342" y="821531"/>
                      <a:pt x="4922044" y="814864"/>
                      <a:pt x="4911567" y="780574"/>
                    </a:cubicBezTo>
                    <a:cubicBezTo>
                      <a:pt x="4906804" y="766286"/>
                      <a:pt x="4891564" y="742474"/>
                      <a:pt x="4877277" y="726281"/>
                    </a:cubicBezTo>
                    <a:cubicBezTo>
                      <a:pt x="4845844" y="691039"/>
                      <a:pt x="4845844" y="668179"/>
                      <a:pt x="4878229" y="670084"/>
                    </a:cubicBezTo>
                    <a:cubicBezTo>
                      <a:pt x="4927759" y="673894"/>
                      <a:pt x="4980147" y="613886"/>
                      <a:pt x="4998244" y="532924"/>
                    </a:cubicBezTo>
                    <a:cubicBezTo>
                      <a:pt x="5022056" y="427196"/>
                      <a:pt x="5042059" y="402431"/>
                      <a:pt x="5097304" y="406241"/>
                    </a:cubicBezTo>
                    <a:cubicBezTo>
                      <a:pt x="5131594" y="409099"/>
                      <a:pt x="5141119" y="404336"/>
                      <a:pt x="5135404" y="387191"/>
                    </a:cubicBezTo>
                    <a:cubicBezTo>
                      <a:pt x="5131594" y="374809"/>
                      <a:pt x="5116354" y="363379"/>
                      <a:pt x="5103019" y="362426"/>
                    </a:cubicBezTo>
                    <a:cubicBezTo>
                      <a:pt x="5080159" y="360521"/>
                      <a:pt x="5081111" y="357664"/>
                      <a:pt x="5105877" y="346234"/>
                    </a:cubicBezTo>
                    <a:cubicBezTo>
                      <a:pt x="5122069" y="339566"/>
                      <a:pt x="5140167" y="337661"/>
                      <a:pt x="5147786" y="342424"/>
                    </a:cubicBezTo>
                    <a:cubicBezTo>
                      <a:pt x="5155406" y="347186"/>
                      <a:pt x="5165884" y="341471"/>
                      <a:pt x="5172552" y="329089"/>
                    </a:cubicBezTo>
                    <a:cubicBezTo>
                      <a:pt x="5189697" y="295751"/>
                      <a:pt x="5187792" y="290989"/>
                      <a:pt x="5161122" y="298609"/>
                    </a:cubicBezTo>
                    <a:cubicBezTo>
                      <a:pt x="5146834" y="302419"/>
                      <a:pt x="5127784" y="290989"/>
                      <a:pt x="5115402" y="268129"/>
                    </a:cubicBezTo>
                    <a:cubicBezTo>
                      <a:pt x="5088731" y="222409"/>
                      <a:pt x="5021104" y="195739"/>
                      <a:pt x="4924902" y="192881"/>
                    </a:cubicBezTo>
                    <a:cubicBezTo>
                      <a:pt x="4859179" y="190976"/>
                      <a:pt x="4850606" y="187166"/>
                      <a:pt x="4844892" y="154781"/>
                    </a:cubicBezTo>
                    <a:cubicBezTo>
                      <a:pt x="4836319" y="105251"/>
                      <a:pt x="4850606" y="91916"/>
                      <a:pt x="4909661" y="94774"/>
                    </a:cubicBezTo>
                    <a:cubicBezTo>
                      <a:pt x="4937284" y="96679"/>
                      <a:pt x="4948714" y="92869"/>
                      <a:pt x="4936331" y="87154"/>
                    </a:cubicBezTo>
                    <a:cubicBezTo>
                      <a:pt x="4923949" y="81439"/>
                      <a:pt x="4910614" y="71914"/>
                      <a:pt x="4906804" y="66199"/>
                    </a:cubicBezTo>
                    <a:cubicBezTo>
                      <a:pt x="4902994" y="60484"/>
                      <a:pt x="4879181" y="42386"/>
                      <a:pt x="4852511" y="27146"/>
                    </a:cubicBezTo>
                    <a:cubicBezTo>
                      <a:pt x="4828699" y="12859"/>
                      <a:pt x="4812506" y="7144"/>
                      <a:pt x="4796314" y="7144"/>
                    </a:cubicBezTo>
                    <a:lnTo>
                      <a:pt x="4796314" y="7144"/>
                    </a:lnTo>
                    <a:close/>
                    <a:moveTo>
                      <a:pt x="4214336" y="383381"/>
                    </a:moveTo>
                    <a:cubicBezTo>
                      <a:pt x="4217194" y="383381"/>
                      <a:pt x="4220051" y="383381"/>
                      <a:pt x="4221957" y="383381"/>
                    </a:cubicBezTo>
                    <a:cubicBezTo>
                      <a:pt x="4242911" y="385286"/>
                      <a:pt x="4262914" y="396716"/>
                      <a:pt x="4281011" y="417671"/>
                    </a:cubicBezTo>
                    <a:cubicBezTo>
                      <a:pt x="4301967" y="440531"/>
                      <a:pt x="4307682" y="460534"/>
                      <a:pt x="4298157" y="485299"/>
                    </a:cubicBezTo>
                    <a:cubicBezTo>
                      <a:pt x="4297204" y="488156"/>
                      <a:pt x="4296251" y="491014"/>
                      <a:pt x="4295299" y="492919"/>
                    </a:cubicBezTo>
                    <a:cubicBezTo>
                      <a:pt x="4295299" y="492919"/>
                      <a:pt x="4295299" y="493871"/>
                      <a:pt x="4295299" y="493871"/>
                    </a:cubicBezTo>
                    <a:cubicBezTo>
                      <a:pt x="4278154" y="524351"/>
                      <a:pt x="4241959" y="540544"/>
                      <a:pt x="4210526" y="524351"/>
                    </a:cubicBezTo>
                    <a:cubicBezTo>
                      <a:pt x="4199097" y="518636"/>
                      <a:pt x="4189572" y="508159"/>
                      <a:pt x="4185761" y="495776"/>
                    </a:cubicBezTo>
                    <a:cubicBezTo>
                      <a:pt x="4180999" y="483394"/>
                      <a:pt x="4180999" y="471011"/>
                      <a:pt x="4187666" y="459581"/>
                    </a:cubicBezTo>
                    <a:cubicBezTo>
                      <a:pt x="4191476" y="453866"/>
                      <a:pt x="4198144" y="448151"/>
                      <a:pt x="4205764" y="445294"/>
                    </a:cubicBezTo>
                    <a:cubicBezTo>
                      <a:pt x="4213384" y="442436"/>
                      <a:pt x="4219099" y="444341"/>
                      <a:pt x="4223861" y="449104"/>
                    </a:cubicBezTo>
                    <a:cubicBezTo>
                      <a:pt x="4227672" y="452914"/>
                      <a:pt x="4233386" y="452914"/>
                      <a:pt x="4236244" y="449104"/>
                    </a:cubicBezTo>
                    <a:cubicBezTo>
                      <a:pt x="4240054" y="445294"/>
                      <a:pt x="4239101" y="439579"/>
                      <a:pt x="4236244" y="435769"/>
                    </a:cubicBezTo>
                    <a:cubicBezTo>
                      <a:pt x="4231482" y="431006"/>
                      <a:pt x="4225767" y="428149"/>
                      <a:pt x="4219099" y="426244"/>
                    </a:cubicBezTo>
                    <a:cubicBezTo>
                      <a:pt x="4213384" y="425291"/>
                      <a:pt x="4206717" y="425291"/>
                      <a:pt x="4201001" y="427196"/>
                    </a:cubicBezTo>
                    <a:cubicBezTo>
                      <a:pt x="4189572" y="431006"/>
                      <a:pt x="4179094" y="438626"/>
                      <a:pt x="4173379" y="449104"/>
                    </a:cubicBezTo>
                    <a:cubicBezTo>
                      <a:pt x="4163854" y="466249"/>
                      <a:pt x="4163854" y="485299"/>
                      <a:pt x="4169569" y="501491"/>
                    </a:cubicBezTo>
                    <a:cubicBezTo>
                      <a:pt x="4175284" y="517684"/>
                      <a:pt x="4187666" y="532924"/>
                      <a:pt x="4202907" y="540544"/>
                    </a:cubicBezTo>
                    <a:cubicBezTo>
                      <a:pt x="4237197" y="558641"/>
                      <a:pt x="4275297" y="546259"/>
                      <a:pt x="4300061" y="518636"/>
                    </a:cubicBezTo>
                    <a:cubicBezTo>
                      <a:pt x="4302919" y="519589"/>
                      <a:pt x="4305776" y="520541"/>
                      <a:pt x="4309586" y="520541"/>
                    </a:cubicBezTo>
                    <a:cubicBezTo>
                      <a:pt x="4340067" y="522446"/>
                      <a:pt x="4337209" y="561499"/>
                      <a:pt x="4305776" y="570071"/>
                    </a:cubicBezTo>
                    <a:cubicBezTo>
                      <a:pt x="4292442" y="573881"/>
                      <a:pt x="4271486" y="595789"/>
                      <a:pt x="4258151" y="617696"/>
                    </a:cubicBezTo>
                    <a:cubicBezTo>
                      <a:pt x="4232434" y="663416"/>
                      <a:pt x="4218147" y="659606"/>
                      <a:pt x="4136231" y="582454"/>
                    </a:cubicBezTo>
                    <a:cubicBezTo>
                      <a:pt x="4080034" y="529114"/>
                      <a:pt x="4086701" y="444341"/>
                      <a:pt x="4149566" y="405289"/>
                    </a:cubicBezTo>
                    <a:cubicBezTo>
                      <a:pt x="4174331" y="391954"/>
                      <a:pt x="4195286" y="384334"/>
                      <a:pt x="4214336" y="383381"/>
                    </a:cubicBezTo>
                    <a:lnTo>
                      <a:pt x="4214336" y="383381"/>
                    </a:lnTo>
                    <a:lnTo>
                      <a:pt x="4214336" y="383381"/>
                    </a:lnTo>
                    <a:close/>
                    <a:moveTo>
                      <a:pt x="4336257" y="583406"/>
                    </a:moveTo>
                    <a:cubicBezTo>
                      <a:pt x="4341019" y="583406"/>
                      <a:pt x="4345782" y="583406"/>
                      <a:pt x="4350544" y="584359"/>
                    </a:cubicBezTo>
                    <a:cubicBezTo>
                      <a:pt x="4395311" y="588169"/>
                      <a:pt x="4401979" y="595789"/>
                      <a:pt x="4425792" y="664369"/>
                    </a:cubicBezTo>
                    <a:cubicBezTo>
                      <a:pt x="4454367" y="747236"/>
                      <a:pt x="4447699" y="751999"/>
                      <a:pt x="4367689" y="711994"/>
                    </a:cubicBezTo>
                    <a:cubicBezTo>
                      <a:pt x="4316254" y="686276"/>
                      <a:pt x="4301967" y="633889"/>
                      <a:pt x="4349592" y="646271"/>
                    </a:cubicBezTo>
                    <a:cubicBezTo>
                      <a:pt x="4363879" y="650081"/>
                      <a:pt x="4375309" y="665321"/>
                      <a:pt x="4372451" y="678656"/>
                    </a:cubicBezTo>
                    <a:cubicBezTo>
                      <a:pt x="4369594" y="691991"/>
                      <a:pt x="4374357" y="703421"/>
                      <a:pt x="4381976" y="704374"/>
                    </a:cubicBezTo>
                    <a:cubicBezTo>
                      <a:pt x="4409599" y="706279"/>
                      <a:pt x="4399122" y="648176"/>
                      <a:pt x="4369594" y="636746"/>
                    </a:cubicBezTo>
                    <a:cubicBezTo>
                      <a:pt x="4329589" y="621506"/>
                      <a:pt x="4307682" y="633889"/>
                      <a:pt x="4303872" y="672941"/>
                    </a:cubicBezTo>
                    <a:cubicBezTo>
                      <a:pt x="4301967" y="693896"/>
                      <a:pt x="4296251" y="699611"/>
                      <a:pt x="4286726" y="688181"/>
                    </a:cubicBezTo>
                    <a:cubicBezTo>
                      <a:pt x="4279107" y="679609"/>
                      <a:pt x="4278154" y="651986"/>
                      <a:pt x="4285774" y="626269"/>
                    </a:cubicBezTo>
                    <a:cubicBezTo>
                      <a:pt x="4297204" y="591979"/>
                      <a:pt x="4305776" y="582454"/>
                      <a:pt x="4336257" y="583406"/>
                    </a:cubicBezTo>
                    <a:close/>
                    <a:moveTo>
                      <a:pt x="4444842" y="607219"/>
                    </a:moveTo>
                    <a:cubicBezTo>
                      <a:pt x="4457224" y="607219"/>
                      <a:pt x="4478179" y="611981"/>
                      <a:pt x="4511517" y="621506"/>
                    </a:cubicBezTo>
                    <a:cubicBezTo>
                      <a:pt x="4548664" y="631031"/>
                      <a:pt x="4557236" y="640556"/>
                      <a:pt x="4548664" y="659606"/>
                    </a:cubicBezTo>
                    <a:cubicBezTo>
                      <a:pt x="4542949" y="672941"/>
                      <a:pt x="4546759" y="691991"/>
                      <a:pt x="4558189" y="702469"/>
                    </a:cubicBezTo>
                    <a:cubicBezTo>
                      <a:pt x="4586764" y="729139"/>
                      <a:pt x="4635342" y="712946"/>
                      <a:pt x="4628674" y="679609"/>
                    </a:cubicBezTo>
                    <a:cubicBezTo>
                      <a:pt x="4624864" y="657701"/>
                      <a:pt x="4631531" y="653891"/>
                      <a:pt x="4683919" y="660559"/>
                    </a:cubicBezTo>
                    <a:cubicBezTo>
                      <a:pt x="4682967" y="681514"/>
                      <a:pt x="4687729" y="661511"/>
                      <a:pt x="4689634" y="661511"/>
                    </a:cubicBezTo>
                    <a:cubicBezTo>
                      <a:pt x="4692492" y="661511"/>
                      <a:pt x="4695349" y="662464"/>
                      <a:pt x="4699159" y="663416"/>
                    </a:cubicBezTo>
                    <a:cubicBezTo>
                      <a:pt x="4759167" y="671989"/>
                      <a:pt x="4780122" y="681514"/>
                      <a:pt x="4803934" y="714851"/>
                    </a:cubicBezTo>
                    <a:cubicBezTo>
                      <a:pt x="4820127" y="737711"/>
                      <a:pt x="4841081" y="752951"/>
                      <a:pt x="4850606" y="748189"/>
                    </a:cubicBezTo>
                    <a:cubicBezTo>
                      <a:pt x="4860131" y="743426"/>
                      <a:pt x="4872514" y="750094"/>
                      <a:pt x="4879181" y="761524"/>
                    </a:cubicBezTo>
                    <a:cubicBezTo>
                      <a:pt x="4898231" y="794861"/>
                      <a:pt x="4891564" y="810101"/>
                      <a:pt x="4867752" y="788194"/>
                    </a:cubicBezTo>
                    <a:cubicBezTo>
                      <a:pt x="4852511" y="773906"/>
                      <a:pt x="4845844" y="772954"/>
                      <a:pt x="4844892" y="784384"/>
                    </a:cubicBezTo>
                    <a:cubicBezTo>
                      <a:pt x="4787742" y="807244"/>
                      <a:pt x="4706779" y="786289"/>
                      <a:pt x="4660106" y="776764"/>
                    </a:cubicBezTo>
                    <a:cubicBezTo>
                      <a:pt x="4642009" y="773906"/>
                      <a:pt x="4622959" y="772954"/>
                      <a:pt x="4606767" y="768191"/>
                    </a:cubicBezTo>
                    <a:cubicBezTo>
                      <a:pt x="4550569" y="752951"/>
                      <a:pt x="4508659" y="711994"/>
                      <a:pt x="4510564" y="675799"/>
                    </a:cubicBezTo>
                    <a:cubicBezTo>
                      <a:pt x="4511517" y="666274"/>
                      <a:pt x="4504849" y="653891"/>
                      <a:pt x="4497229" y="648176"/>
                    </a:cubicBezTo>
                    <a:cubicBezTo>
                      <a:pt x="4487704" y="641509"/>
                      <a:pt x="4485799" y="651034"/>
                      <a:pt x="4494372" y="677704"/>
                    </a:cubicBezTo>
                    <a:cubicBezTo>
                      <a:pt x="4509611" y="726281"/>
                      <a:pt x="4508659" y="731044"/>
                      <a:pt x="4491514" y="729139"/>
                    </a:cubicBezTo>
                    <a:cubicBezTo>
                      <a:pt x="4483894" y="728186"/>
                      <a:pt x="4465797" y="700564"/>
                      <a:pt x="4450557" y="666274"/>
                    </a:cubicBezTo>
                    <a:cubicBezTo>
                      <a:pt x="4429601" y="624364"/>
                      <a:pt x="4424839" y="608171"/>
                      <a:pt x="4444842" y="607219"/>
                    </a:cubicBezTo>
                    <a:lnTo>
                      <a:pt x="4444842" y="607219"/>
                    </a:lnTo>
                    <a:close/>
                    <a:moveTo>
                      <a:pt x="4661059" y="774859"/>
                    </a:moveTo>
                    <a:cubicBezTo>
                      <a:pt x="4662964" y="774859"/>
                      <a:pt x="4669631" y="775811"/>
                      <a:pt x="4671536" y="775811"/>
                    </a:cubicBezTo>
                    <a:cubicBezTo>
                      <a:pt x="4695349" y="749141"/>
                      <a:pt x="4700111" y="686276"/>
                      <a:pt x="4694397" y="660559"/>
                    </a:cubicBezTo>
                    <a:cubicBezTo>
                      <a:pt x="4692492" y="660559"/>
                      <a:pt x="4685824" y="659606"/>
                      <a:pt x="4683919" y="659606"/>
                    </a:cubicBezTo>
                    <a:cubicBezTo>
                      <a:pt x="4682967" y="667226"/>
                      <a:pt x="4681061" y="677704"/>
                      <a:pt x="4681061" y="677704"/>
                    </a:cubicBezTo>
                    <a:cubicBezTo>
                      <a:pt x="4680109" y="688181"/>
                      <a:pt x="4675347" y="701516"/>
                      <a:pt x="4670584" y="727234"/>
                    </a:cubicBezTo>
                    <a:cubicBezTo>
                      <a:pt x="4666774" y="750094"/>
                      <a:pt x="4661059" y="764381"/>
                      <a:pt x="4661059" y="774859"/>
                    </a:cubicBezTo>
                    <a:lnTo>
                      <a:pt x="4661059" y="774859"/>
                    </a:lnTo>
                    <a:close/>
                    <a:moveTo>
                      <a:pt x="4585811" y="650081"/>
                    </a:moveTo>
                    <a:cubicBezTo>
                      <a:pt x="4593431" y="650081"/>
                      <a:pt x="4601052" y="653891"/>
                      <a:pt x="4608672" y="661511"/>
                    </a:cubicBezTo>
                    <a:cubicBezTo>
                      <a:pt x="4620102" y="673894"/>
                      <a:pt x="4620102" y="683419"/>
                      <a:pt x="4607719" y="693896"/>
                    </a:cubicBezTo>
                    <a:cubicBezTo>
                      <a:pt x="4595336" y="703421"/>
                      <a:pt x="4584859" y="700564"/>
                      <a:pt x="4573429" y="685324"/>
                    </a:cubicBezTo>
                    <a:cubicBezTo>
                      <a:pt x="4557236" y="665321"/>
                      <a:pt x="4568667" y="649129"/>
                      <a:pt x="4585811" y="650081"/>
                    </a:cubicBezTo>
                    <a:close/>
                    <a:moveTo>
                      <a:pt x="4822031" y="679609"/>
                    </a:moveTo>
                    <a:cubicBezTo>
                      <a:pt x="4830604" y="680561"/>
                      <a:pt x="4841081" y="691991"/>
                      <a:pt x="4844892" y="704374"/>
                    </a:cubicBezTo>
                    <a:cubicBezTo>
                      <a:pt x="4856322" y="739616"/>
                      <a:pt x="4840129" y="742474"/>
                      <a:pt x="4822031" y="709136"/>
                    </a:cubicBezTo>
                    <a:cubicBezTo>
                      <a:pt x="4811554" y="690086"/>
                      <a:pt x="4811554" y="678656"/>
                      <a:pt x="4822031" y="679609"/>
                    </a:cubicBezTo>
                    <a:close/>
                    <a:moveTo>
                      <a:pt x="5031581" y="711994"/>
                    </a:moveTo>
                    <a:cubicBezTo>
                      <a:pt x="5027772" y="711994"/>
                      <a:pt x="5022056" y="718661"/>
                      <a:pt x="5014436" y="731996"/>
                    </a:cubicBezTo>
                    <a:cubicBezTo>
                      <a:pt x="5008722" y="743426"/>
                      <a:pt x="5010627" y="753904"/>
                      <a:pt x="5018247" y="753904"/>
                    </a:cubicBezTo>
                    <a:cubicBezTo>
                      <a:pt x="5026819" y="754856"/>
                      <a:pt x="5034439" y="745331"/>
                      <a:pt x="5035392" y="732949"/>
                    </a:cubicBezTo>
                    <a:cubicBezTo>
                      <a:pt x="5037297" y="719614"/>
                      <a:pt x="5035392" y="711994"/>
                      <a:pt x="5031581" y="71199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87755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27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+mn-ea"/>
                  <a:cs typeface="+mn-cs"/>
                </a:endParaRPr>
              </a:p>
            </p:txBody>
          </p:sp>
        </p:grpSp>
        <p:grpSp>
          <p:nvGrpSpPr>
            <p:cNvPr id="34" name="Group 42">
              <a:extLst>
                <a:ext uri="{FF2B5EF4-FFF2-40B4-BE49-F238E27FC236}">
                  <a16:creationId xmlns:a16="http://schemas.microsoft.com/office/drawing/2014/main" id="{87094892-5B25-4C22-8042-3B5656FB3E37}"/>
                </a:ext>
              </a:extLst>
            </p:cNvPr>
            <p:cNvGrpSpPr/>
            <p:nvPr/>
          </p:nvGrpSpPr>
          <p:grpSpPr>
            <a:xfrm>
              <a:off x="5592850" y="1305190"/>
              <a:ext cx="238798" cy="296093"/>
              <a:chOff x="5471801" y="1346970"/>
              <a:chExt cx="399602" cy="495478"/>
            </a:xfrm>
            <a:solidFill>
              <a:schemeClr val="bg1">
                <a:alpha val="74000"/>
              </a:schemeClr>
            </a:solidFill>
          </p:grpSpPr>
          <p:sp>
            <p:nvSpPr>
              <p:cNvPr id="63" name="Oval 39">
                <a:extLst>
                  <a:ext uri="{FF2B5EF4-FFF2-40B4-BE49-F238E27FC236}">
                    <a16:creationId xmlns:a16="http://schemas.microsoft.com/office/drawing/2014/main" id="{72DB6422-40BC-4F7E-A71F-ED33C0C8A431}"/>
                  </a:ext>
                </a:extLst>
              </p:cNvPr>
              <p:cNvSpPr/>
              <p:nvPr/>
            </p:nvSpPr>
            <p:spPr>
              <a:xfrm>
                <a:off x="5727901" y="1346970"/>
                <a:ext cx="140636" cy="140636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755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27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+mn-ea"/>
                  <a:cs typeface="+mn-cs"/>
                </a:endParaRPr>
              </a:p>
            </p:txBody>
          </p:sp>
          <p:sp>
            <p:nvSpPr>
              <p:cNvPr id="64" name="Oval 40">
                <a:extLst>
                  <a:ext uri="{FF2B5EF4-FFF2-40B4-BE49-F238E27FC236}">
                    <a16:creationId xmlns:a16="http://schemas.microsoft.com/office/drawing/2014/main" id="{A6C122AD-DA0F-4B50-A8A7-C9DB57EDF8B4}"/>
                  </a:ext>
                </a:extLst>
              </p:cNvPr>
              <p:cNvSpPr/>
              <p:nvPr/>
            </p:nvSpPr>
            <p:spPr>
              <a:xfrm>
                <a:off x="5471801" y="1586774"/>
                <a:ext cx="83771" cy="8377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755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27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+mn-ea"/>
                  <a:cs typeface="+mn-cs"/>
                </a:endParaRPr>
              </a:p>
            </p:txBody>
          </p:sp>
          <p:sp>
            <p:nvSpPr>
              <p:cNvPr id="65" name="Oval 41">
                <a:extLst>
                  <a:ext uri="{FF2B5EF4-FFF2-40B4-BE49-F238E27FC236}">
                    <a16:creationId xmlns:a16="http://schemas.microsoft.com/office/drawing/2014/main" id="{4E230113-1089-446C-BBAA-9BAB4C34A4E9}"/>
                  </a:ext>
                </a:extLst>
              </p:cNvPr>
              <p:cNvSpPr/>
              <p:nvPr/>
            </p:nvSpPr>
            <p:spPr>
              <a:xfrm>
                <a:off x="5746079" y="1717124"/>
                <a:ext cx="125324" cy="12532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755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27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+mn-ea"/>
                  <a:cs typeface="+mn-cs"/>
                </a:endParaRPr>
              </a:p>
            </p:txBody>
          </p:sp>
        </p:grpSp>
        <p:grpSp>
          <p:nvGrpSpPr>
            <p:cNvPr id="35" name="Group 43">
              <a:extLst>
                <a:ext uri="{FF2B5EF4-FFF2-40B4-BE49-F238E27FC236}">
                  <a16:creationId xmlns:a16="http://schemas.microsoft.com/office/drawing/2014/main" id="{284BA3F3-A7C5-4139-B79F-6EC3CC7EA200}"/>
                </a:ext>
              </a:extLst>
            </p:cNvPr>
            <p:cNvGrpSpPr/>
            <p:nvPr/>
          </p:nvGrpSpPr>
          <p:grpSpPr>
            <a:xfrm rot="18616056">
              <a:off x="5505445" y="1767646"/>
              <a:ext cx="238798" cy="296093"/>
              <a:chOff x="5471801" y="1346970"/>
              <a:chExt cx="399602" cy="495478"/>
            </a:xfrm>
            <a:solidFill>
              <a:schemeClr val="bg1">
                <a:alpha val="74000"/>
              </a:schemeClr>
            </a:solidFill>
          </p:grpSpPr>
          <p:sp>
            <p:nvSpPr>
              <p:cNvPr id="60" name="Oval 44">
                <a:extLst>
                  <a:ext uri="{FF2B5EF4-FFF2-40B4-BE49-F238E27FC236}">
                    <a16:creationId xmlns:a16="http://schemas.microsoft.com/office/drawing/2014/main" id="{F51B1A04-3079-4A02-9DE9-6CA067FB92DF}"/>
                  </a:ext>
                </a:extLst>
              </p:cNvPr>
              <p:cNvSpPr/>
              <p:nvPr/>
            </p:nvSpPr>
            <p:spPr>
              <a:xfrm>
                <a:off x="5727901" y="1346970"/>
                <a:ext cx="140636" cy="140636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755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27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+mn-ea"/>
                  <a:cs typeface="+mn-cs"/>
                </a:endParaRPr>
              </a:p>
            </p:txBody>
          </p:sp>
          <p:sp>
            <p:nvSpPr>
              <p:cNvPr id="61" name="Oval 45">
                <a:extLst>
                  <a:ext uri="{FF2B5EF4-FFF2-40B4-BE49-F238E27FC236}">
                    <a16:creationId xmlns:a16="http://schemas.microsoft.com/office/drawing/2014/main" id="{528B7BDE-C91D-404E-BC8C-A453850B7BCD}"/>
                  </a:ext>
                </a:extLst>
              </p:cNvPr>
              <p:cNvSpPr/>
              <p:nvPr/>
            </p:nvSpPr>
            <p:spPr>
              <a:xfrm>
                <a:off x="5471801" y="1586774"/>
                <a:ext cx="83771" cy="8377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755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27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+mn-ea"/>
                  <a:cs typeface="+mn-cs"/>
                </a:endParaRPr>
              </a:p>
            </p:txBody>
          </p:sp>
          <p:sp>
            <p:nvSpPr>
              <p:cNvPr id="62" name="Oval 46">
                <a:extLst>
                  <a:ext uri="{FF2B5EF4-FFF2-40B4-BE49-F238E27FC236}">
                    <a16:creationId xmlns:a16="http://schemas.microsoft.com/office/drawing/2014/main" id="{541CDB4E-5F38-4CF8-B4EA-0F484CEF2CCD}"/>
                  </a:ext>
                </a:extLst>
              </p:cNvPr>
              <p:cNvSpPr/>
              <p:nvPr/>
            </p:nvSpPr>
            <p:spPr>
              <a:xfrm>
                <a:off x="5746079" y="1717124"/>
                <a:ext cx="125324" cy="12532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755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27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+mn-ea"/>
                  <a:cs typeface="+mn-cs"/>
                </a:endParaRPr>
              </a:p>
            </p:txBody>
          </p:sp>
        </p:grpSp>
        <p:grpSp>
          <p:nvGrpSpPr>
            <p:cNvPr id="36" name="Group 47">
              <a:extLst>
                <a:ext uri="{FF2B5EF4-FFF2-40B4-BE49-F238E27FC236}">
                  <a16:creationId xmlns:a16="http://schemas.microsoft.com/office/drawing/2014/main" id="{C836F3DB-176E-43CA-95D0-672AE2AE15ED}"/>
                </a:ext>
              </a:extLst>
            </p:cNvPr>
            <p:cNvGrpSpPr/>
            <p:nvPr/>
          </p:nvGrpSpPr>
          <p:grpSpPr>
            <a:xfrm rot="18616056">
              <a:off x="6025936" y="1218815"/>
              <a:ext cx="238798" cy="296093"/>
              <a:chOff x="5471801" y="1346970"/>
              <a:chExt cx="399602" cy="495478"/>
            </a:xfrm>
            <a:solidFill>
              <a:schemeClr val="bg1">
                <a:alpha val="74000"/>
              </a:schemeClr>
            </a:solidFill>
          </p:grpSpPr>
          <p:sp>
            <p:nvSpPr>
              <p:cNvPr id="57" name="Oval 48">
                <a:extLst>
                  <a:ext uri="{FF2B5EF4-FFF2-40B4-BE49-F238E27FC236}">
                    <a16:creationId xmlns:a16="http://schemas.microsoft.com/office/drawing/2014/main" id="{33692415-2861-4CCF-8B2A-86DD99029DCE}"/>
                  </a:ext>
                </a:extLst>
              </p:cNvPr>
              <p:cNvSpPr/>
              <p:nvPr/>
            </p:nvSpPr>
            <p:spPr>
              <a:xfrm>
                <a:off x="5727901" y="1346970"/>
                <a:ext cx="140636" cy="140636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755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27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+mn-ea"/>
                  <a:cs typeface="+mn-cs"/>
                </a:endParaRPr>
              </a:p>
            </p:txBody>
          </p:sp>
          <p:sp>
            <p:nvSpPr>
              <p:cNvPr id="58" name="Oval 49">
                <a:extLst>
                  <a:ext uri="{FF2B5EF4-FFF2-40B4-BE49-F238E27FC236}">
                    <a16:creationId xmlns:a16="http://schemas.microsoft.com/office/drawing/2014/main" id="{53885B23-4874-4A80-8DE9-C2C2AEF2005E}"/>
                  </a:ext>
                </a:extLst>
              </p:cNvPr>
              <p:cNvSpPr/>
              <p:nvPr/>
            </p:nvSpPr>
            <p:spPr>
              <a:xfrm>
                <a:off x="5471801" y="1586774"/>
                <a:ext cx="83771" cy="8377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755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27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+mn-ea"/>
                  <a:cs typeface="+mn-cs"/>
                </a:endParaRPr>
              </a:p>
            </p:txBody>
          </p:sp>
          <p:sp>
            <p:nvSpPr>
              <p:cNvPr id="59" name="Oval 50">
                <a:extLst>
                  <a:ext uri="{FF2B5EF4-FFF2-40B4-BE49-F238E27FC236}">
                    <a16:creationId xmlns:a16="http://schemas.microsoft.com/office/drawing/2014/main" id="{3CE9756D-0637-43CA-9E0C-C416A0E830CE}"/>
                  </a:ext>
                </a:extLst>
              </p:cNvPr>
              <p:cNvSpPr/>
              <p:nvPr/>
            </p:nvSpPr>
            <p:spPr>
              <a:xfrm>
                <a:off x="5746079" y="1717124"/>
                <a:ext cx="125324" cy="12532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755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27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+mn-ea"/>
                  <a:cs typeface="+mn-cs"/>
                </a:endParaRPr>
              </a:p>
            </p:txBody>
          </p:sp>
        </p:grpSp>
        <p:grpSp>
          <p:nvGrpSpPr>
            <p:cNvPr id="37" name="Group 51">
              <a:extLst>
                <a:ext uri="{FF2B5EF4-FFF2-40B4-BE49-F238E27FC236}">
                  <a16:creationId xmlns:a16="http://schemas.microsoft.com/office/drawing/2014/main" id="{540B191D-1CA3-438D-B2EF-D1BD111A82C2}"/>
                </a:ext>
              </a:extLst>
            </p:cNvPr>
            <p:cNvGrpSpPr/>
            <p:nvPr/>
          </p:nvGrpSpPr>
          <p:grpSpPr>
            <a:xfrm rot="18616056">
              <a:off x="5113145" y="1204792"/>
              <a:ext cx="238798" cy="296093"/>
              <a:chOff x="5471801" y="1346970"/>
              <a:chExt cx="399602" cy="495478"/>
            </a:xfrm>
            <a:solidFill>
              <a:schemeClr val="bg1">
                <a:alpha val="74000"/>
              </a:schemeClr>
            </a:solidFill>
          </p:grpSpPr>
          <p:sp>
            <p:nvSpPr>
              <p:cNvPr id="54" name="Oval 52">
                <a:extLst>
                  <a:ext uri="{FF2B5EF4-FFF2-40B4-BE49-F238E27FC236}">
                    <a16:creationId xmlns:a16="http://schemas.microsoft.com/office/drawing/2014/main" id="{6AE18485-98C4-44B0-B385-FC0BA573776E}"/>
                  </a:ext>
                </a:extLst>
              </p:cNvPr>
              <p:cNvSpPr/>
              <p:nvPr/>
            </p:nvSpPr>
            <p:spPr>
              <a:xfrm>
                <a:off x="5727901" y="1346970"/>
                <a:ext cx="140636" cy="140636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755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27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+mn-ea"/>
                  <a:cs typeface="+mn-cs"/>
                </a:endParaRPr>
              </a:p>
            </p:txBody>
          </p:sp>
          <p:sp>
            <p:nvSpPr>
              <p:cNvPr id="55" name="Oval 53">
                <a:extLst>
                  <a:ext uri="{FF2B5EF4-FFF2-40B4-BE49-F238E27FC236}">
                    <a16:creationId xmlns:a16="http://schemas.microsoft.com/office/drawing/2014/main" id="{D8FDE936-5D0C-4F57-AE75-C2C13CF52A54}"/>
                  </a:ext>
                </a:extLst>
              </p:cNvPr>
              <p:cNvSpPr/>
              <p:nvPr/>
            </p:nvSpPr>
            <p:spPr>
              <a:xfrm>
                <a:off x="5471801" y="1586774"/>
                <a:ext cx="83771" cy="8377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755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27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+mn-ea"/>
                  <a:cs typeface="+mn-cs"/>
                </a:endParaRPr>
              </a:p>
            </p:txBody>
          </p:sp>
          <p:sp>
            <p:nvSpPr>
              <p:cNvPr id="56" name="Oval 54">
                <a:extLst>
                  <a:ext uri="{FF2B5EF4-FFF2-40B4-BE49-F238E27FC236}">
                    <a16:creationId xmlns:a16="http://schemas.microsoft.com/office/drawing/2014/main" id="{B1DA8E96-04DB-41B2-92EC-45357A885B6D}"/>
                  </a:ext>
                </a:extLst>
              </p:cNvPr>
              <p:cNvSpPr/>
              <p:nvPr/>
            </p:nvSpPr>
            <p:spPr>
              <a:xfrm>
                <a:off x="5746079" y="1717124"/>
                <a:ext cx="125324" cy="12532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755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27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+mn-ea"/>
                  <a:cs typeface="+mn-cs"/>
                </a:endParaRPr>
              </a:p>
            </p:txBody>
          </p:sp>
        </p:grpSp>
        <p:grpSp>
          <p:nvGrpSpPr>
            <p:cNvPr id="38" name="Group 55">
              <a:extLst>
                <a:ext uri="{FF2B5EF4-FFF2-40B4-BE49-F238E27FC236}">
                  <a16:creationId xmlns:a16="http://schemas.microsoft.com/office/drawing/2014/main" id="{A8F827C5-ADFE-4A3C-AED3-1B585267FACA}"/>
                </a:ext>
              </a:extLst>
            </p:cNvPr>
            <p:cNvGrpSpPr/>
            <p:nvPr/>
          </p:nvGrpSpPr>
          <p:grpSpPr>
            <a:xfrm rot="18616056">
              <a:off x="6067501" y="1824606"/>
              <a:ext cx="238872" cy="296185"/>
              <a:chOff x="5471801" y="1346970"/>
              <a:chExt cx="399602" cy="495478"/>
            </a:xfrm>
            <a:solidFill>
              <a:schemeClr val="bg1">
                <a:alpha val="74000"/>
              </a:schemeClr>
            </a:solidFill>
          </p:grpSpPr>
          <p:sp>
            <p:nvSpPr>
              <p:cNvPr id="51" name="Oval 56">
                <a:extLst>
                  <a:ext uri="{FF2B5EF4-FFF2-40B4-BE49-F238E27FC236}">
                    <a16:creationId xmlns:a16="http://schemas.microsoft.com/office/drawing/2014/main" id="{40D29082-7181-4894-99E1-2F1046FB3A8C}"/>
                  </a:ext>
                </a:extLst>
              </p:cNvPr>
              <p:cNvSpPr/>
              <p:nvPr/>
            </p:nvSpPr>
            <p:spPr>
              <a:xfrm>
                <a:off x="5727901" y="1346970"/>
                <a:ext cx="140636" cy="140636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755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27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+mn-ea"/>
                  <a:cs typeface="+mn-cs"/>
                </a:endParaRPr>
              </a:p>
            </p:txBody>
          </p:sp>
          <p:sp>
            <p:nvSpPr>
              <p:cNvPr id="52" name="Oval 57">
                <a:extLst>
                  <a:ext uri="{FF2B5EF4-FFF2-40B4-BE49-F238E27FC236}">
                    <a16:creationId xmlns:a16="http://schemas.microsoft.com/office/drawing/2014/main" id="{B275945C-E13D-4D08-B0FC-739327F3173F}"/>
                  </a:ext>
                </a:extLst>
              </p:cNvPr>
              <p:cNvSpPr/>
              <p:nvPr/>
            </p:nvSpPr>
            <p:spPr>
              <a:xfrm>
                <a:off x="5471801" y="1586774"/>
                <a:ext cx="83771" cy="8377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755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27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+mn-ea"/>
                  <a:cs typeface="+mn-cs"/>
                </a:endParaRPr>
              </a:p>
            </p:txBody>
          </p:sp>
          <p:sp>
            <p:nvSpPr>
              <p:cNvPr id="53" name="Oval 58">
                <a:extLst>
                  <a:ext uri="{FF2B5EF4-FFF2-40B4-BE49-F238E27FC236}">
                    <a16:creationId xmlns:a16="http://schemas.microsoft.com/office/drawing/2014/main" id="{B2E4683D-39AE-4613-A9BD-9F54CB1D8819}"/>
                  </a:ext>
                </a:extLst>
              </p:cNvPr>
              <p:cNvSpPr/>
              <p:nvPr/>
            </p:nvSpPr>
            <p:spPr>
              <a:xfrm>
                <a:off x="5746079" y="1717124"/>
                <a:ext cx="125324" cy="12532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755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27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+mn-ea"/>
                  <a:cs typeface="+mn-cs"/>
                </a:endParaRPr>
              </a:p>
            </p:txBody>
          </p:sp>
        </p:grpSp>
        <p:grpSp>
          <p:nvGrpSpPr>
            <p:cNvPr id="39" name="Group 59">
              <a:extLst>
                <a:ext uri="{FF2B5EF4-FFF2-40B4-BE49-F238E27FC236}">
                  <a16:creationId xmlns:a16="http://schemas.microsoft.com/office/drawing/2014/main" id="{C60029CF-DD3E-4F0A-9F24-96F7214EFCBC}"/>
                </a:ext>
              </a:extLst>
            </p:cNvPr>
            <p:cNvGrpSpPr/>
            <p:nvPr/>
          </p:nvGrpSpPr>
          <p:grpSpPr>
            <a:xfrm rot="18616056">
              <a:off x="6494365" y="942063"/>
              <a:ext cx="238872" cy="296185"/>
              <a:chOff x="5471801" y="1346970"/>
              <a:chExt cx="399602" cy="495478"/>
            </a:xfrm>
            <a:solidFill>
              <a:schemeClr val="bg1">
                <a:alpha val="74000"/>
              </a:schemeClr>
            </a:solidFill>
          </p:grpSpPr>
          <p:sp>
            <p:nvSpPr>
              <p:cNvPr id="48" name="Oval 60">
                <a:extLst>
                  <a:ext uri="{FF2B5EF4-FFF2-40B4-BE49-F238E27FC236}">
                    <a16:creationId xmlns:a16="http://schemas.microsoft.com/office/drawing/2014/main" id="{CFAE9C64-F95B-459B-AE70-D274E4624D55}"/>
                  </a:ext>
                </a:extLst>
              </p:cNvPr>
              <p:cNvSpPr/>
              <p:nvPr/>
            </p:nvSpPr>
            <p:spPr>
              <a:xfrm>
                <a:off x="5727901" y="1346970"/>
                <a:ext cx="140636" cy="140636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755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27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+mn-ea"/>
                  <a:cs typeface="+mn-cs"/>
                </a:endParaRPr>
              </a:p>
            </p:txBody>
          </p:sp>
          <p:sp>
            <p:nvSpPr>
              <p:cNvPr id="49" name="Oval 61">
                <a:extLst>
                  <a:ext uri="{FF2B5EF4-FFF2-40B4-BE49-F238E27FC236}">
                    <a16:creationId xmlns:a16="http://schemas.microsoft.com/office/drawing/2014/main" id="{AA784C52-AAF5-428F-967C-12326BCA1B95}"/>
                  </a:ext>
                </a:extLst>
              </p:cNvPr>
              <p:cNvSpPr/>
              <p:nvPr/>
            </p:nvSpPr>
            <p:spPr>
              <a:xfrm>
                <a:off x="5471801" y="1586774"/>
                <a:ext cx="83771" cy="8377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755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27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+mn-ea"/>
                  <a:cs typeface="+mn-cs"/>
                </a:endParaRPr>
              </a:p>
            </p:txBody>
          </p:sp>
          <p:sp>
            <p:nvSpPr>
              <p:cNvPr id="50" name="Oval 62">
                <a:extLst>
                  <a:ext uri="{FF2B5EF4-FFF2-40B4-BE49-F238E27FC236}">
                    <a16:creationId xmlns:a16="http://schemas.microsoft.com/office/drawing/2014/main" id="{0FF418CE-BB23-4629-8033-4FEEE3870F46}"/>
                  </a:ext>
                </a:extLst>
              </p:cNvPr>
              <p:cNvSpPr/>
              <p:nvPr/>
            </p:nvSpPr>
            <p:spPr>
              <a:xfrm>
                <a:off x="5746079" y="1717124"/>
                <a:ext cx="125324" cy="12532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755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27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+mn-ea"/>
                  <a:cs typeface="+mn-cs"/>
                </a:endParaRPr>
              </a:p>
            </p:txBody>
          </p:sp>
        </p:grpSp>
        <p:grpSp>
          <p:nvGrpSpPr>
            <p:cNvPr id="40" name="Group 63">
              <a:extLst>
                <a:ext uri="{FF2B5EF4-FFF2-40B4-BE49-F238E27FC236}">
                  <a16:creationId xmlns:a16="http://schemas.microsoft.com/office/drawing/2014/main" id="{8CD7C13B-36B0-4326-9057-7F2E1BE6204F}"/>
                </a:ext>
              </a:extLst>
            </p:cNvPr>
            <p:cNvGrpSpPr/>
            <p:nvPr/>
          </p:nvGrpSpPr>
          <p:grpSpPr>
            <a:xfrm rot="18616056">
              <a:off x="5389314" y="647499"/>
              <a:ext cx="238872" cy="296185"/>
              <a:chOff x="5471801" y="1346970"/>
              <a:chExt cx="399602" cy="495478"/>
            </a:xfrm>
            <a:solidFill>
              <a:schemeClr val="bg1">
                <a:alpha val="74000"/>
              </a:schemeClr>
            </a:solidFill>
          </p:grpSpPr>
          <p:sp>
            <p:nvSpPr>
              <p:cNvPr id="45" name="Oval 64">
                <a:extLst>
                  <a:ext uri="{FF2B5EF4-FFF2-40B4-BE49-F238E27FC236}">
                    <a16:creationId xmlns:a16="http://schemas.microsoft.com/office/drawing/2014/main" id="{DAB2A54E-610E-4F09-95CA-39698305AA88}"/>
                  </a:ext>
                </a:extLst>
              </p:cNvPr>
              <p:cNvSpPr/>
              <p:nvPr/>
            </p:nvSpPr>
            <p:spPr>
              <a:xfrm>
                <a:off x="5727901" y="1346970"/>
                <a:ext cx="140636" cy="140636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755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27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+mn-ea"/>
                  <a:cs typeface="+mn-cs"/>
                </a:endParaRPr>
              </a:p>
            </p:txBody>
          </p:sp>
          <p:sp>
            <p:nvSpPr>
              <p:cNvPr id="46" name="Oval 65">
                <a:extLst>
                  <a:ext uri="{FF2B5EF4-FFF2-40B4-BE49-F238E27FC236}">
                    <a16:creationId xmlns:a16="http://schemas.microsoft.com/office/drawing/2014/main" id="{69FAF84F-0DA3-45DF-913E-F7EC10528E1E}"/>
                  </a:ext>
                </a:extLst>
              </p:cNvPr>
              <p:cNvSpPr/>
              <p:nvPr/>
            </p:nvSpPr>
            <p:spPr>
              <a:xfrm>
                <a:off x="5471801" y="1586774"/>
                <a:ext cx="83771" cy="8377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755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27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+mn-ea"/>
                  <a:cs typeface="+mn-cs"/>
                </a:endParaRPr>
              </a:p>
            </p:txBody>
          </p:sp>
          <p:sp>
            <p:nvSpPr>
              <p:cNvPr id="47" name="Oval 66">
                <a:extLst>
                  <a:ext uri="{FF2B5EF4-FFF2-40B4-BE49-F238E27FC236}">
                    <a16:creationId xmlns:a16="http://schemas.microsoft.com/office/drawing/2014/main" id="{9A189F07-42D8-4EBE-A290-E483CDD29E6C}"/>
                  </a:ext>
                </a:extLst>
              </p:cNvPr>
              <p:cNvSpPr/>
              <p:nvPr/>
            </p:nvSpPr>
            <p:spPr>
              <a:xfrm>
                <a:off x="5746079" y="1717124"/>
                <a:ext cx="125324" cy="12532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755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27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+mn-ea"/>
                  <a:cs typeface="+mn-cs"/>
                </a:endParaRPr>
              </a:p>
            </p:txBody>
          </p:sp>
        </p:grpSp>
        <p:grpSp>
          <p:nvGrpSpPr>
            <p:cNvPr id="41" name="Group 67">
              <a:extLst>
                <a:ext uri="{FF2B5EF4-FFF2-40B4-BE49-F238E27FC236}">
                  <a16:creationId xmlns:a16="http://schemas.microsoft.com/office/drawing/2014/main" id="{871B0E39-D373-4BC1-B112-3AAB0B813619}"/>
                </a:ext>
              </a:extLst>
            </p:cNvPr>
            <p:cNvGrpSpPr/>
            <p:nvPr/>
          </p:nvGrpSpPr>
          <p:grpSpPr>
            <a:xfrm rot="18616056">
              <a:off x="7093629" y="1030920"/>
              <a:ext cx="238872" cy="296185"/>
              <a:chOff x="5471801" y="1346970"/>
              <a:chExt cx="399602" cy="495478"/>
            </a:xfrm>
            <a:solidFill>
              <a:schemeClr val="bg1">
                <a:alpha val="74000"/>
              </a:schemeClr>
            </a:solidFill>
          </p:grpSpPr>
          <p:sp>
            <p:nvSpPr>
              <p:cNvPr id="42" name="Oval 68">
                <a:extLst>
                  <a:ext uri="{FF2B5EF4-FFF2-40B4-BE49-F238E27FC236}">
                    <a16:creationId xmlns:a16="http://schemas.microsoft.com/office/drawing/2014/main" id="{6878ADF0-689A-4B3F-9858-807BF3DCCCF0}"/>
                  </a:ext>
                </a:extLst>
              </p:cNvPr>
              <p:cNvSpPr/>
              <p:nvPr/>
            </p:nvSpPr>
            <p:spPr>
              <a:xfrm>
                <a:off x="5727901" y="1346970"/>
                <a:ext cx="140636" cy="140636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755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27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+mn-ea"/>
                  <a:cs typeface="+mn-cs"/>
                </a:endParaRPr>
              </a:p>
            </p:txBody>
          </p:sp>
          <p:sp>
            <p:nvSpPr>
              <p:cNvPr id="43" name="Oval 69">
                <a:extLst>
                  <a:ext uri="{FF2B5EF4-FFF2-40B4-BE49-F238E27FC236}">
                    <a16:creationId xmlns:a16="http://schemas.microsoft.com/office/drawing/2014/main" id="{3A38BE84-888F-4327-A65C-BC0514B4825D}"/>
                  </a:ext>
                </a:extLst>
              </p:cNvPr>
              <p:cNvSpPr/>
              <p:nvPr/>
            </p:nvSpPr>
            <p:spPr>
              <a:xfrm>
                <a:off x="5471801" y="1586774"/>
                <a:ext cx="83771" cy="8377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755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27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+mn-ea"/>
                  <a:cs typeface="+mn-cs"/>
                </a:endParaRPr>
              </a:p>
            </p:txBody>
          </p:sp>
          <p:sp>
            <p:nvSpPr>
              <p:cNvPr id="44" name="Oval 70">
                <a:extLst>
                  <a:ext uri="{FF2B5EF4-FFF2-40B4-BE49-F238E27FC236}">
                    <a16:creationId xmlns:a16="http://schemas.microsoft.com/office/drawing/2014/main" id="{F3DDA0F9-087B-48F9-96AE-3ED15F276F5B}"/>
                  </a:ext>
                </a:extLst>
              </p:cNvPr>
              <p:cNvSpPr/>
              <p:nvPr/>
            </p:nvSpPr>
            <p:spPr>
              <a:xfrm>
                <a:off x="5746079" y="1717124"/>
                <a:ext cx="125324" cy="12532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755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27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맑은 고딕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" name="그룹 1"/>
          <p:cNvGrpSpPr/>
          <p:nvPr userDrawn="1"/>
        </p:nvGrpSpPr>
        <p:grpSpPr>
          <a:xfrm>
            <a:off x="-22341" y="195007"/>
            <a:ext cx="10406180" cy="5148188"/>
            <a:chOff x="-22998" y="0"/>
            <a:chExt cx="12214997" cy="6893478"/>
          </a:xfrm>
        </p:grpSpPr>
        <p:sp>
          <p:nvSpPr>
            <p:cNvPr id="6" name="Freeform: Shape 2">
              <a:extLst>
                <a:ext uri="{FF2B5EF4-FFF2-40B4-BE49-F238E27FC236}">
                  <a16:creationId xmlns:a16="http://schemas.microsoft.com/office/drawing/2014/main" id="{A84AF8F2-17DE-4522-A035-25DDA4A825BE}"/>
                </a:ext>
              </a:extLst>
            </p:cNvPr>
            <p:cNvSpPr/>
            <p:nvPr userDrawn="1"/>
          </p:nvSpPr>
          <p:spPr>
            <a:xfrm>
              <a:off x="-1" y="5842338"/>
              <a:ext cx="12192000" cy="1051140"/>
            </a:xfrm>
            <a:custGeom>
              <a:avLst/>
              <a:gdLst>
                <a:gd name="connsiteX0" fmla="*/ 7970293 w 12192000"/>
                <a:gd name="connsiteY0" fmla="*/ 376 h 1563045"/>
                <a:gd name="connsiteX1" fmla="*/ 11368585 w 12192000"/>
                <a:gd name="connsiteY1" fmla="*/ 628173 h 1563045"/>
                <a:gd name="connsiteX2" fmla="*/ 12082747 w 12192000"/>
                <a:gd name="connsiteY2" fmla="*/ 590855 h 1563045"/>
                <a:gd name="connsiteX3" fmla="*/ 12192000 w 12192000"/>
                <a:gd name="connsiteY3" fmla="*/ 573029 h 1563045"/>
                <a:gd name="connsiteX4" fmla="*/ 12192000 w 12192000"/>
                <a:gd name="connsiteY4" fmla="*/ 1563045 h 1563045"/>
                <a:gd name="connsiteX5" fmla="*/ 0 w 12192000"/>
                <a:gd name="connsiteY5" fmla="*/ 1563045 h 1563045"/>
                <a:gd name="connsiteX6" fmla="*/ 0 w 12192000"/>
                <a:gd name="connsiteY6" fmla="*/ 362829 h 1563045"/>
                <a:gd name="connsiteX7" fmla="*/ 141276 w 12192000"/>
                <a:gd name="connsiteY7" fmla="*/ 376224 h 1563045"/>
                <a:gd name="connsiteX8" fmla="*/ 3002507 w 12192000"/>
                <a:gd name="connsiteY8" fmla="*/ 532639 h 1563045"/>
                <a:gd name="connsiteX9" fmla="*/ 7970293 w 12192000"/>
                <a:gd name="connsiteY9" fmla="*/ 376 h 1563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192000" h="1563045">
                  <a:moveTo>
                    <a:pt x="7970293" y="376"/>
                  </a:moveTo>
                  <a:cubicBezTo>
                    <a:pt x="9364639" y="16298"/>
                    <a:pt x="10410967" y="587230"/>
                    <a:pt x="11368585" y="628173"/>
                  </a:cubicBezTo>
                  <a:cubicBezTo>
                    <a:pt x="11607989" y="638409"/>
                    <a:pt x="11849242" y="621918"/>
                    <a:pt x="12082747" y="590855"/>
                  </a:cubicBezTo>
                  <a:lnTo>
                    <a:pt x="12192000" y="573029"/>
                  </a:lnTo>
                  <a:lnTo>
                    <a:pt x="12192000" y="1563045"/>
                  </a:lnTo>
                  <a:lnTo>
                    <a:pt x="0" y="1563045"/>
                  </a:lnTo>
                  <a:lnTo>
                    <a:pt x="0" y="362829"/>
                  </a:lnTo>
                  <a:lnTo>
                    <a:pt x="141276" y="376224"/>
                  </a:lnTo>
                  <a:cubicBezTo>
                    <a:pt x="866633" y="449474"/>
                    <a:pt x="1949924" y="573582"/>
                    <a:pt x="3002507" y="532639"/>
                  </a:cubicBezTo>
                  <a:cubicBezTo>
                    <a:pt x="4405953" y="478048"/>
                    <a:pt x="6575947" y="-15546"/>
                    <a:pt x="7970293" y="3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755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27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+mn-ea"/>
                <a:cs typeface="+mn-cs"/>
              </a:endParaRPr>
            </a:p>
          </p:txBody>
        </p:sp>
        <p:sp>
          <p:nvSpPr>
            <p:cNvPr id="10" name="Freeform: Shape 3">
              <a:extLst>
                <a:ext uri="{FF2B5EF4-FFF2-40B4-BE49-F238E27FC236}">
                  <a16:creationId xmlns:a16="http://schemas.microsoft.com/office/drawing/2014/main" id="{DDC36D58-E660-49E1-83B1-46276A798B33}"/>
                </a:ext>
              </a:extLst>
            </p:cNvPr>
            <p:cNvSpPr/>
            <p:nvPr userDrawn="1"/>
          </p:nvSpPr>
          <p:spPr>
            <a:xfrm>
              <a:off x="-22998" y="0"/>
              <a:ext cx="1859154" cy="1872908"/>
            </a:xfrm>
            <a:custGeom>
              <a:avLst/>
              <a:gdLst>
                <a:gd name="connsiteX0" fmla="*/ 891042 w 1859154"/>
                <a:gd name="connsiteY0" fmla="*/ 952782 h 1872908"/>
                <a:gd name="connsiteX1" fmla="*/ 844255 w 1859154"/>
                <a:gd name="connsiteY1" fmla="*/ 995969 h 1872908"/>
                <a:gd name="connsiteX2" fmla="*/ 822661 w 1859154"/>
                <a:gd name="connsiteY2" fmla="*/ 1004367 h 1872908"/>
                <a:gd name="connsiteX3" fmla="*/ 759081 w 1859154"/>
                <a:gd name="connsiteY3" fmla="*/ 1005566 h 1872908"/>
                <a:gd name="connsiteX4" fmla="*/ 760280 w 1859154"/>
                <a:gd name="connsiteY4" fmla="*/ 1192711 h 1872908"/>
                <a:gd name="connsiteX5" fmla="*/ 971417 w 1859154"/>
                <a:gd name="connsiteY5" fmla="*/ 1341466 h 1872908"/>
                <a:gd name="connsiteX6" fmla="*/ 1020603 w 1859154"/>
                <a:gd name="connsiteY6" fmla="*/ 1088342 h 1872908"/>
                <a:gd name="connsiteX7" fmla="*/ 562339 w 1859154"/>
                <a:gd name="connsiteY7" fmla="*/ 950382 h 1872908"/>
                <a:gd name="connsiteX8" fmla="*/ 415983 w 1859154"/>
                <a:gd name="connsiteY8" fmla="*/ 1090740 h 1872908"/>
                <a:gd name="connsiteX9" fmla="*/ 468767 w 1859154"/>
                <a:gd name="connsiteY9" fmla="*/ 1352264 h 1872908"/>
                <a:gd name="connsiteX10" fmla="*/ 693100 w 1859154"/>
                <a:gd name="connsiteY10" fmla="*/ 1210705 h 1872908"/>
                <a:gd name="connsiteX11" fmla="*/ 693100 w 1859154"/>
                <a:gd name="connsiteY11" fmla="*/ 1005566 h 1872908"/>
                <a:gd name="connsiteX12" fmla="*/ 629519 w 1859154"/>
                <a:gd name="connsiteY12" fmla="*/ 1006765 h 1872908"/>
                <a:gd name="connsiteX13" fmla="*/ 605526 w 1859154"/>
                <a:gd name="connsiteY13" fmla="*/ 997168 h 1872908"/>
                <a:gd name="connsiteX14" fmla="*/ 1195752 w 1859154"/>
                <a:gd name="connsiteY14" fmla="*/ 775234 h 1872908"/>
                <a:gd name="connsiteX15" fmla="*/ 993011 w 1859154"/>
                <a:gd name="connsiteY15" fmla="*/ 776433 h 1872908"/>
                <a:gd name="connsiteX16" fmla="*/ 994211 w 1859154"/>
                <a:gd name="connsiteY16" fmla="*/ 840015 h 1872908"/>
                <a:gd name="connsiteX17" fmla="*/ 983414 w 1859154"/>
                <a:gd name="connsiteY17" fmla="*/ 864008 h 1872908"/>
                <a:gd name="connsiteX18" fmla="*/ 936628 w 1859154"/>
                <a:gd name="connsiteY18" fmla="*/ 907195 h 1872908"/>
                <a:gd name="connsiteX19" fmla="*/ 1078186 w 1859154"/>
                <a:gd name="connsiteY19" fmla="*/ 1054751 h 1872908"/>
                <a:gd name="connsiteX20" fmla="*/ 1337310 w 1859154"/>
                <a:gd name="connsiteY20" fmla="*/ 1000767 h 1872908"/>
                <a:gd name="connsiteX21" fmla="*/ 467567 w 1859154"/>
                <a:gd name="connsiteY21" fmla="*/ 771635 h 1872908"/>
                <a:gd name="connsiteX22" fmla="*/ 280422 w 1859154"/>
                <a:gd name="connsiteY22" fmla="*/ 772835 h 1872908"/>
                <a:gd name="connsiteX23" fmla="*/ 130467 w 1859154"/>
                <a:gd name="connsiteY23" fmla="*/ 982772 h 1872908"/>
                <a:gd name="connsiteX24" fmla="*/ 383592 w 1859154"/>
                <a:gd name="connsiteY24" fmla="*/ 1030758 h 1872908"/>
                <a:gd name="connsiteX25" fmla="*/ 384792 w 1859154"/>
                <a:gd name="connsiteY25" fmla="*/ 1031958 h 1872908"/>
                <a:gd name="connsiteX26" fmla="*/ 520351 w 1859154"/>
                <a:gd name="connsiteY26" fmla="*/ 903596 h 1872908"/>
                <a:gd name="connsiteX27" fmla="*/ 477164 w 1859154"/>
                <a:gd name="connsiteY27" fmla="*/ 856810 h 1872908"/>
                <a:gd name="connsiteX28" fmla="*/ 468767 w 1859154"/>
                <a:gd name="connsiteY28" fmla="*/ 835217 h 1872908"/>
                <a:gd name="connsiteX29" fmla="*/ 814265 w 1859154"/>
                <a:gd name="connsiteY29" fmla="*/ 541303 h 1872908"/>
                <a:gd name="connsiteX30" fmla="*/ 763880 w 1859154"/>
                <a:gd name="connsiteY30" fmla="*/ 542503 h 1872908"/>
                <a:gd name="connsiteX31" fmla="*/ 700298 w 1859154"/>
                <a:gd name="connsiteY31" fmla="*/ 543702 h 1872908"/>
                <a:gd name="connsiteX32" fmla="*/ 649913 w 1859154"/>
                <a:gd name="connsiteY32" fmla="*/ 544903 h 1872908"/>
                <a:gd name="connsiteX33" fmla="*/ 612724 w 1859154"/>
                <a:gd name="connsiteY33" fmla="*/ 579692 h 1872908"/>
                <a:gd name="connsiteX34" fmla="*/ 565938 w 1859154"/>
                <a:gd name="connsiteY34" fmla="*/ 622879 h 1872908"/>
                <a:gd name="connsiteX35" fmla="*/ 528749 w 1859154"/>
                <a:gd name="connsiteY35" fmla="*/ 657669 h 1872908"/>
                <a:gd name="connsiteX36" fmla="*/ 529948 w 1859154"/>
                <a:gd name="connsiteY36" fmla="*/ 708054 h 1872908"/>
                <a:gd name="connsiteX37" fmla="*/ 531148 w 1859154"/>
                <a:gd name="connsiteY37" fmla="*/ 771635 h 1872908"/>
                <a:gd name="connsiteX38" fmla="*/ 532347 w 1859154"/>
                <a:gd name="connsiteY38" fmla="*/ 822020 h 1872908"/>
                <a:gd name="connsiteX39" fmla="*/ 567138 w 1859154"/>
                <a:gd name="connsiteY39" fmla="*/ 859209 h 1872908"/>
                <a:gd name="connsiteX40" fmla="*/ 610325 w 1859154"/>
                <a:gd name="connsiteY40" fmla="*/ 905995 h 1872908"/>
                <a:gd name="connsiteX41" fmla="*/ 645114 w 1859154"/>
                <a:gd name="connsiteY41" fmla="*/ 943185 h 1872908"/>
                <a:gd name="connsiteX42" fmla="*/ 695499 w 1859154"/>
                <a:gd name="connsiteY42" fmla="*/ 941984 h 1872908"/>
                <a:gd name="connsiteX43" fmla="*/ 759081 w 1859154"/>
                <a:gd name="connsiteY43" fmla="*/ 940785 h 1872908"/>
                <a:gd name="connsiteX44" fmla="*/ 809466 w 1859154"/>
                <a:gd name="connsiteY44" fmla="*/ 939585 h 1872908"/>
                <a:gd name="connsiteX45" fmla="*/ 846654 w 1859154"/>
                <a:gd name="connsiteY45" fmla="*/ 904796 h 1872908"/>
                <a:gd name="connsiteX46" fmla="*/ 893441 w 1859154"/>
                <a:gd name="connsiteY46" fmla="*/ 861609 h 1872908"/>
                <a:gd name="connsiteX47" fmla="*/ 930629 w 1859154"/>
                <a:gd name="connsiteY47" fmla="*/ 826818 h 1872908"/>
                <a:gd name="connsiteX48" fmla="*/ 929430 w 1859154"/>
                <a:gd name="connsiteY48" fmla="*/ 776433 h 1872908"/>
                <a:gd name="connsiteX49" fmla="*/ 928230 w 1859154"/>
                <a:gd name="connsiteY49" fmla="*/ 712853 h 1872908"/>
                <a:gd name="connsiteX50" fmla="*/ 925831 w 1859154"/>
                <a:gd name="connsiteY50" fmla="*/ 662468 h 1872908"/>
                <a:gd name="connsiteX51" fmla="*/ 892241 w 1859154"/>
                <a:gd name="connsiteY51" fmla="*/ 625278 h 1872908"/>
                <a:gd name="connsiteX52" fmla="*/ 849054 w 1859154"/>
                <a:gd name="connsiteY52" fmla="*/ 578493 h 1872908"/>
                <a:gd name="connsiteX53" fmla="*/ 1074587 w 1859154"/>
                <a:gd name="connsiteY53" fmla="*/ 451330 h 1872908"/>
                <a:gd name="connsiteX54" fmla="*/ 939028 w 1859154"/>
                <a:gd name="connsiteY54" fmla="*/ 580892 h 1872908"/>
                <a:gd name="connsiteX55" fmla="*/ 982215 w 1859154"/>
                <a:gd name="connsiteY55" fmla="*/ 627677 h 1872908"/>
                <a:gd name="connsiteX56" fmla="*/ 990612 w 1859154"/>
                <a:gd name="connsiteY56" fmla="*/ 649271 h 1872908"/>
                <a:gd name="connsiteX57" fmla="*/ 991812 w 1859154"/>
                <a:gd name="connsiteY57" fmla="*/ 714052 h 1872908"/>
                <a:gd name="connsiteX58" fmla="*/ 1177756 w 1859154"/>
                <a:gd name="connsiteY58" fmla="*/ 712853 h 1872908"/>
                <a:gd name="connsiteX59" fmla="*/ 1178957 w 1859154"/>
                <a:gd name="connsiteY59" fmla="*/ 710454 h 1872908"/>
                <a:gd name="connsiteX60" fmla="*/ 1327712 w 1859154"/>
                <a:gd name="connsiteY60" fmla="*/ 500515 h 1872908"/>
                <a:gd name="connsiteX61" fmla="*/ 382393 w 1859154"/>
                <a:gd name="connsiteY61" fmla="*/ 429737 h 1872908"/>
                <a:gd name="connsiteX62" fmla="*/ 120870 w 1859154"/>
                <a:gd name="connsiteY62" fmla="*/ 483720 h 1872908"/>
                <a:gd name="connsiteX63" fmla="*/ 263627 w 1859154"/>
                <a:gd name="connsiteY63" fmla="*/ 709253 h 1872908"/>
                <a:gd name="connsiteX64" fmla="*/ 466368 w 1859154"/>
                <a:gd name="connsiteY64" fmla="*/ 708054 h 1872908"/>
                <a:gd name="connsiteX65" fmla="*/ 465167 w 1859154"/>
                <a:gd name="connsiteY65" fmla="*/ 643273 h 1872908"/>
                <a:gd name="connsiteX66" fmla="*/ 475965 w 1859154"/>
                <a:gd name="connsiteY66" fmla="*/ 619280 h 1872908"/>
                <a:gd name="connsiteX67" fmla="*/ 522750 w 1859154"/>
                <a:gd name="connsiteY67" fmla="*/ 576093 h 1872908"/>
                <a:gd name="connsiteX68" fmla="*/ 489160 w 1859154"/>
                <a:gd name="connsiteY68" fmla="*/ 145420 h 1872908"/>
                <a:gd name="connsiteX69" fmla="*/ 439975 w 1859154"/>
                <a:gd name="connsiteY69" fmla="*/ 398546 h 1872908"/>
                <a:gd name="connsiteX70" fmla="*/ 568337 w 1859154"/>
                <a:gd name="connsiteY70" fmla="*/ 535305 h 1872908"/>
                <a:gd name="connsiteX71" fmla="*/ 613923 w 1859154"/>
                <a:gd name="connsiteY71" fmla="*/ 492118 h 1872908"/>
                <a:gd name="connsiteX72" fmla="*/ 623520 w 1859154"/>
                <a:gd name="connsiteY72" fmla="*/ 484920 h 1872908"/>
                <a:gd name="connsiteX73" fmla="*/ 635517 w 1859154"/>
                <a:gd name="connsiteY73" fmla="*/ 482521 h 1872908"/>
                <a:gd name="connsiteX74" fmla="*/ 699099 w 1859154"/>
                <a:gd name="connsiteY74" fmla="*/ 481321 h 1872908"/>
                <a:gd name="connsiteX75" fmla="*/ 699099 w 1859154"/>
                <a:gd name="connsiteY75" fmla="*/ 292977 h 1872908"/>
                <a:gd name="connsiteX76" fmla="*/ 988212 w 1859154"/>
                <a:gd name="connsiteY76" fmla="*/ 134624 h 1872908"/>
                <a:gd name="connsiteX77" fmla="*/ 762679 w 1859154"/>
                <a:gd name="connsiteY77" fmla="*/ 276182 h 1872908"/>
                <a:gd name="connsiteX78" fmla="*/ 763880 w 1859154"/>
                <a:gd name="connsiteY78" fmla="*/ 478921 h 1872908"/>
                <a:gd name="connsiteX79" fmla="*/ 828660 w 1859154"/>
                <a:gd name="connsiteY79" fmla="*/ 477722 h 1872908"/>
                <a:gd name="connsiteX80" fmla="*/ 852653 w 1859154"/>
                <a:gd name="connsiteY80" fmla="*/ 487320 h 1872908"/>
                <a:gd name="connsiteX81" fmla="*/ 897039 w 1859154"/>
                <a:gd name="connsiteY81" fmla="*/ 535305 h 1872908"/>
                <a:gd name="connsiteX82" fmla="*/ 1043396 w 1859154"/>
                <a:gd name="connsiteY82" fmla="*/ 394946 h 1872908"/>
                <a:gd name="connsiteX83" fmla="*/ 0 w 1859154"/>
                <a:gd name="connsiteY83" fmla="*/ 0 h 1872908"/>
                <a:gd name="connsiteX84" fmla="*/ 96606 w 1859154"/>
                <a:gd name="connsiteY84" fmla="*/ 0 h 1872908"/>
                <a:gd name="connsiteX85" fmla="*/ 89679 w 1859154"/>
                <a:gd name="connsiteY85" fmla="*/ 32654 h 1872908"/>
                <a:gd name="connsiteX86" fmla="*/ 144863 w 1859154"/>
                <a:gd name="connsiteY86" fmla="*/ 87837 h 1872908"/>
                <a:gd name="connsiteX87" fmla="*/ 163248 w 1859154"/>
                <a:gd name="connsiteY87" fmla="*/ 0 h 1872908"/>
                <a:gd name="connsiteX88" fmla="*/ 228631 w 1859154"/>
                <a:gd name="connsiteY88" fmla="*/ 0 h 1872908"/>
                <a:gd name="connsiteX89" fmla="*/ 196447 w 1859154"/>
                <a:gd name="connsiteY89" fmla="*/ 145420 h 1872908"/>
                <a:gd name="connsiteX90" fmla="*/ 262428 w 1859154"/>
                <a:gd name="connsiteY90" fmla="*/ 213801 h 1872908"/>
                <a:gd name="connsiteX91" fmla="*/ 302016 w 1859154"/>
                <a:gd name="connsiteY91" fmla="*/ 31455 h 1872908"/>
                <a:gd name="connsiteX92" fmla="*/ 321210 w 1859154"/>
                <a:gd name="connsiteY92" fmla="*/ 8661 h 1872908"/>
                <a:gd name="connsiteX93" fmla="*/ 340404 w 1859154"/>
                <a:gd name="connsiteY93" fmla="*/ 7462 h 1872908"/>
                <a:gd name="connsiteX94" fmla="*/ 364397 w 1859154"/>
                <a:gd name="connsiteY94" fmla="*/ 45850 h 1872908"/>
                <a:gd name="connsiteX95" fmla="*/ 316411 w 1859154"/>
                <a:gd name="connsiteY95" fmla="*/ 271384 h 1872908"/>
                <a:gd name="connsiteX96" fmla="*/ 384792 w 1859154"/>
                <a:gd name="connsiteY96" fmla="*/ 342162 h 1872908"/>
                <a:gd name="connsiteX97" fmla="*/ 435177 w 1859154"/>
                <a:gd name="connsiteY97" fmla="*/ 84239 h 1872908"/>
                <a:gd name="connsiteX98" fmla="*/ 454371 w 1859154"/>
                <a:gd name="connsiteY98" fmla="*/ 61445 h 1872908"/>
                <a:gd name="connsiteX99" fmla="*/ 484362 w 1859154"/>
                <a:gd name="connsiteY99" fmla="*/ 63844 h 1872908"/>
                <a:gd name="connsiteX100" fmla="*/ 700298 w 1859154"/>
                <a:gd name="connsiteY100" fmla="*/ 215000 h 1872908"/>
                <a:gd name="connsiteX101" fmla="*/ 700298 w 1859154"/>
                <a:gd name="connsiteY101" fmla="*/ 115430 h 1872908"/>
                <a:gd name="connsiteX102" fmla="*/ 527694 w 1859154"/>
                <a:gd name="connsiteY102" fmla="*/ 0 h 1872908"/>
                <a:gd name="connsiteX103" fmla="*/ 641786 w 1859154"/>
                <a:gd name="connsiteY103" fmla="*/ 0 h 1872908"/>
                <a:gd name="connsiteX104" fmla="*/ 699099 w 1859154"/>
                <a:gd name="connsiteY104" fmla="*/ 38653 h 1872908"/>
                <a:gd name="connsiteX105" fmla="*/ 699099 w 1859154"/>
                <a:gd name="connsiteY105" fmla="*/ 0 h 1872908"/>
                <a:gd name="connsiteX106" fmla="*/ 763880 w 1859154"/>
                <a:gd name="connsiteY106" fmla="*/ 0 h 1872908"/>
                <a:gd name="connsiteX107" fmla="*/ 763880 w 1859154"/>
                <a:gd name="connsiteY107" fmla="*/ 29055 h 1872908"/>
                <a:gd name="connsiteX108" fmla="*/ 810903 w 1859154"/>
                <a:gd name="connsiteY108" fmla="*/ 0 h 1872908"/>
                <a:gd name="connsiteX109" fmla="*/ 933692 w 1859154"/>
                <a:gd name="connsiteY109" fmla="*/ 0 h 1872908"/>
                <a:gd name="connsiteX110" fmla="*/ 762679 w 1859154"/>
                <a:gd name="connsiteY110" fmla="*/ 104632 h 1872908"/>
                <a:gd name="connsiteX111" fmla="*/ 763880 w 1859154"/>
                <a:gd name="connsiteY111" fmla="*/ 199405 h 1872908"/>
                <a:gd name="connsiteX112" fmla="*/ 993011 w 1859154"/>
                <a:gd name="connsiteY112" fmla="*/ 54247 h 1872908"/>
                <a:gd name="connsiteX113" fmla="*/ 1023003 w 1859154"/>
                <a:gd name="connsiteY113" fmla="*/ 51848 h 1872908"/>
                <a:gd name="connsiteX114" fmla="*/ 1042197 w 1859154"/>
                <a:gd name="connsiteY114" fmla="*/ 74642 h 1872908"/>
                <a:gd name="connsiteX115" fmla="*/ 1097381 w 1859154"/>
                <a:gd name="connsiteY115" fmla="*/ 338564 h 1872908"/>
                <a:gd name="connsiteX116" fmla="*/ 1165760 w 1859154"/>
                <a:gd name="connsiteY116" fmla="*/ 272583 h 1872908"/>
                <a:gd name="connsiteX117" fmla="*/ 1120173 w 1859154"/>
                <a:gd name="connsiteY117" fmla="*/ 63844 h 1872908"/>
                <a:gd name="connsiteX118" fmla="*/ 1139368 w 1859154"/>
                <a:gd name="connsiteY118" fmla="*/ 27855 h 1872908"/>
                <a:gd name="connsiteX119" fmla="*/ 1144166 w 1859154"/>
                <a:gd name="connsiteY119" fmla="*/ 26656 h 1872908"/>
                <a:gd name="connsiteX120" fmla="*/ 1182555 w 1859154"/>
                <a:gd name="connsiteY120" fmla="*/ 50649 h 1872908"/>
                <a:gd name="connsiteX121" fmla="*/ 1219744 w 1859154"/>
                <a:gd name="connsiteY121" fmla="*/ 220999 h 1872908"/>
                <a:gd name="connsiteX122" fmla="*/ 1276127 w 1859154"/>
                <a:gd name="connsiteY122" fmla="*/ 167014 h 1872908"/>
                <a:gd name="connsiteX123" fmla="*/ 1240138 w 1859154"/>
                <a:gd name="connsiteY123" fmla="*/ 5063 h 1872908"/>
                <a:gd name="connsiteX124" fmla="*/ 1240806 w 1859154"/>
                <a:gd name="connsiteY124" fmla="*/ 0 h 1872908"/>
                <a:gd name="connsiteX125" fmla="*/ 1304318 w 1859154"/>
                <a:gd name="connsiteY125" fmla="*/ 0 h 1872908"/>
                <a:gd name="connsiteX126" fmla="*/ 1330112 w 1859154"/>
                <a:gd name="connsiteY126" fmla="*/ 116629 h 1872908"/>
                <a:gd name="connsiteX127" fmla="*/ 1387695 w 1859154"/>
                <a:gd name="connsiteY127" fmla="*/ 61445 h 1872908"/>
                <a:gd name="connsiteX128" fmla="*/ 1374637 w 1859154"/>
                <a:gd name="connsiteY128" fmla="*/ 0 h 1872908"/>
                <a:gd name="connsiteX129" fmla="*/ 1439624 w 1859154"/>
                <a:gd name="connsiteY129" fmla="*/ 0 h 1872908"/>
                <a:gd name="connsiteX130" fmla="*/ 1441678 w 1859154"/>
                <a:gd name="connsiteY130" fmla="*/ 9861 h 1872908"/>
                <a:gd name="connsiteX131" fmla="*/ 1452227 w 1859154"/>
                <a:gd name="connsiteY131" fmla="*/ 0 h 1872908"/>
                <a:gd name="connsiteX132" fmla="*/ 1542847 w 1859154"/>
                <a:gd name="connsiteY132" fmla="*/ 0 h 1872908"/>
                <a:gd name="connsiteX133" fmla="*/ 1541249 w 1859154"/>
                <a:gd name="connsiteY133" fmla="*/ 3862 h 1872908"/>
                <a:gd name="connsiteX134" fmla="*/ 1495663 w 1859154"/>
                <a:gd name="connsiteY134" fmla="*/ 47049 h 1872908"/>
                <a:gd name="connsiteX135" fmla="*/ 1532851 w 1859154"/>
                <a:gd name="connsiteY135" fmla="*/ 55448 h 1872908"/>
                <a:gd name="connsiteX136" fmla="*/ 1556844 w 1859154"/>
                <a:gd name="connsiteY136" fmla="*/ 93836 h 1872908"/>
                <a:gd name="connsiteX137" fmla="*/ 1518455 w 1859154"/>
                <a:gd name="connsiteY137" fmla="*/ 117829 h 1872908"/>
                <a:gd name="connsiteX138" fmla="*/ 1440479 w 1859154"/>
                <a:gd name="connsiteY138" fmla="*/ 101034 h 1872908"/>
                <a:gd name="connsiteX139" fmla="*/ 1382896 w 1859154"/>
                <a:gd name="connsiteY139" fmla="*/ 156218 h 1872908"/>
                <a:gd name="connsiteX140" fmla="*/ 1487265 w 1859154"/>
                <a:gd name="connsiteY140" fmla="*/ 179010 h 1872908"/>
                <a:gd name="connsiteX141" fmla="*/ 1511257 w 1859154"/>
                <a:gd name="connsiteY141" fmla="*/ 217399 h 1872908"/>
                <a:gd name="connsiteX142" fmla="*/ 1472869 w 1859154"/>
                <a:gd name="connsiteY142" fmla="*/ 241392 h 1872908"/>
                <a:gd name="connsiteX143" fmla="*/ 1325313 w 1859154"/>
                <a:gd name="connsiteY143" fmla="*/ 210201 h 1872908"/>
                <a:gd name="connsiteX144" fmla="*/ 1258133 w 1859154"/>
                <a:gd name="connsiteY144" fmla="*/ 276182 h 1872908"/>
                <a:gd name="connsiteX145" fmla="*/ 1442878 w 1859154"/>
                <a:gd name="connsiteY145" fmla="*/ 313371 h 1872908"/>
                <a:gd name="connsiteX146" fmla="*/ 1466871 w 1859154"/>
                <a:gd name="connsiteY146" fmla="*/ 351759 h 1872908"/>
                <a:gd name="connsiteX147" fmla="*/ 1428483 w 1859154"/>
                <a:gd name="connsiteY147" fmla="*/ 375752 h 1872908"/>
                <a:gd name="connsiteX148" fmla="*/ 1204148 w 1859154"/>
                <a:gd name="connsiteY148" fmla="*/ 327766 h 1872908"/>
                <a:gd name="connsiteX149" fmla="*/ 1132170 w 1859154"/>
                <a:gd name="connsiteY149" fmla="*/ 397346 h 1872908"/>
                <a:gd name="connsiteX150" fmla="*/ 1391293 w 1859154"/>
                <a:gd name="connsiteY150" fmla="*/ 446532 h 1872908"/>
                <a:gd name="connsiteX151" fmla="*/ 1414087 w 1859154"/>
                <a:gd name="connsiteY151" fmla="*/ 465726 h 1872908"/>
                <a:gd name="connsiteX152" fmla="*/ 1411688 w 1859154"/>
                <a:gd name="connsiteY152" fmla="*/ 495716 h 1872908"/>
                <a:gd name="connsiteX153" fmla="*/ 1259332 w 1859154"/>
                <a:gd name="connsiteY153" fmla="*/ 710454 h 1872908"/>
                <a:gd name="connsiteX154" fmla="*/ 1358903 w 1859154"/>
                <a:gd name="connsiteY154" fmla="*/ 711653 h 1872908"/>
                <a:gd name="connsiteX155" fmla="*/ 1487265 w 1859154"/>
                <a:gd name="connsiteY155" fmla="*/ 519709 h 1872908"/>
                <a:gd name="connsiteX156" fmla="*/ 1501660 w 1859154"/>
                <a:gd name="connsiteY156" fmla="*/ 507713 h 1872908"/>
                <a:gd name="connsiteX157" fmla="*/ 1531652 w 1859154"/>
                <a:gd name="connsiteY157" fmla="*/ 511312 h 1872908"/>
                <a:gd name="connsiteX158" fmla="*/ 1540049 w 1859154"/>
                <a:gd name="connsiteY158" fmla="*/ 555699 h 1872908"/>
                <a:gd name="connsiteX159" fmla="*/ 1435680 w 1859154"/>
                <a:gd name="connsiteY159" fmla="*/ 710454 h 1872908"/>
                <a:gd name="connsiteX160" fmla="*/ 1530452 w 1859154"/>
                <a:gd name="connsiteY160" fmla="*/ 710454 h 1872908"/>
                <a:gd name="connsiteX161" fmla="*/ 1614427 w 1859154"/>
                <a:gd name="connsiteY161" fmla="*/ 585690 h 1872908"/>
                <a:gd name="connsiteX162" fmla="*/ 1628823 w 1859154"/>
                <a:gd name="connsiteY162" fmla="*/ 573694 h 1872908"/>
                <a:gd name="connsiteX163" fmla="*/ 1658814 w 1859154"/>
                <a:gd name="connsiteY163" fmla="*/ 577292 h 1872908"/>
                <a:gd name="connsiteX164" fmla="*/ 1667211 w 1859154"/>
                <a:gd name="connsiteY164" fmla="*/ 621680 h 1872908"/>
                <a:gd name="connsiteX165" fmla="*/ 1607229 w 1859154"/>
                <a:gd name="connsiteY165" fmla="*/ 710454 h 1872908"/>
                <a:gd name="connsiteX166" fmla="*/ 1686405 w 1859154"/>
                <a:gd name="connsiteY166" fmla="*/ 710454 h 1872908"/>
                <a:gd name="connsiteX167" fmla="*/ 1730793 w 1859154"/>
                <a:gd name="connsiteY167" fmla="*/ 644472 h 1872908"/>
                <a:gd name="connsiteX168" fmla="*/ 1745189 w 1859154"/>
                <a:gd name="connsiteY168" fmla="*/ 632476 h 1872908"/>
                <a:gd name="connsiteX169" fmla="*/ 1775179 w 1859154"/>
                <a:gd name="connsiteY169" fmla="*/ 636076 h 1872908"/>
                <a:gd name="connsiteX170" fmla="*/ 1783577 w 1859154"/>
                <a:gd name="connsiteY170" fmla="*/ 680462 h 1872908"/>
                <a:gd name="connsiteX171" fmla="*/ 1763183 w 1859154"/>
                <a:gd name="connsiteY171" fmla="*/ 711653 h 1872908"/>
                <a:gd name="connsiteX172" fmla="*/ 1826765 w 1859154"/>
                <a:gd name="connsiteY172" fmla="*/ 710454 h 1872908"/>
                <a:gd name="connsiteX173" fmla="*/ 1859154 w 1859154"/>
                <a:gd name="connsiteY173" fmla="*/ 742843 h 1872908"/>
                <a:gd name="connsiteX174" fmla="*/ 1827964 w 1859154"/>
                <a:gd name="connsiteY174" fmla="*/ 775234 h 1872908"/>
                <a:gd name="connsiteX175" fmla="*/ 1752387 w 1859154"/>
                <a:gd name="connsiteY175" fmla="*/ 775234 h 1872908"/>
                <a:gd name="connsiteX176" fmla="*/ 1782377 w 1859154"/>
                <a:gd name="connsiteY176" fmla="*/ 824419 h 1872908"/>
                <a:gd name="connsiteX177" fmla="*/ 1771581 w 1859154"/>
                <a:gd name="connsiteY177" fmla="*/ 868807 h 1872908"/>
                <a:gd name="connsiteX178" fmla="*/ 1727193 w 1859154"/>
                <a:gd name="connsiteY178" fmla="*/ 858009 h 1872908"/>
                <a:gd name="connsiteX179" fmla="*/ 1675609 w 1859154"/>
                <a:gd name="connsiteY179" fmla="*/ 775234 h 1872908"/>
                <a:gd name="connsiteX180" fmla="*/ 1596433 w 1859154"/>
                <a:gd name="connsiteY180" fmla="*/ 775234 h 1872908"/>
                <a:gd name="connsiteX181" fmla="*/ 1662413 w 1859154"/>
                <a:gd name="connsiteY181" fmla="*/ 883202 h 1872908"/>
                <a:gd name="connsiteX182" fmla="*/ 1651616 w 1859154"/>
                <a:gd name="connsiteY182" fmla="*/ 927589 h 1872908"/>
                <a:gd name="connsiteX183" fmla="*/ 1607229 w 1859154"/>
                <a:gd name="connsiteY183" fmla="*/ 916792 h 1872908"/>
                <a:gd name="connsiteX184" fmla="*/ 1520855 w 1859154"/>
                <a:gd name="connsiteY184" fmla="*/ 776433 h 1872908"/>
                <a:gd name="connsiteX185" fmla="*/ 1519656 w 1859154"/>
                <a:gd name="connsiteY185" fmla="*/ 776433 h 1872908"/>
                <a:gd name="connsiteX186" fmla="*/ 1441678 w 1859154"/>
                <a:gd name="connsiteY186" fmla="*/ 776433 h 1872908"/>
                <a:gd name="connsiteX187" fmla="*/ 1532851 w 1859154"/>
                <a:gd name="connsiteY187" fmla="*/ 923990 h 1872908"/>
                <a:gd name="connsiteX188" fmla="*/ 1522055 w 1859154"/>
                <a:gd name="connsiteY188" fmla="*/ 968378 h 1872908"/>
                <a:gd name="connsiteX189" fmla="*/ 1477667 w 1859154"/>
                <a:gd name="connsiteY189" fmla="*/ 957580 h 1872908"/>
                <a:gd name="connsiteX190" fmla="*/ 1366101 w 1859154"/>
                <a:gd name="connsiteY190" fmla="*/ 776433 h 1872908"/>
                <a:gd name="connsiteX191" fmla="*/ 1271329 w 1859154"/>
                <a:gd name="connsiteY191" fmla="*/ 776433 h 1872908"/>
                <a:gd name="connsiteX192" fmla="*/ 1416486 w 1859154"/>
                <a:gd name="connsiteY192" fmla="*/ 1006765 h 1872908"/>
                <a:gd name="connsiteX193" fmla="*/ 1418885 w 1859154"/>
                <a:gd name="connsiteY193" fmla="*/ 1035557 h 1872908"/>
                <a:gd name="connsiteX194" fmla="*/ 1396092 w 1859154"/>
                <a:gd name="connsiteY194" fmla="*/ 1054751 h 1872908"/>
                <a:gd name="connsiteX195" fmla="*/ 1128571 w 1859154"/>
                <a:gd name="connsiteY195" fmla="*/ 1109934 h 1872908"/>
                <a:gd name="connsiteX196" fmla="*/ 1194551 w 1859154"/>
                <a:gd name="connsiteY196" fmla="*/ 1178315 h 1872908"/>
                <a:gd name="connsiteX197" fmla="*/ 1403289 w 1859154"/>
                <a:gd name="connsiteY197" fmla="*/ 1132728 h 1872908"/>
                <a:gd name="connsiteX198" fmla="*/ 1441678 w 1859154"/>
                <a:gd name="connsiteY198" fmla="*/ 1156721 h 1872908"/>
                <a:gd name="connsiteX199" fmla="*/ 1417685 w 1859154"/>
                <a:gd name="connsiteY199" fmla="*/ 1195110 h 1872908"/>
                <a:gd name="connsiteX200" fmla="*/ 1247336 w 1859154"/>
                <a:gd name="connsiteY200" fmla="*/ 1232299 h 1872908"/>
                <a:gd name="connsiteX201" fmla="*/ 1301320 w 1859154"/>
                <a:gd name="connsiteY201" fmla="*/ 1288682 h 1872908"/>
                <a:gd name="connsiteX202" fmla="*/ 1463272 w 1859154"/>
                <a:gd name="connsiteY202" fmla="*/ 1253893 h 1872908"/>
                <a:gd name="connsiteX203" fmla="*/ 1501660 w 1859154"/>
                <a:gd name="connsiteY203" fmla="*/ 1277886 h 1872908"/>
                <a:gd name="connsiteX204" fmla="*/ 1477667 w 1859154"/>
                <a:gd name="connsiteY204" fmla="*/ 1316275 h 1872908"/>
                <a:gd name="connsiteX205" fmla="*/ 1354105 w 1859154"/>
                <a:gd name="connsiteY205" fmla="*/ 1342665 h 1872908"/>
                <a:gd name="connsiteX206" fmla="*/ 1408088 w 1859154"/>
                <a:gd name="connsiteY206" fmla="*/ 1405047 h 1872908"/>
                <a:gd name="connsiteX207" fmla="*/ 1504060 w 1859154"/>
                <a:gd name="connsiteY207" fmla="*/ 1384654 h 1872908"/>
                <a:gd name="connsiteX208" fmla="*/ 1542448 w 1859154"/>
                <a:gd name="connsiteY208" fmla="*/ 1408647 h 1872908"/>
                <a:gd name="connsiteX209" fmla="*/ 1518455 w 1859154"/>
                <a:gd name="connsiteY209" fmla="*/ 1447035 h 1872908"/>
                <a:gd name="connsiteX210" fmla="*/ 1460872 w 1859154"/>
                <a:gd name="connsiteY210" fmla="*/ 1459032 h 1872908"/>
                <a:gd name="connsiteX211" fmla="*/ 1462073 w 1859154"/>
                <a:gd name="connsiteY211" fmla="*/ 1460232 h 1872908"/>
                <a:gd name="connsiteX212" fmla="*/ 1513657 w 1859154"/>
                <a:gd name="connsiteY212" fmla="*/ 1513015 h 1872908"/>
                <a:gd name="connsiteX213" fmla="*/ 1512458 w 1859154"/>
                <a:gd name="connsiteY213" fmla="*/ 1558601 h 1872908"/>
                <a:gd name="connsiteX214" fmla="*/ 1468070 w 1859154"/>
                <a:gd name="connsiteY214" fmla="*/ 1557402 h 1872908"/>
                <a:gd name="connsiteX215" fmla="*/ 1423684 w 1859154"/>
                <a:gd name="connsiteY215" fmla="*/ 1511816 h 1872908"/>
                <a:gd name="connsiteX216" fmla="*/ 1416486 w 1859154"/>
                <a:gd name="connsiteY216" fmla="*/ 1547805 h 1872908"/>
                <a:gd name="connsiteX217" fmla="*/ 1378097 w 1859154"/>
                <a:gd name="connsiteY217" fmla="*/ 1571798 h 1872908"/>
                <a:gd name="connsiteX218" fmla="*/ 1354105 w 1859154"/>
                <a:gd name="connsiteY218" fmla="*/ 1533410 h 1872908"/>
                <a:gd name="connsiteX219" fmla="*/ 1370900 w 1859154"/>
                <a:gd name="connsiteY219" fmla="*/ 1454233 h 1872908"/>
                <a:gd name="connsiteX220" fmla="*/ 1316915 w 1859154"/>
                <a:gd name="connsiteY220" fmla="*/ 1397850 h 1872908"/>
                <a:gd name="connsiteX221" fmla="*/ 1316915 w 1859154"/>
                <a:gd name="connsiteY221" fmla="*/ 1396650 h 1872908"/>
                <a:gd name="connsiteX222" fmla="*/ 1294122 w 1859154"/>
                <a:gd name="connsiteY222" fmla="*/ 1502219 h 1872908"/>
                <a:gd name="connsiteX223" fmla="*/ 1255734 w 1859154"/>
                <a:gd name="connsiteY223" fmla="*/ 1526212 h 1872908"/>
                <a:gd name="connsiteX224" fmla="*/ 1231741 w 1859154"/>
                <a:gd name="connsiteY224" fmla="*/ 1487823 h 1872908"/>
                <a:gd name="connsiteX225" fmla="*/ 1262932 w 1859154"/>
                <a:gd name="connsiteY225" fmla="*/ 1340267 h 1872908"/>
                <a:gd name="connsiteX226" fmla="*/ 1196951 w 1859154"/>
                <a:gd name="connsiteY226" fmla="*/ 1273086 h 1872908"/>
                <a:gd name="connsiteX227" fmla="*/ 1157363 w 1859154"/>
                <a:gd name="connsiteY227" fmla="*/ 1455432 h 1872908"/>
                <a:gd name="connsiteX228" fmla="*/ 1118974 w 1859154"/>
                <a:gd name="connsiteY228" fmla="*/ 1479425 h 1872908"/>
                <a:gd name="connsiteX229" fmla="*/ 1094981 w 1859154"/>
                <a:gd name="connsiteY229" fmla="*/ 1442237 h 1872908"/>
                <a:gd name="connsiteX230" fmla="*/ 1144166 w 1859154"/>
                <a:gd name="connsiteY230" fmla="*/ 1216703 h 1872908"/>
                <a:gd name="connsiteX231" fmla="*/ 1075787 w 1859154"/>
                <a:gd name="connsiteY231" fmla="*/ 1145924 h 1872908"/>
                <a:gd name="connsiteX232" fmla="*/ 1025402 w 1859154"/>
                <a:gd name="connsiteY232" fmla="*/ 1403848 h 1872908"/>
                <a:gd name="connsiteX233" fmla="*/ 976216 w 1859154"/>
                <a:gd name="connsiteY233" fmla="*/ 1424243 h 1872908"/>
                <a:gd name="connsiteX234" fmla="*/ 761480 w 1859154"/>
                <a:gd name="connsiteY234" fmla="*/ 1273086 h 1872908"/>
                <a:gd name="connsiteX235" fmla="*/ 761480 w 1859154"/>
                <a:gd name="connsiteY235" fmla="*/ 1372657 h 1872908"/>
                <a:gd name="connsiteX236" fmla="*/ 953423 w 1859154"/>
                <a:gd name="connsiteY236" fmla="*/ 1501019 h 1872908"/>
                <a:gd name="connsiteX237" fmla="*/ 961820 w 1859154"/>
                <a:gd name="connsiteY237" fmla="*/ 1545406 h 1872908"/>
                <a:gd name="connsiteX238" fmla="*/ 917434 w 1859154"/>
                <a:gd name="connsiteY238" fmla="*/ 1553804 h 1872908"/>
                <a:gd name="connsiteX239" fmla="*/ 762679 w 1859154"/>
                <a:gd name="connsiteY239" fmla="*/ 1449434 h 1872908"/>
                <a:gd name="connsiteX240" fmla="*/ 761480 w 1859154"/>
                <a:gd name="connsiteY240" fmla="*/ 1543007 h 1872908"/>
                <a:gd name="connsiteX241" fmla="*/ 886243 w 1859154"/>
                <a:gd name="connsiteY241" fmla="*/ 1626982 h 1872908"/>
                <a:gd name="connsiteX242" fmla="*/ 894640 w 1859154"/>
                <a:gd name="connsiteY242" fmla="*/ 1671368 h 1872908"/>
                <a:gd name="connsiteX243" fmla="*/ 850254 w 1859154"/>
                <a:gd name="connsiteY243" fmla="*/ 1679766 h 1872908"/>
                <a:gd name="connsiteX244" fmla="*/ 760280 w 1859154"/>
                <a:gd name="connsiteY244" fmla="*/ 1619784 h 1872908"/>
                <a:gd name="connsiteX245" fmla="*/ 760280 w 1859154"/>
                <a:gd name="connsiteY245" fmla="*/ 1620983 h 1872908"/>
                <a:gd name="connsiteX246" fmla="*/ 760280 w 1859154"/>
                <a:gd name="connsiteY246" fmla="*/ 1698961 h 1872908"/>
                <a:gd name="connsiteX247" fmla="*/ 827460 w 1859154"/>
                <a:gd name="connsiteY247" fmla="*/ 1744547 h 1872908"/>
                <a:gd name="connsiteX248" fmla="*/ 835858 w 1859154"/>
                <a:gd name="connsiteY248" fmla="*/ 1788933 h 1872908"/>
                <a:gd name="connsiteX249" fmla="*/ 791471 w 1859154"/>
                <a:gd name="connsiteY249" fmla="*/ 1797331 h 1872908"/>
                <a:gd name="connsiteX250" fmla="*/ 761480 w 1859154"/>
                <a:gd name="connsiteY250" fmla="*/ 1776937 h 1872908"/>
                <a:gd name="connsiteX251" fmla="*/ 760280 w 1859154"/>
                <a:gd name="connsiteY251" fmla="*/ 1840519 h 1872908"/>
                <a:gd name="connsiteX252" fmla="*/ 729089 w 1859154"/>
                <a:gd name="connsiteY252" fmla="*/ 1872908 h 1872908"/>
                <a:gd name="connsiteX253" fmla="*/ 696699 w 1859154"/>
                <a:gd name="connsiteY253" fmla="*/ 1840519 h 1872908"/>
                <a:gd name="connsiteX254" fmla="*/ 696699 w 1859154"/>
                <a:gd name="connsiteY254" fmla="*/ 1766141 h 1872908"/>
                <a:gd name="connsiteX255" fmla="*/ 696699 w 1859154"/>
                <a:gd name="connsiteY255" fmla="*/ 1764940 h 1872908"/>
                <a:gd name="connsiteX256" fmla="*/ 646314 w 1859154"/>
                <a:gd name="connsiteY256" fmla="*/ 1796132 h 1872908"/>
                <a:gd name="connsiteX257" fmla="*/ 601927 w 1859154"/>
                <a:gd name="connsiteY257" fmla="*/ 1785335 h 1872908"/>
                <a:gd name="connsiteX258" fmla="*/ 612724 w 1859154"/>
                <a:gd name="connsiteY258" fmla="*/ 1740948 h 1872908"/>
                <a:gd name="connsiteX259" fmla="*/ 696699 w 1859154"/>
                <a:gd name="connsiteY259" fmla="*/ 1689363 h 1872908"/>
                <a:gd name="connsiteX260" fmla="*/ 696699 w 1859154"/>
                <a:gd name="connsiteY260" fmla="*/ 1610187 h 1872908"/>
                <a:gd name="connsiteX261" fmla="*/ 696699 w 1859154"/>
                <a:gd name="connsiteY261" fmla="*/ 1608987 h 1872908"/>
                <a:gd name="connsiteX262" fmla="*/ 588731 w 1859154"/>
                <a:gd name="connsiteY262" fmla="*/ 1676168 h 1872908"/>
                <a:gd name="connsiteX263" fmla="*/ 544344 w 1859154"/>
                <a:gd name="connsiteY263" fmla="*/ 1665370 h 1872908"/>
                <a:gd name="connsiteX264" fmla="*/ 555141 w 1859154"/>
                <a:gd name="connsiteY264" fmla="*/ 1620983 h 1872908"/>
                <a:gd name="connsiteX265" fmla="*/ 696699 w 1859154"/>
                <a:gd name="connsiteY265" fmla="*/ 1533410 h 1872908"/>
                <a:gd name="connsiteX266" fmla="*/ 696699 w 1859154"/>
                <a:gd name="connsiteY266" fmla="*/ 1455432 h 1872908"/>
                <a:gd name="connsiteX267" fmla="*/ 547944 w 1859154"/>
                <a:gd name="connsiteY267" fmla="*/ 1546605 h 1872908"/>
                <a:gd name="connsiteX268" fmla="*/ 503556 w 1859154"/>
                <a:gd name="connsiteY268" fmla="*/ 1535809 h 1872908"/>
                <a:gd name="connsiteX269" fmla="*/ 514353 w 1859154"/>
                <a:gd name="connsiteY269" fmla="*/ 1491421 h 1872908"/>
                <a:gd name="connsiteX270" fmla="*/ 695499 w 1859154"/>
                <a:gd name="connsiteY270" fmla="*/ 1376257 h 1872908"/>
                <a:gd name="connsiteX271" fmla="*/ 695499 w 1859154"/>
                <a:gd name="connsiteY271" fmla="*/ 1281484 h 1872908"/>
                <a:gd name="connsiteX272" fmla="*/ 463968 w 1859154"/>
                <a:gd name="connsiteY272" fmla="*/ 1426641 h 1872908"/>
                <a:gd name="connsiteX273" fmla="*/ 433977 w 1859154"/>
                <a:gd name="connsiteY273" fmla="*/ 1429040 h 1872908"/>
                <a:gd name="connsiteX274" fmla="*/ 414782 w 1859154"/>
                <a:gd name="connsiteY274" fmla="*/ 1406247 h 1872908"/>
                <a:gd name="connsiteX275" fmla="*/ 359599 w 1859154"/>
                <a:gd name="connsiteY275" fmla="*/ 1139926 h 1872908"/>
                <a:gd name="connsiteX276" fmla="*/ 292419 w 1859154"/>
                <a:gd name="connsiteY276" fmla="*/ 1205907 h 1872908"/>
                <a:gd name="connsiteX277" fmla="*/ 338005 w 1859154"/>
                <a:gd name="connsiteY277" fmla="*/ 1414644 h 1872908"/>
                <a:gd name="connsiteX278" fmla="*/ 314012 w 1859154"/>
                <a:gd name="connsiteY278" fmla="*/ 1453033 h 1872908"/>
                <a:gd name="connsiteX279" fmla="*/ 275624 w 1859154"/>
                <a:gd name="connsiteY279" fmla="*/ 1429040 h 1872908"/>
                <a:gd name="connsiteX280" fmla="*/ 238435 w 1859154"/>
                <a:gd name="connsiteY280" fmla="*/ 1259891 h 1872908"/>
                <a:gd name="connsiteX281" fmla="*/ 182051 w 1859154"/>
                <a:gd name="connsiteY281" fmla="*/ 1313875 h 1872908"/>
                <a:gd name="connsiteX282" fmla="*/ 180852 w 1859154"/>
                <a:gd name="connsiteY282" fmla="*/ 1313875 h 1872908"/>
                <a:gd name="connsiteX283" fmla="*/ 215641 w 1859154"/>
                <a:gd name="connsiteY283" fmla="*/ 1475827 h 1872908"/>
                <a:gd name="connsiteX284" fmla="*/ 191649 w 1859154"/>
                <a:gd name="connsiteY284" fmla="*/ 1514215 h 1872908"/>
                <a:gd name="connsiteX285" fmla="*/ 153260 w 1859154"/>
                <a:gd name="connsiteY285" fmla="*/ 1490222 h 1872908"/>
                <a:gd name="connsiteX286" fmla="*/ 126868 w 1859154"/>
                <a:gd name="connsiteY286" fmla="*/ 1366658 h 1872908"/>
                <a:gd name="connsiteX287" fmla="*/ 69285 w 1859154"/>
                <a:gd name="connsiteY287" fmla="*/ 1421843 h 1872908"/>
                <a:gd name="connsiteX288" fmla="*/ 89679 w 1859154"/>
                <a:gd name="connsiteY288" fmla="*/ 1516615 h 1872908"/>
                <a:gd name="connsiteX289" fmla="*/ 65686 w 1859154"/>
                <a:gd name="connsiteY289" fmla="*/ 1555003 h 1872908"/>
                <a:gd name="connsiteX290" fmla="*/ 27298 w 1859154"/>
                <a:gd name="connsiteY290" fmla="*/ 1531010 h 1872908"/>
                <a:gd name="connsiteX291" fmla="*/ 15301 w 1859154"/>
                <a:gd name="connsiteY291" fmla="*/ 1474626 h 1872908"/>
                <a:gd name="connsiteX292" fmla="*/ 0 w 1859154"/>
                <a:gd name="connsiteY292" fmla="*/ 1489588 h 1872908"/>
                <a:gd name="connsiteX293" fmla="*/ 0 w 1859154"/>
                <a:gd name="connsiteY293" fmla="*/ 1379383 h 1872908"/>
                <a:gd name="connsiteX294" fmla="*/ 18900 w 1859154"/>
                <a:gd name="connsiteY294" fmla="*/ 1383453 h 1872908"/>
                <a:gd name="connsiteX295" fmla="*/ 76483 w 1859154"/>
                <a:gd name="connsiteY295" fmla="*/ 1328271 h 1872908"/>
                <a:gd name="connsiteX296" fmla="*/ 0 w 1859154"/>
                <a:gd name="connsiteY296" fmla="*/ 1311567 h 1872908"/>
                <a:gd name="connsiteX297" fmla="*/ 0 w 1859154"/>
                <a:gd name="connsiteY297" fmla="*/ 1246167 h 1872908"/>
                <a:gd name="connsiteX298" fmla="*/ 134066 w 1859154"/>
                <a:gd name="connsiteY298" fmla="*/ 1276686 h 1872908"/>
                <a:gd name="connsiteX299" fmla="*/ 202446 w 1859154"/>
                <a:gd name="connsiteY299" fmla="*/ 1210705 h 1872908"/>
                <a:gd name="connsiteX300" fmla="*/ 20100 w 1859154"/>
                <a:gd name="connsiteY300" fmla="*/ 1171117 h 1872908"/>
                <a:gd name="connsiteX301" fmla="*/ 456 w 1859154"/>
                <a:gd name="connsiteY301" fmla="*/ 1156871 h 1872908"/>
                <a:gd name="connsiteX302" fmla="*/ 0 w 1859154"/>
                <a:gd name="connsiteY302" fmla="*/ 1154342 h 1872908"/>
                <a:gd name="connsiteX303" fmla="*/ 0 w 1859154"/>
                <a:gd name="connsiteY303" fmla="*/ 1128105 h 1872908"/>
                <a:gd name="connsiteX304" fmla="*/ 15301 w 1859154"/>
                <a:gd name="connsiteY304" fmla="*/ 1109934 h 1872908"/>
                <a:gd name="connsiteX305" fmla="*/ 33295 w 1859154"/>
                <a:gd name="connsiteY305" fmla="*/ 1108735 h 1872908"/>
                <a:gd name="connsiteX306" fmla="*/ 258828 w 1859154"/>
                <a:gd name="connsiteY306" fmla="*/ 1157922 h 1872908"/>
                <a:gd name="connsiteX307" fmla="*/ 329608 w 1859154"/>
                <a:gd name="connsiteY307" fmla="*/ 1088342 h 1872908"/>
                <a:gd name="connsiteX308" fmla="*/ 70485 w 1859154"/>
                <a:gd name="connsiteY308" fmla="*/ 1040356 h 1872908"/>
                <a:gd name="connsiteX309" fmla="*/ 47691 w 1859154"/>
                <a:gd name="connsiteY309" fmla="*/ 1021161 h 1872908"/>
                <a:gd name="connsiteX310" fmla="*/ 50090 w 1859154"/>
                <a:gd name="connsiteY310" fmla="*/ 991170 h 1872908"/>
                <a:gd name="connsiteX311" fmla="*/ 202446 w 1859154"/>
                <a:gd name="connsiteY311" fmla="*/ 775234 h 1872908"/>
                <a:gd name="connsiteX312" fmla="*/ 102875 w 1859154"/>
                <a:gd name="connsiteY312" fmla="*/ 775234 h 1872908"/>
                <a:gd name="connsiteX313" fmla="*/ 0 w 1859154"/>
                <a:gd name="connsiteY313" fmla="*/ 928105 h 1872908"/>
                <a:gd name="connsiteX314" fmla="*/ 0 w 1859154"/>
                <a:gd name="connsiteY314" fmla="*/ 812582 h 1872908"/>
                <a:gd name="connsiteX315" fmla="*/ 24899 w 1859154"/>
                <a:gd name="connsiteY315" fmla="*/ 775234 h 1872908"/>
                <a:gd name="connsiteX316" fmla="*/ 0 w 1859154"/>
                <a:gd name="connsiteY316" fmla="*/ 774915 h 1872908"/>
                <a:gd name="connsiteX317" fmla="*/ 0 w 1859154"/>
                <a:gd name="connsiteY317" fmla="*/ 709253 h 1872908"/>
                <a:gd name="connsiteX318" fmla="*/ 16500 w 1859154"/>
                <a:gd name="connsiteY318" fmla="*/ 709253 h 1872908"/>
                <a:gd name="connsiteX319" fmla="*/ 0 w 1859154"/>
                <a:gd name="connsiteY319" fmla="*/ 682332 h 1872908"/>
                <a:gd name="connsiteX320" fmla="*/ 0 w 1859154"/>
                <a:gd name="connsiteY320" fmla="*/ 558760 h 1872908"/>
                <a:gd name="connsiteX321" fmla="*/ 92079 w 1859154"/>
                <a:gd name="connsiteY321" fmla="*/ 709253 h 1872908"/>
                <a:gd name="connsiteX322" fmla="*/ 188050 w 1859154"/>
                <a:gd name="connsiteY322" fmla="*/ 709253 h 1872908"/>
                <a:gd name="connsiteX323" fmla="*/ 41694 w 1859154"/>
                <a:gd name="connsiteY323" fmla="*/ 478921 h 1872908"/>
                <a:gd name="connsiteX324" fmla="*/ 39294 w 1859154"/>
                <a:gd name="connsiteY324" fmla="*/ 450130 h 1872908"/>
                <a:gd name="connsiteX325" fmla="*/ 62087 w 1859154"/>
                <a:gd name="connsiteY325" fmla="*/ 430936 h 1872908"/>
                <a:gd name="connsiteX326" fmla="*/ 330807 w 1859154"/>
                <a:gd name="connsiteY326" fmla="*/ 372154 h 1872908"/>
                <a:gd name="connsiteX327" fmla="*/ 266026 w 1859154"/>
                <a:gd name="connsiteY327" fmla="*/ 303773 h 1872908"/>
                <a:gd name="connsiteX328" fmla="*/ 57288 w 1859154"/>
                <a:gd name="connsiteY328" fmla="*/ 349360 h 1872908"/>
                <a:gd name="connsiteX329" fmla="*/ 18900 w 1859154"/>
                <a:gd name="connsiteY329" fmla="*/ 325367 h 1872908"/>
                <a:gd name="connsiteX330" fmla="*/ 42893 w 1859154"/>
                <a:gd name="connsiteY330" fmla="*/ 286978 h 1872908"/>
                <a:gd name="connsiteX331" fmla="*/ 213242 w 1859154"/>
                <a:gd name="connsiteY331" fmla="*/ 249790 h 1872908"/>
                <a:gd name="connsiteX332" fmla="*/ 159259 w 1859154"/>
                <a:gd name="connsiteY332" fmla="*/ 192207 h 1872908"/>
                <a:gd name="connsiteX333" fmla="*/ 0 w 1859154"/>
                <a:gd name="connsiteY333" fmla="*/ 227598 h 1872908"/>
                <a:gd name="connsiteX334" fmla="*/ 0 w 1859154"/>
                <a:gd name="connsiteY334" fmla="*/ 162165 h 1872908"/>
                <a:gd name="connsiteX335" fmla="*/ 106474 w 1859154"/>
                <a:gd name="connsiteY335" fmla="*/ 139423 h 1872908"/>
                <a:gd name="connsiteX336" fmla="*/ 52490 w 1859154"/>
                <a:gd name="connsiteY336" fmla="*/ 81840 h 1872908"/>
                <a:gd name="connsiteX337" fmla="*/ 0 w 1859154"/>
                <a:gd name="connsiteY337" fmla="*/ 93135 h 1872908"/>
                <a:gd name="connsiteX338" fmla="*/ 0 w 1859154"/>
                <a:gd name="connsiteY338" fmla="*/ 28044 h 1872908"/>
                <a:gd name="connsiteX339" fmla="*/ 906 w 1859154"/>
                <a:gd name="connsiteY339" fmla="*/ 27855 h 1872908"/>
                <a:gd name="connsiteX340" fmla="*/ 0 w 1859154"/>
                <a:gd name="connsiteY340" fmla="*/ 26929 h 1872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</a:cxnLst>
              <a:rect l="l" t="t" r="r" b="b"/>
              <a:pathLst>
                <a:path w="1859154" h="1872908">
                  <a:moveTo>
                    <a:pt x="891042" y="952782"/>
                  </a:moveTo>
                  <a:lnTo>
                    <a:pt x="844255" y="995969"/>
                  </a:lnTo>
                  <a:cubicBezTo>
                    <a:pt x="838257" y="1000767"/>
                    <a:pt x="831060" y="1004367"/>
                    <a:pt x="822661" y="1004367"/>
                  </a:cubicBezTo>
                  <a:lnTo>
                    <a:pt x="759081" y="1005566"/>
                  </a:lnTo>
                  <a:lnTo>
                    <a:pt x="760280" y="1192711"/>
                  </a:lnTo>
                  <a:lnTo>
                    <a:pt x="971417" y="1341466"/>
                  </a:lnTo>
                  <a:lnTo>
                    <a:pt x="1020603" y="1088342"/>
                  </a:lnTo>
                  <a:close/>
                  <a:moveTo>
                    <a:pt x="562339" y="950382"/>
                  </a:moveTo>
                  <a:lnTo>
                    <a:pt x="415983" y="1090740"/>
                  </a:lnTo>
                  <a:lnTo>
                    <a:pt x="468767" y="1352264"/>
                  </a:lnTo>
                  <a:lnTo>
                    <a:pt x="693100" y="1210705"/>
                  </a:lnTo>
                  <a:lnTo>
                    <a:pt x="693100" y="1005566"/>
                  </a:lnTo>
                  <a:lnTo>
                    <a:pt x="629519" y="1006765"/>
                  </a:lnTo>
                  <a:cubicBezTo>
                    <a:pt x="621121" y="1007965"/>
                    <a:pt x="612724" y="1004367"/>
                    <a:pt x="605526" y="997168"/>
                  </a:cubicBezTo>
                  <a:close/>
                  <a:moveTo>
                    <a:pt x="1195752" y="775234"/>
                  </a:moveTo>
                  <a:lnTo>
                    <a:pt x="993011" y="776433"/>
                  </a:lnTo>
                  <a:lnTo>
                    <a:pt x="994211" y="840015"/>
                  </a:lnTo>
                  <a:cubicBezTo>
                    <a:pt x="994211" y="849612"/>
                    <a:pt x="990612" y="858009"/>
                    <a:pt x="983414" y="864008"/>
                  </a:cubicBezTo>
                  <a:lnTo>
                    <a:pt x="936628" y="907195"/>
                  </a:lnTo>
                  <a:lnTo>
                    <a:pt x="1078186" y="1054751"/>
                  </a:lnTo>
                  <a:lnTo>
                    <a:pt x="1337310" y="1000767"/>
                  </a:lnTo>
                  <a:close/>
                  <a:moveTo>
                    <a:pt x="467567" y="771635"/>
                  </a:moveTo>
                  <a:lnTo>
                    <a:pt x="280422" y="772835"/>
                  </a:lnTo>
                  <a:lnTo>
                    <a:pt x="130467" y="982772"/>
                  </a:lnTo>
                  <a:lnTo>
                    <a:pt x="383592" y="1030758"/>
                  </a:lnTo>
                  <a:lnTo>
                    <a:pt x="384792" y="1031958"/>
                  </a:lnTo>
                  <a:lnTo>
                    <a:pt x="520351" y="903596"/>
                  </a:lnTo>
                  <a:lnTo>
                    <a:pt x="477164" y="856810"/>
                  </a:lnTo>
                  <a:cubicBezTo>
                    <a:pt x="472365" y="850811"/>
                    <a:pt x="468767" y="842414"/>
                    <a:pt x="468767" y="835217"/>
                  </a:cubicBezTo>
                  <a:close/>
                  <a:moveTo>
                    <a:pt x="814265" y="541303"/>
                  </a:moveTo>
                  <a:lnTo>
                    <a:pt x="763880" y="542503"/>
                  </a:lnTo>
                  <a:lnTo>
                    <a:pt x="700298" y="543702"/>
                  </a:lnTo>
                  <a:lnTo>
                    <a:pt x="649913" y="544903"/>
                  </a:lnTo>
                  <a:lnTo>
                    <a:pt x="612724" y="579692"/>
                  </a:lnTo>
                  <a:lnTo>
                    <a:pt x="565938" y="622879"/>
                  </a:lnTo>
                  <a:lnTo>
                    <a:pt x="528749" y="657669"/>
                  </a:lnTo>
                  <a:lnTo>
                    <a:pt x="529948" y="708054"/>
                  </a:lnTo>
                  <a:lnTo>
                    <a:pt x="531148" y="771635"/>
                  </a:lnTo>
                  <a:lnTo>
                    <a:pt x="532347" y="822020"/>
                  </a:lnTo>
                  <a:lnTo>
                    <a:pt x="567138" y="859209"/>
                  </a:lnTo>
                  <a:lnTo>
                    <a:pt x="610325" y="905995"/>
                  </a:lnTo>
                  <a:lnTo>
                    <a:pt x="645114" y="943185"/>
                  </a:lnTo>
                  <a:lnTo>
                    <a:pt x="695499" y="941984"/>
                  </a:lnTo>
                  <a:lnTo>
                    <a:pt x="759081" y="940785"/>
                  </a:lnTo>
                  <a:lnTo>
                    <a:pt x="809466" y="939585"/>
                  </a:lnTo>
                  <a:lnTo>
                    <a:pt x="846654" y="904796"/>
                  </a:lnTo>
                  <a:lnTo>
                    <a:pt x="893441" y="861609"/>
                  </a:lnTo>
                  <a:lnTo>
                    <a:pt x="930629" y="826818"/>
                  </a:lnTo>
                  <a:lnTo>
                    <a:pt x="929430" y="776433"/>
                  </a:lnTo>
                  <a:lnTo>
                    <a:pt x="928230" y="712853"/>
                  </a:lnTo>
                  <a:lnTo>
                    <a:pt x="925831" y="662468"/>
                  </a:lnTo>
                  <a:lnTo>
                    <a:pt x="892241" y="625278"/>
                  </a:lnTo>
                  <a:lnTo>
                    <a:pt x="849054" y="578493"/>
                  </a:lnTo>
                  <a:close/>
                  <a:moveTo>
                    <a:pt x="1074587" y="451330"/>
                  </a:moveTo>
                  <a:lnTo>
                    <a:pt x="939028" y="580892"/>
                  </a:lnTo>
                  <a:lnTo>
                    <a:pt x="982215" y="627677"/>
                  </a:lnTo>
                  <a:cubicBezTo>
                    <a:pt x="987013" y="632476"/>
                    <a:pt x="990612" y="640874"/>
                    <a:pt x="990612" y="649271"/>
                  </a:cubicBezTo>
                  <a:lnTo>
                    <a:pt x="991812" y="714052"/>
                  </a:lnTo>
                  <a:lnTo>
                    <a:pt x="1177756" y="712853"/>
                  </a:lnTo>
                  <a:lnTo>
                    <a:pt x="1178957" y="710454"/>
                  </a:lnTo>
                  <a:lnTo>
                    <a:pt x="1327712" y="500515"/>
                  </a:lnTo>
                  <a:close/>
                  <a:moveTo>
                    <a:pt x="382393" y="429737"/>
                  </a:moveTo>
                  <a:lnTo>
                    <a:pt x="120870" y="483720"/>
                  </a:lnTo>
                  <a:lnTo>
                    <a:pt x="263627" y="709253"/>
                  </a:lnTo>
                  <a:lnTo>
                    <a:pt x="466368" y="708054"/>
                  </a:lnTo>
                  <a:lnTo>
                    <a:pt x="465167" y="643273"/>
                  </a:lnTo>
                  <a:cubicBezTo>
                    <a:pt x="465167" y="634875"/>
                    <a:pt x="468767" y="625278"/>
                    <a:pt x="475965" y="619280"/>
                  </a:cubicBezTo>
                  <a:lnTo>
                    <a:pt x="522750" y="576093"/>
                  </a:lnTo>
                  <a:close/>
                  <a:moveTo>
                    <a:pt x="489160" y="145420"/>
                  </a:moveTo>
                  <a:lnTo>
                    <a:pt x="439975" y="398546"/>
                  </a:lnTo>
                  <a:lnTo>
                    <a:pt x="568337" y="535305"/>
                  </a:lnTo>
                  <a:lnTo>
                    <a:pt x="613923" y="492118"/>
                  </a:lnTo>
                  <a:cubicBezTo>
                    <a:pt x="617523" y="488519"/>
                    <a:pt x="619922" y="486119"/>
                    <a:pt x="623520" y="484920"/>
                  </a:cubicBezTo>
                  <a:cubicBezTo>
                    <a:pt x="627120" y="482521"/>
                    <a:pt x="631919" y="482521"/>
                    <a:pt x="635517" y="482521"/>
                  </a:cubicBezTo>
                  <a:lnTo>
                    <a:pt x="699099" y="481321"/>
                  </a:lnTo>
                  <a:lnTo>
                    <a:pt x="699099" y="292977"/>
                  </a:lnTo>
                  <a:close/>
                  <a:moveTo>
                    <a:pt x="988212" y="134624"/>
                  </a:moveTo>
                  <a:lnTo>
                    <a:pt x="762679" y="276182"/>
                  </a:lnTo>
                  <a:lnTo>
                    <a:pt x="763880" y="478921"/>
                  </a:lnTo>
                  <a:lnTo>
                    <a:pt x="828660" y="477722"/>
                  </a:lnTo>
                  <a:cubicBezTo>
                    <a:pt x="837057" y="476522"/>
                    <a:pt x="846654" y="481321"/>
                    <a:pt x="852653" y="487320"/>
                  </a:cubicBezTo>
                  <a:lnTo>
                    <a:pt x="897039" y="535305"/>
                  </a:lnTo>
                  <a:lnTo>
                    <a:pt x="1043396" y="394946"/>
                  </a:lnTo>
                  <a:close/>
                  <a:moveTo>
                    <a:pt x="0" y="0"/>
                  </a:moveTo>
                  <a:lnTo>
                    <a:pt x="96606" y="0"/>
                  </a:lnTo>
                  <a:lnTo>
                    <a:pt x="89679" y="32654"/>
                  </a:lnTo>
                  <a:lnTo>
                    <a:pt x="144863" y="87837"/>
                  </a:lnTo>
                  <a:lnTo>
                    <a:pt x="163248" y="0"/>
                  </a:lnTo>
                  <a:lnTo>
                    <a:pt x="228631" y="0"/>
                  </a:lnTo>
                  <a:lnTo>
                    <a:pt x="196447" y="145420"/>
                  </a:lnTo>
                  <a:lnTo>
                    <a:pt x="262428" y="213801"/>
                  </a:lnTo>
                  <a:lnTo>
                    <a:pt x="302016" y="31455"/>
                  </a:lnTo>
                  <a:cubicBezTo>
                    <a:pt x="304415" y="20657"/>
                    <a:pt x="311613" y="12260"/>
                    <a:pt x="321210" y="8661"/>
                  </a:cubicBezTo>
                  <a:cubicBezTo>
                    <a:pt x="327209" y="6262"/>
                    <a:pt x="334407" y="6262"/>
                    <a:pt x="340404" y="7462"/>
                  </a:cubicBezTo>
                  <a:cubicBezTo>
                    <a:pt x="357199" y="12260"/>
                    <a:pt x="367997" y="29055"/>
                    <a:pt x="364397" y="45850"/>
                  </a:cubicBezTo>
                  <a:lnTo>
                    <a:pt x="316411" y="271384"/>
                  </a:lnTo>
                  <a:lnTo>
                    <a:pt x="384792" y="342162"/>
                  </a:lnTo>
                  <a:lnTo>
                    <a:pt x="435177" y="84239"/>
                  </a:lnTo>
                  <a:cubicBezTo>
                    <a:pt x="437576" y="73442"/>
                    <a:pt x="444774" y="65045"/>
                    <a:pt x="454371" y="61445"/>
                  </a:cubicBezTo>
                  <a:cubicBezTo>
                    <a:pt x="463968" y="56647"/>
                    <a:pt x="474765" y="57847"/>
                    <a:pt x="484362" y="63844"/>
                  </a:cubicBezTo>
                  <a:lnTo>
                    <a:pt x="700298" y="215000"/>
                  </a:lnTo>
                  <a:lnTo>
                    <a:pt x="700298" y="115430"/>
                  </a:lnTo>
                  <a:lnTo>
                    <a:pt x="527694" y="0"/>
                  </a:lnTo>
                  <a:lnTo>
                    <a:pt x="641786" y="0"/>
                  </a:lnTo>
                  <a:lnTo>
                    <a:pt x="699099" y="38653"/>
                  </a:lnTo>
                  <a:lnTo>
                    <a:pt x="699099" y="0"/>
                  </a:lnTo>
                  <a:lnTo>
                    <a:pt x="763880" y="0"/>
                  </a:lnTo>
                  <a:lnTo>
                    <a:pt x="763880" y="29055"/>
                  </a:lnTo>
                  <a:lnTo>
                    <a:pt x="810903" y="0"/>
                  </a:lnTo>
                  <a:lnTo>
                    <a:pt x="933692" y="0"/>
                  </a:lnTo>
                  <a:lnTo>
                    <a:pt x="762679" y="104632"/>
                  </a:lnTo>
                  <a:lnTo>
                    <a:pt x="763880" y="199405"/>
                  </a:lnTo>
                  <a:lnTo>
                    <a:pt x="993011" y="54247"/>
                  </a:lnTo>
                  <a:cubicBezTo>
                    <a:pt x="1002608" y="49449"/>
                    <a:pt x="1013406" y="48250"/>
                    <a:pt x="1023003" y="51848"/>
                  </a:cubicBezTo>
                  <a:cubicBezTo>
                    <a:pt x="1032600" y="56647"/>
                    <a:pt x="1039798" y="65045"/>
                    <a:pt x="1042197" y="74642"/>
                  </a:cubicBezTo>
                  <a:lnTo>
                    <a:pt x="1097381" y="338564"/>
                  </a:lnTo>
                  <a:lnTo>
                    <a:pt x="1165760" y="272583"/>
                  </a:lnTo>
                  <a:lnTo>
                    <a:pt x="1120173" y="63844"/>
                  </a:lnTo>
                  <a:cubicBezTo>
                    <a:pt x="1116575" y="49449"/>
                    <a:pt x="1124972" y="33854"/>
                    <a:pt x="1139368" y="27855"/>
                  </a:cubicBezTo>
                  <a:cubicBezTo>
                    <a:pt x="1140568" y="27855"/>
                    <a:pt x="1142967" y="26656"/>
                    <a:pt x="1144166" y="26656"/>
                  </a:cubicBezTo>
                  <a:cubicBezTo>
                    <a:pt x="1162161" y="23057"/>
                    <a:pt x="1178957" y="33854"/>
                    <a:pt x="1182555" y="50649"/>
                  </a:cubicBezTo>
                  <a:lnTo>
                    <a:pt x="1219744" y="220999"/>
                  </a:lnTo>
                  <a:lnTo>
                    <a:pt x="1276127" y="167014"/>
                  </a:lnTo>
                  <a:lnTo>
                    <a:pt x="1240138" y="5063"/>
                  </a:lnTo>
                  <a:lnTo>
                    <a:pt x="1240806" y="0"/>
                  </a:lnTo>
                  <a:lnTo>
                    <a:pt x="1304318" y="0"/>
                  </a:lnTo>
                  <a:lnTo>
                    <a:pt x="1330112" y="116629"/>
                  </a:lnTo>
                  <a:lnTo>
                    <a:pt x="1387695" y="61445"/>
                  </a:lnTo>
                  <a:lnTo>
                    <a:pt x="1374637" y="0"/>
                  </a:lnTo>
                  <a:lnTo>
                    <a:pt x="1439624" y="0"/>
                  </a:lnTo>
                  <a:lnTo>
                    <a:pt x="1441678" y="9861"/>
                  </a:lnTo>
                  <a:lnTo>
                    <a:pt x="1452227" y="0"/>
                  </a:lnTo>
                  <a:lnTo>
                    <a:pt x="1542847" y="0"/>
                  </a:lnTo>
                  <a:lnTo>
                    <a:pt x="1541249" y="3862"/>
                  </a:lnTo>
                  <a:lnTo>
                    <a:pt x="1495663" y="47049"/>
                  </a:lnTo>
                  <a:lnTo>
                    <a:pt x="1532851" y="55448"/>
                  </a:lnTo>
                  <a:cubicBezTo>
                    <a:pt x="1549646" y="60246"/>
                    <a:pt x="1560443" y="77041"/>
                    <a:pt x="1556844" y="93836"/>
                  </a:cubicBezTo>
                  <a:cubicBezTo>
                    <a:pt x="1552045" y="110631"/>
                    <a:pt x="1535250" y="121427"/>
                    <a:pt x="1518455" y="117829"/>
                  </a:cubicBezTo>
                  <a:lnTo>
                    <a:pt x="1440479" y="101034"/>
                  </a:lnTo>
                  <a:lnTo>
                    <a:pt x="1382896" y="156218"/>
                  </a:lnTo>
                  <a:lnTo>
                    <a:pt x="1487265" y="179010"/>
                  </a:lnTo>
                  <a:cubicBezTo>
                    <a:pt x="1504060" y="183809"/>
                    <a:pt x="1514857" y="200604"/>
                    <a:pt x="1511257" y="217399"/>
                  </a:cubicBezTo>
                  <a:cubicBezTo>
                    <a:pt x="1506459" y="234194"/>
                    <a:pt x="1489664" y="244991"/>
                    <a:pt x="1472869" y="241392"/>
                  </a:cubicBezTo>
                  <a:lnTo>
                    <a:pt x="1325313" y="210201"/>
                  </a:lnTo>
                  <a:lnTo>
                    <a:pt x="1258133" y="276182"/>
                  </a:lnTo>
                  <a:lnTo>
                    <a:pt x="1442878" y="313371"/>
                  </a:lnTo>
                  <a:cubicBezTo>
                    <a:pt x="1459673" y="318169"/>
                    <a:pt x="1470469" y="334964"/>
                    <a:pt x="1466871" y="351759"/>
                  </a:cubicBezTo>
                  <a:cubicBezTo>
                    <a:pt x="1462073" y="368554"/>
                    <a:pt x="1445278" y="379352"/>
                    <a:pt x="1428483" y="375752"/>
                  </a:cubicBezTo>
                  <a:lnTo>
                    <a:pt x="1204148" y="327766"/>
                  </a:lnTo>
                  <a:lnTo>
                    <a:pt x="1132170" y="397346"/>
                  </a:lnTo>
                  <a:lnTo>
                    <a:pt x="1391293" y="446532"/>
                  </a:lnTo>
                  <a:cubicBezTo>
                    <a:pt x="1400890" y="447731"/>
                    <a:pt x="1409288" y="454929"/>
                    <a:pt x="1414087" y="465726"/>
                  </a:cubicBezTo>
                  <a:cubicBezTo>
                    <a:pt x="1418885" y="475323"/>
                    <a:pt x="1417685" y="486119"/>
                    <a:pt x="1411688" y="495716"/>
                  </a:cubicBezTo>
                  <a:lnTo>
                    <a:pt x="1259332" y="710454"/>
                  </a:lnTo>
                  <a:lnTo>
                    <a:pt x="1358903" y="711653"/>
                  </a:lnTo>
                  <a:lnTo>
                    <a:pt x="1487265" y="519709"/>
                  </a:lnTo>
                  <a:cubicBezTo>
                    <a:pt x="1490864" y="513712"/>
                    <a:pt x="1495663" y="510112"/>
                    <a:pt x="1501660" y="507713"/>
                  </a:cubicBezTo>
                  <a:cubicBezTo>
                    <a:pt x="1511257" y="504115"/>
                    <a:pt x="1522055" y="505314"/>
                    <a:pt x="1531652" y="511312"/>
                  </a:cubicBezTo>
                  <a:cubicBezTo>
                    <a:pt x="1546048" y="520910"/>
                    <a:pt x="1549646" y="541303"/>
                    <a:pt x="1540049" y="555699"/>
                  </a:cubicBezTo>
                  <a:lnTo>
                    <a:pt x="1435680" y="710454"/>
                  </a:lnTo>
                  <a:lnTo>
                    <a:pt x="1530452" y="710454"/>
                  </a:lnTo>
                  <a:lnTo>
                    <a:pt x="1614427" y="585690"/>
                  </a:lnTo>
                  <a:cubicBezTo>
                    <a:pt x="1618026" y="579692"/>
                    <a:pt x="1622825" y="576093"/>
                    <a:pt x="1628823" y="573694"/>
                  </a:cubicBezTo>
                  <a:cubicBezTo>
                    <a:pt x="1638420" y="570095"/>
                    <a:pt x="1649217" y="571295"/>
                    <a:pt x="1658814" y="577292"/>
                  </a:cubicBezTo>
                  <a:cubicBezTo>
                    <a:pt x="1673210" y="586889"/>
                    <a:pt x="1676808" y="607284"/>
                    <a:pt x="1667211" y="621680"/>
                  </a:cubicBezTo>
                  <a:lnTo>
                    <a:pt x="1607229" y="710454"/>
                  </a:lnTo>
                  <a:lnTo>
                    <a:pt x="1686405" y="710454"/>
                  </a:lnTo>
                  <a:lnTo>
                    <a:pt x="1730793" y="644472"/>
                  </a:lnTo>
                  <a:cubicBezTo>
                    <a:pt x="1734391" y="638475"/>
                    <a:pt x="1739190" y="634875"/>
                    <a:pt x="1745189" y="632476"/>
                  </a:cubicBezTo>
                  <a:cubicBezTo>
                    <a:pt x="1754786" y="628878"/>
                    <a:pt x="1765582" y="630077"/>
                    <a:pt x="1775179" y="636076"/>
                  </a:cubicBezTo>
                  <a:cubicBezTo>
                    <a:pt x="1789575" y="645673"/>
                    <a:pt x="1793175" y="666066"/>
                    <a:pt x="1783577" y="680462"/>
                  </a:cubicBezTo>
                  <a:lnTo>
                    <a:pt x="1763183" y="711653"/>
                  </a:lnTo>
                  <a:lnTo>
                    <a:pt x="1826765" y="710454"/>
                  </a:lnTo>
                  <a:cubicBezTo>
                    <a:pt x="1844759" y="710454"/>
                    <a:pt x="1859154" y="724849"/>
                    <a:pt x="1859154" y="742843"/>
                  </a:cubicBezTo>
                  <a:cubicBezTo>
                    <a:pt x="1859154" y="760839"/>
                    <a:pt x="1844759" y="775234"/>
                    <a:pt x="1827964" y="775234"/>
                  </a:cubicBezTo>
                  <a:lnTo>
                    <a:pt x="1752387" y="775234"/>
                  </a:lnTo>
                  <a:lnTo>
                    <a:pt x="1782377" y="824419"/>
                  </a:lnTo>
                  <a:cubicBezTo>
                    <a:pt x="1790775" y="840015"/>
                    <a:pt x="1785977" y="859209"/>
                    <a:pt x="1771581" y="868807"/>
                  </a:cubicBezTo>
                  <a:cubicBezTo>
                    <a:pt x="1757185" y="877203"/>
                    <a:pt x="1736791" y="872405"/>
                    <a:pt x="1727193" y="858009"/>
                  </a:cubicBezTo>
                  <a:lnTo>
                    <a:pt x="1675609" y="775234"/>
                  </a:lnTo>
                  <a:lnTo>
                    <a:pt x="1596433" y="775234"/>
                  </a:lnTo>
                  <a:lnTo>
                    <a:pt x="1662413" y="883202"/>
                  </a:lnTo>
                  <a:cubicBezTo>
                    <a:pt x="1670811" y="898797"/>
                    <a:pt x="1666012" y="917991"/>
                    <a:pt x="1651616" y="927589"/>
                  </a:cubicBezTo>
                  <a:cubicBezTo>
                    <a:pt x="1637221" y="935987"/>
                    <a:pt x="1616826" y="931188"/>
                    <a:pt x="1607229" y="916792"/>
                  </a:cubicBezTo>
                  <a:lnTo>
                    <a:pt x="1520855" y="776433"/>
                  </a:lnTo>
                  <a:lnTo>
                    <a:pt x="1519656" y="776433"/>
                  </a:lnTo>
                  <a:lnTo>
                    <a:pt x="1441678" y="776433"/>
                  </a:lnTo>
                  <a:lnTo>
                    <a:pt x="1532851" y="923990"/>
                  </a:lnTo>
                  <a:cubicBezTo>
                    <a:pt x="1541249" y="939585"/>
                    <a:pt x="1536451" y="958779"/>
                    <a:pt x="1522055" y="968378"/>
                  </a:cubicBezTo>
                  <a:cubicBezTo>
                    <a:pt x="1507659" y="976775"/>
                    <a:pt x="1487265" y="971976"/>
                    <a:pt x="1477667" y="957580"/>
                  </a:cubicBezTo>
                  <a:lnTo>
                    <a:pt x="1366101" y="776433"/>
                  </a:lnTo>
                  <a:lnTo>
                    <a:pt x="1271329" y="776433"/>
                  </a:lnTo>
                  <a:lnTo>
                    <a:pt x="1416486" y="1006765"/>
                  </a:lnTo>
                  <a:cubicBezTo>
                    <a:pt x="1421285" y="1015163"/>
                    <a:pt x="1421285" y="1025959"/>
                    <a:pt x="1418885" y="1035557"/>
                  </a:cubicBezTo>
                  <a:cubicBezTo>
                    <a:pt x="1414087" y="1046354"/>
                    <a:pt x="1406889" y="1053552"/>
                    <a:pt x="1396092" y="1054751"/>
                  </a:cubicBezTo>
                  <a:lnTo>
                    <a:pt x="1128571" y="1109934"/>
                  </a:lnTo>
                  <a:lnTo>
                    <a:pt x="1194551" y="1178315"/>
                  </a:lnTo>
                  <a:lnTo>
                    <a:pt x="1403289" y="1132728"/>
                  </a:lnTo>
                  <a:cubicBezTo>
                    <a:pt x="1421285" y="1129129"/>
                    <a:pt x="1438080" y="1139926"/>
                    <a:pt x="1441678" y="1156721"/>
                  </a:cubicBezTo>
                  <a:cubicBezTo>
                    <a:pt x="1445278" y="1174715"/>
                    <a:pt x="1434480" y="1191510"/>
                    <a:pt x="1417685" y="1195110"/>
                  </a:cubicBezTo>
                  <a:lnTo>
                    <a:pt x="1247336" y="1232299"/>
                  </a:lnTo>
                  <a:lnTo>
                    <a:pt x="1301320" y="1288682"/>
                  </a:lnTo>
                  <a:lnTo>
                    <a:pt x="1463272" y="1253893"/>
                  </a:lnTo>
                  <a:cubicBezTo>
                    <a:pt x="1481267" y="1250294"/>
                    <a:pt x="1498062" y="1261090"/>
                    <a:pt x="1501660" y="1277886"/>
                  </a:cubicBezTo>
                  <a:cubicBezTo>
                    <a:pt x="1505260" y="1295880"/>
                    <a:pt x="1494462" y="1312675"/>
                    <a:pt x="1477667" y="1316275"/>
                  </a:cubicBezTo>
                  <a:lnTo>
                    <a:pt x="1354105" y="1342665"/>
                  </a:lnTo>
                  <a:lnTo>
                    <a:pt x="1408088" y="1405047"/>
                  </a:lnTo>
                  <a:lnTo>
                    <a:pt x="1504060" y="1384654"/>
                  </a:lnTo>
                  <a:cubicBezTo>
                    <a:pt x="1522055" y="1381054"/>
                    <a:pt x="1538850" y="1391852"/>
                    <a:pt x="1542448" y="1408647"/>
                  </a:cubicBezTo>
                  <a:cubicBezTo>
                    <a:pt x="1546048" y="1426641"/>
                    <a:pt x="1535250" y="1443436"/>
                    <a:pt x="1518455" y="1447035"/>
                  </a:cubicBezTo>
                  <a:lnTo>
                    <a:pt x="1460872" y="1459032"/>
                  </a:lnTo>
                  <a:lnTo>
                    <a:pt x="1462073" y="1460232"/>
                  </a:lnTo>
                  <a:lnTo>
                    <a:pt x="1513657" y="1513015"/>
                  </a:lnTo>
                  <a:cubicBezTo>
                    <a:pt x="1525653" y="1526212"/>
                    <a:pt x="1525653" y="1546605"/>
                    <a:pt x="1512458" y="1558601"/>
                  </a:cubicBezTo>
                  <a:cubicBezTo>
                    <a:pt x="1500461" y="1570598"/>
                    <a:pt x="1480067" y="1570598"/>
                    <a:pt x="1468070" y="1557402"/>
                  </a:cubicBezTo>
                  <a:lnTo>
                    <a:pt x="1423684" y="1511816"/>
                  </a:lnTo>
                  <a:lnTo>
                    <a:pt x="1416486" y="1547805"/>
                  </a:lnTo>
                  <a:cubicBezTo>
                    <a:pt x="1411688" y="1564600"/>
                    <a:pt x="1394893" y="1575397"/>
                    <a:pt x="1378097" y="1571798"/>
                  </a:cubicBezTo>
                  <a:cubicBezTo>
                    <a:pt x="1361302" y="1568200"/>
                    <a:pt x="1350505" y="1550205"/>
                    <a:pt x="1354105" y="1533410"/>
                  </a:cubicBezTo>
                  <a:lnTo>
                    <a:pt x="1370900" y="1454233"/>
                  </a:lnTo>
                  <a:lnTo>
                    <a:pt x="1316915" y="1397850"/>
                  </a:lnTo>
                  <a:lnTo>
                    <a:pt x="1316915" y="1396650"/>
                  </a:lnTo>
                  <a:lnTo>
                    <a:pt x="1294122" y="1502219"/>
                  </a:lnTo>
                  <a:cubicBezTo>
                    <a:pt x="1289324" y="1519014"/>
                    <a:pt x="1272529" y="1529811"/>
                    <a:pt x="1255734" y="1526212"/>
                  </a:cubicBezTo>
                  <a:cubicBezTo>
                    <a:pt x="1238939" y="1521413"/>
                    <a:pt x="1228141" y="1504618"/>
                    <a:pt x="1231741" y="1487823"/>
                  </a:cubicBezTo>
                  <a:lnTo>
                    <a:pt x="1262932" y="1340267"/>
                  </a:lnTo>
                  <a:lnTo>
                    <a:pt x="1196951" y="1273086"/>
                  </a:lnTo>
                  <a:lnTo>
                    <a:pt x="1157363" y="1455432"/>
                  </a:lnTo>
                  <a:cubicBezTo>
                    <a:pt x="1152564" y="1472228"/>
                    <a:pt x="1135769" y="1483025"/>
                    <a:pt x="1118974" y="1479425"/>
                  </a:cubicBezTo>
                  <a:cubicBezTo>
                    <a:pt x="1102179" y="1475827"/>
                    <a:pt x="1091382" y="1459032"/>
                    <a:pt x="1094981" y="1442237"/>
                  </a:cubicBezTo>
                  <a:lnTo>
                    <a:pt x="1144166" y="1216703"/>
                  </a:lnTo>
                  <a:lnTo>
                    <a:pt x="1075787" y="1145924"/>
                  </a:lnTo>
                  <a:lnTo>
                    <a:pt x="1025402" y="1403848"/>
                  </a:lnTo>
                  <a:cubicBezTo>
                    <a:pt x="1021802" y="1425442"/>
                    <a:pt x="993011" y="1436239"/>
                    <a:pt x="976216" y="1424243"/>
                  </a:cubicBezTo>
                  <a:lnTo>
                    <a:pt x="761480" y="1273086"/>
                  </a:lnTo>
                  <a:lnTo>
                    <a:pt x="761480" y="1372657"/>
                  </a:lnTo>
                  <a:lnTo>
                    <a:pt x="953423" y="1501019"/>
                  </a:lnTo>
                  <a:cubicBezTo>
                    <a:pt x="967819" y="1510616"/>
                    <a:pt x="971417" y="1531010"/>
                    <a:pt x="961820" y="1545406"/>
                  </a:cubicBezTo>
                  <a:cubicBezTo>
                    <a:pt x="952223" y="1559802"/>
                    <a:pt x="931830" y="1563400"/>
                    <a:pt x="917434" y="1553804"/>
                  </a:cubicBezTo>
                  <a:lnTo>
                    <a:pt x="762679" y="1449434"/>
                  </a:lnTo>
                  <a:lnTo>
                    <a:pt x="761480" y="1543007"/>
                  </a:lnTo>
                  <a:lnTo>
                    <a:pt x="886243" y="1626982"/>
                  </a:lnTo>
                  <a:cubicBezTo>
                    <a:pt x="900639" y="1636579"/>
                    <a:pt x="904237" y="1656972"/>
                    <a:pt x="894640" y="1671368"/>
                  </a:cubicBezTo>
                  <a:cubicBezTo>
                    <a:pt x="885043" y="1685765"/>
                    <a:pt x="864650" y="1689363"/>
                    <a:pt x="850254" y="1679766"/>
                  </a:cubicBezTo>
                  <a:lnTo>
                    <a:pt x="760280" y="1619784"/>
                  </a:lnTo>
                  <a:lnTo>
                    <a:pt x="760280" y="1620983"/>
                  </a:lnTo>
                  <a:lnTo>
                    <a:pt x="760280" y="1698961"/>
                  </a:lnTo>
                  <a:lnTo>
                    <a:pt x="827460" y="1744547"/>
                  </a:lnTo>
                  <a:cubicBezTo>
                    <a:pt x="841856" y="1754144"/>
                    <a:pt x="845455" y="1774538"/>
                    <a:pt x="835858" y="1788933"/>
                  </a:cubicBezTo>
                  <a:cubicBezTo>
                    <a:pt x="826261" y="1803329"/>
                    <a:pt x="805866" y="1806929"/>
                    <a:pt x="791471" y="1797331"/>
                  </a:cubicBezTo>
                  <a:lnTo>
                    <a:pt x="761480" y="1776937"/>
                  </a:lnTo>
                  <a:lnTo>
                    <a:pt x="760280" y="1840519"/>
                  </a:lnTo>
                  <a:cubicBezTo>
                    <a:pt x="760280" y="1858513"/>
                    <a:pt x="745884" y="1872908"/>
                    <a:pt x="729089" y="1872908"/>
                  </a:cubicBezTo>
                  <a:cubicBezTo>
                    <a:pt x="711095" y="1872908"/>
                    <a:pt x="696699" y="1858513"/>
                    <a:pt x="696699" y="1840519"/>
                  </a:cubicBezTo>
                  <a:lnTo>
                    <a:pt x="696699" y="1766141"/>
                  </a:lnTo>
                  <a:lnTo>
                    <a:pt x="696699" y="1764940"/>
                  </a:lnTo>
                  <a:lnTo>
                    <a:pt x="646314" y="1796132"/>
                  </a:lnTo>
                  <a:cubicBezTo>
                    <a:pt x="630718" y="1804529"/>
                    <a:pt x="611524" y="1799731"/>
                    <a:pt x="601927" y="1785335"/>
                  </a:cubicBezTo>
                  <a:cubicBezTo>
                    <a:pt x="593530" y="1769740"/>
                    <a:pt x="597128" y="1750545"/>
                    <a:pt x="612724" y="1740948"/>
                  </a:cubicBezTo>
                  <a:lnTo>
                    <a:pt x="696699" y="1689363"/>
                  </a:lnTo>
                  <a:lnTo>
                    <a:pt x="696699" y="1610187"/>
                  </a:lnTo>
                  <a:lnTo>
                    <a:pt x="696699" y="1608987"/>
                  </a:lnTo>
                  <a:lnTo>
                    <a:pt x="588731" y="1676168"/>
                  </a:lnTo>
                  <a:cubicBezTo>
                    <a:pt x="573135" y="1684565"/>
                    <a:pt x="553941" y="1680965"/>
                    <a:pt x="544344" y="1665370"/>
                  </a:cubicBezTo>
                  <a:cubicBezTo>
                    <a:pt x="535947" y="1649776"/>
                    <a:pt x="540746" y="1630580"/>
                    <a:pt x="555141" y="1620983"/>
                  </a:cubicBezTo>
                  <a:lnTo>
                    <a:pt x="696699" y="1533410"/>
                  </a:lnTo>
                  <a:lnTo>
                    <a:pt x="696699" y="1455432"/>
                  </a:lnTo>
                  <a:lnTo>
                    <a:pt x="547944" y="1546605"/>
                  </a:lnTo>
                  <a:cubicBezTo>
                    <a:pt x="532347" y="1555003"/>
                    <a:pt x="513153" y="1550205"/>
                    <a:pt x="503556" y="1535809"/>
                  </a:cubicBezTo>
                  <a:cubicBezTo>
                    <a:pt x="495159" y="1520214"/>
                    <a:pt x="499958" y="1501019"/>
                    <a:pt x="514353" y="1491421"/>
                  </a:cubicBezTo>
                  <a:lnTo>
                    <a:pt x="695499" y="1376257"/>
                  </a:lnTo>
                  <a:lnTo>
                    <a:pt x="695499" y="1281484"/>
                  </a:lnTo>
                  <a:lnTo>
                    <a:pt x="463968" y="1426641"/>
                  </a:lnTo>
                  <a:cubicBezTo>
                    <a:pt x="454371" y="1432639"/>
                    <a:pt x="443574" y="1432639"/>
                    <a:pt x="433977" y="1429040"/>
                  </a:cubicBezTo>
                  <a:cubicBezTo>
                    <a:pt x="424379" y="1424243"/>
                    <a:pt x="417182" y="1415844"/>
                    <a:pt x="414782" y="1406247"/>
                  </a:cubicBezTo>
                  <a:lnTo>
                    <a:pt x="359599" y="1139926"/>
                  </a:lnTo>
                  <a:lnTo>
                    <a:pt x="292419" y="1205907"/>
                  </a:lnTo>
                  <a:lnTo>
                    <a:pt x="338005" y="1414644"/>
                  </a:lnTo>
                  <a:cubicBezTo>
                    <a:pt x="341605" y="1432639"/>
                    <a:pt x="330807" y="1449434"/>
                    <a:pt x="314012" y="1453033"/>
                  </a:cubicBezTo>
                  <a:cubicBezTo>
                    <a:pt x="296018" y="1456632"/>
                    <a:pt x="279223" y="1445836"/>
                    <a:pt x="275624" y="1429040"/>
                  </a:cubicBezTo>
                  <a:lnTo>
                    <a:pt x="238435" y="1259891"/>
                  </a:lnTo>
                  <a:lnTo>
                    <a:pt x="182051" y="1313875"/>
                  </a:lnTo>
                  <a:lnTo>
                    <a:pt x="180852" y="1313875"/>
                  </a:lnTo>
                  <a:lnTo>
                    <a:pt x="215641" y="1475827"/>
                  </a:lnTo>
                  <a:cubicBezTo>
                    <a:pt x="219241" y="1493822"/>
                    <a:pt x="208444" y="1510616"/>
                    <a:pt x="191649" y="1514215"/>
                  </a:cubicBezTo>
                  <a:cubicBezTo>
                    <a:pt x="173654" y="1517815"/>
                    <a:pt x="156859" y="1507017"/>
                    <a:pt x="153260" y="1490222"/>
                  </a:cubicBezTo>
                  <a:lnTo>
                    <a:pt x="126868" y="1366658"/>
                  </a:lnTo>
                  <a:lnTo>
                    <a:pt x="69285" y="1421843"/>
                  </a:lnTo>
                  <a:lnTo>
                    <a:pt x="89679" y="1516615"/>
                  </a:lnTo>
                  <a:cubicBezTo>
                    <a:pt x="93278" y="1534609"/>
                    <a:pt x="82481" y="1551404"/>
                    <a:pt x="65686" y="1555003"/>
                  </a:cubicBezTo>
                  <a:cubicBezTo>
                    <a:pt x="47691" y="1558601"/>
                    <a:pt x="30896" y="1547805"/>
                    <a:pt x="27298" y="1531010"/>
                  </a:cubicBezTo>
                  <a:lnTo>
                    <a:pt x="15301" y="1474626"/>
                  </a:lnTo>
                  <a:lnTo>
                    <a:pt x="0" y="1489588"/>
                  </a:lnTo>
                  <a:lnTo>
                    <a:pt x="0" y="1379383"/>
                  </a:lnTo>
                  <a:lnTo>
                    <a:pt x="18900" y="1383453"/>
                  </a:lnTo>
                  <a:lnTo>
                    <a:pt x="76483" y="1328271"/>
                  </a:lnTo>
                  <a:lnTo>
                    <a:pt x="0" y="1311567"/>
                  </a:lnTo>
                  <a:lnTo>
                    <a:pt x="0" y="1246167"/>
                  </a:lnTo>
                  <a:lnTo>
                    <a:pt x="134066" y="1276686"/>
                  </a:lnTo>
                  <a:lnTo>
                    <a:pt x="202446" y="1210705"/>
                  </a:lnTo>
                  <a:lnTo>
                    <a:pt x="20100" y="1171117"/>
                  </a:lnTo>
                  <a:cubicBezTo>
                    <a:pt x="11702" y="1169317"/>
                    <a:pt x="4804" y="1163919"/>
                    <a:pt x="456" y="1156871"/>
                  </a:cubicBezTo>
                  <a:lnTo>
                    <a:pt x="0" y="1154342"/>
                  </a:lnTo>
                  <a:lnTo>
                    <a:pt x="0" y="1128105"/>
                  </a:lnTo>
                  <a:lnTo>
                    <a:pt x="15301" y="1109934"/>
                  </a:lnTo>
                  <a:cubicBezTo>
                    <a:pt x="20100" y="1107535"/>
                    <a:pt x="27298" y="1107535"/>
                    <a:pt x="33295" y="1108735"/>
                  </a:cubicBezTo>
                  <a:lnTo>
                    <a:pt x="258828" y="1157922"/>
                  </a:lnTo>
                  <a:lnTo>
                    <a:pt x="329608" y="1088342"/>
                  </a:lnTo>
                  <a:lnTo>
                    <a:pt x="70485" y="1040356"/>
                  </a:lnTo>
                  <a:cubicBezTo>
                    <a:pt x="59688" y="1037956"/>
                    <a:pt x="51291" y="1030758"/>
                    <a:pt x="47691" y="1021161"/>
                  </a:cubicBezTo>
                  <a:cubicBezTo>
                    <a:pt x="42893" y="1010365"/>
                    <a:pt x="44093" y="999567"/>
                    <a:pt x="50090" y="991170"/>
                  </a:cubicBezTo>
                  <a:lnTo>
                    <a:pt x="202446" y="775234"/>
                  </a:lnTo>
                  <a:lnTo>
                    <a:pt x="102875" y="775234"/>
                  </a:lnTo>
                  <a:lnTo>
                    <a:pt x="0" y="928105"/>
                  </a:lnTo>
                  <a:lnTo>
                    <a:pt x="0" y="812582"/>
                  </a:lnTo>
                  <a:lnTo>
                    <a:pt x="24899" y="775234"/>
                  </a:lnTo>
                  <a:lnTo>
                    <a:pt x="0" y="774915"/>
                  </a:lnTo>
                  <a:lnTo>
                    <a:pt x="0" y="709253"/>
                  </a:lnTo>
                  <a:lnTo>
                    <a:pt x="16500" y="709253"/>
                  </a:lnTo>
                  <a:lnTo>
                    <a:pt x="0" y="682332"/>
                  </a:lnTo>
                  <a:lnTo>
                    <a:pt x="0" y="558760"/>
                  </a:lnTo>
                  <a:lnTo>
                    <a:pt x="92079" y="709253"/>
                  </a:lnTo>
                  <a:lnTo>
                    <a:pt x="188050" y="709253"/>
                  </a:lnTo>
                  <a:lnTo>
                    <a:pt x="41694" y="478921"/>
                  </a:lnTo>
                  <a:cubicBezTo>
                    <a:pt x="36895" y="470525"/>
                    <a:pt x="36895" y="459727"/>
                    <a:pt x="39294" y="450130"/>
                  </a:cubicBezTo>
                  <a:cubicBezTo>
                    <a:pt x="44093" y="439334"/>
                    <a:pt x="52490" y="433335"/>
                    <a:pt x="62087" y="430936"/>
                  </a:cubicBezTo>
                  <a:lnTo>
                    <a:pt x="330807" y="372154"/>
                  </a:lnTo>
                  <a:lnTo>
                    <a:pt x="266026" y="303773"/>
                  </a:lnTo>
                  <a:lnTo>
                    <a:pt x="57288" y="349360"/>
                  </a:lnTo>
                  <a:cubicBezTo>
                    <a:pt x="39294" y="352959"/>
                    <a:pt x="22499" y="342162"/>
                    <a:pt x="18900" y="325367"/>
                  </a:cubicBezTo>
                  <a:cubicBezTo>
                    <a:pt x="15301" y="307373"/>
                    <a:pt x="26098" y="290578"/>
                    <a:pt x="42893" y="286978"/>
                  </a:cubicBezTo>
                  <a:lnTo>
                    <a:pt x="213242" y="249790"/>
                  </a:lnTo>
                  <a:lnTo>
                    <a:pt x="159259" y="192207"/>
                  </a:lnTo>
                  <a:lnTo>
                    <a:pt x="0" y="227598"/>
                  </a:lnTo>
                  <a:lnTo>
                    <a:pt x="0" y="162165"/>
                  </a:lnTo>
                  <a:lnTo>
                    <a:pt x="106474" y="139423"/>
                  </a:lnTo>
                  <a:lnTo>
                    <a:pt x="52490" y="81840"/>
                  </a:lnTo>
                  <a:lnTo>
                    <a:pt x="0" y="93135"/>
                  </a:lnTo>
                  <a:lnTo>
                    <a:pt x="0" y="28044"/>
                  </a:lnTo>
                  <a:lnTo>
                    <a:pt x="906" y="27855"/>
                  </a:lnTo>
                  <a:lnTo>
                    <a:pt x="0" y="26929"/>
                  </a:ln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87755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2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+mn-ea"/>
                <a:cs typeface="+mn-cs"/>
              </a:endParaRPr>
            </a:p>
          </p:txBody>
        </p:sp>
        <p:sp>
          <p:nvSpPr>
            <p:cNvPr id="11" name="Freeform: Shape 4">
              <a:extLst>
                <a:ext uri="{FF2B5EF4-FFF2-40B4-BE49-F238E27FC236}">
                  <a16:creationId xmlns:a16="http://schemas.microsoft.com/office/drawing/2014/main" id="{F182831B-1CD7-4CFC-A408-981B402FE8ED}"/>
                </a:ext>
              </a:extLst>
            </p:cNvPr>
            <p:cNvSpPr/>
            <p:nvPr userDrawn="1"/>
          </p:nvSpPr>
          <p:spPr>
            <a:xfrm>
              <a:off x="-22998" y="3262528"/>
              <a:ext cx="714013" cy="1378658"/>
            </a:xfrm>
            <a:custGeom>
              <a:avLst/>
              <a:gdLst>
                <a:gd name="connsiteX0" fmla="*/ 122970 w 714013"/>
                <a:gd name="connsiteY0" fmla="*/ 816910 h 1378658"/>
                <a:gd name="connsiteX1" fmla="*/ 94406 w 714013"/>
                <a:gd name="connsiteY1" fmla="*/ 843277 h 1378658"/>
                <a:gd name="connsiteX2" fmla="*/ 81223 w 714013"/>
                <a:gd name="connsiteY2" fmla="*/ 848404 h 1378658"/>
                <a:gd name="connsiteX3" fmla="*/ 42406 w 714013"/>
                <a:gd name="connsiteY3" fmla="*/ 849136 h 1378658"/>
                <a:gd name="connsiteX4" fmla="*/ 43138 w 714013"/>
                <a:gd name="connsiteY4" fmla="*/ 963390 h 1378658"/>
                <a:gd name="connsiteX5" fmla="*/ 172040 w 714013"/>
                <a:gd name="connsiteY5" fmla="*/ 1054207 h 1378658"/>
                <a:gd name="connsiteX6" fmla="*/ 202069 w 714013"/>
                <a:gd name="connsiteY6" fmla="*/ 899672 h 1378658"/>
                <a:gd name="connsiteX7" fmla="*/ 308998 w 714013"/>
                <a:gd name="connsiteY7" fmla="*/ 708516 h 1378658"/>
                <a:gd name="connsiteX8" fmla="*/ 185223 w 714013"/>
                <a:gd name="connsiteY8" fmla="*/ 709248 h 1378658"/>
                <a:gd name="connsiteX9" fmla="*/ 185956 w 714013"/>
                <a:gd name="connsiteY9" fmla="*/ 748065 h 1378658"/>
                <a:gd name="connsiteX10" fmla="*/ 179364 w 714013"/>
                <a:gd name="connsiteY10" fmla="*/ 762713 h 1378658"/>
                <a:gd name="connsiteX11" fmla="*/ 150801 w 714013"/>
                <a:gd name="connsiteY11" fmla="*/ 789079 h 1378658"/>
                <a:gd name="connsiteX12" fmla="*/ 237224 w 714013"/>
                <a:gd name="connsiteY12" fmla="*/ 879164 h 1378658"/>
                <a:gd name="connsiteX13" fmla="*/ 395421 w 714013"/>
                <a:gd name="connsiteY13" fmla="*/ 846206 h 1378658"/>
                <a:gd name="connsiteX14" fmla="*/ 235026 w 714013"/>
                <a:gd name="connsiteY14" fmla="*/ 510769 h 1378658"/>
                <a:gd name="connsiteX15" fmla="*/ 152266 w 714013"/>
                <a:gd name="connsiteY15" fmla="*/ 589868 h 1378658"/>
                <a:gd name="connsiteX16" fmla="*/ 178632 w 714013"/>
                <a:gd name="connsiteY16" fmla="*/ 618431 h 1378658"/>
                <a:gd name="connsiteX17" fmla="*/ 183758 w 714013"/>
                <a:gd name="connsiteY17" fmla="*/ 631614 h 1378658"/>
                <a:gd name="connsiteX18" fmla="*/ 184491 w 714013"/>
                <a:gd name="connsiteY18" fmla="*/ 671163 h 1378658"/>
                <a:gd name="connsiteX19" fmla="*/ 298012 w 714013"/>
                <a:gd name="connsiteY19" fmla="*/ 670431 h 1378658"/>
                <a:gd name="connsiteX20" fmla="*/ 298745 w 714013"/>
                <a:gd name="connsiteY20" fmla="*/ 668966 h 1378658"/>
                <a:gd name="connsiteX21" fmla="*/ 389562 w 714013"/>
                <a:gd name="connsiteY21" fmla="*/ 540797 h 1378658"/>
                <a:gd name="connsiteX22" fmla="*/ 182294 w 714013"/>
                <a:gd name="connsiteY22" fmla="*/ 317416 h 1378658"/>
                <a:gd name="connsiteX23" fmla="*/ 44603 w 714013"/>
                <a:gd name="connsiteY23" fmla="*/ 403839 h 1378658"/>
                <a:gd name="connsiteX24" fmla="*/ 45336 w 714013"/>
                <a:gd name="connsiteY24" fmla="*/ 527613 h 1378658"/>
                <a:gd name="connsiteX25" fmla="*/ 84885 w 714013"/>
                <a:gd name="connsiteY25" fmla="*/ 526881 h 1378658"/>
                <a:gd name="connsiteX26" fmla="*/ 99533 w 714013"/>
                <a:gd name="connsiteY26" fmla="*/ 532741 h 1378658"/>
                <a:gd name="connsiteX27" fmla="*/ 126631 w 714013"/>
                <a:gd name="connsiteY27" fmla="*/ 562036 h 1378658"/>
                <a:gd name="connsiteX28" fmla="*/ 215984 w 714013"/>
                <a:gd name="connsiteY28" fmla="*/ 476346 h 1378658"/>
                <a:gd name="connsiteX29" fmla="*/ 24829 w 714013"/>
                <a:gd name="connsiteY29" fmla="*/ 288 h 1378658"/>
                <a:gd name="connsiteX30" fmla="*/ 45336 w 714013"/>
                <a:gd name="connsiteY30" fmla="*/ 16401 h 1378658"/>
                <a:gd name="connsiteX31" fmla="*/ 45336 w 714013"/>
                <a:gd name="connsiteY31" fmla="*/ 62542 h 1378658"/>
                <a:gd name="connsiteX32" fmla="*/ 75364 w 714013"/>
                <a:gd name="connsiteY32" fmla="*/ 43500 h 1378658"/>
                <a:gd name="connsiteX33" fmla="*/ 102463 w 714013"/>
                <a:gd name="connsiteY33" fmla="*/ 50091 h 1378658"/>
                <a:gd name="connsiteX34" fmla="*/ 95871 w 714013"/>
                <a:gd name="connsiteY34" fmla="*/ 77190 h 1378658"/>
                <a:gd name="connsiteX35" fmla="*/ 45336 w 714013"/>
                <a:gd name="connsiteY35" fmla="*/ 108683 h 1378658"/>
                <a:gd name="connsiteX36" fmla="*/ 45336 w 714013"/>
                <a:gd name="connsiteY36" fmla="*/ 109416 h 1378658"/>
                <a:gd name="connsiteX37" fmla="*/ 45336 w 714013"/>
                <a:gd name="connsiteY37" fmla="*/ 157754 h 1378658"/>
                <a:gd name="connsiteX38" fmla="*/ 111251 w 714013"/>
                <a:gd name="connsiteY38" fmla="*/ 117472 h 1378658"/>
                <a:gd name="connsiteX39" fmla="*/ 138350 w 714013"/>
                <a:gd name="connsiteY39" fmla="*/ 124063 h 1378658"/>
                <a:gd name="connsiteX40" fmla="*/ 131759 w 714013"/>
                <a:gd name="connsiteY40" fmla="*/ 151162 h 1378658"/>
                <a:gd name="connsiteX41" fmla="*/ 45336 w 714013"/>
                <a:gd name="connsiteY41" fmla="*/ 204627 h 1378658"/>
                <a:gd name="connsiteX42" fmla="*/ 45336 w 714013"/>
                <a:gd name="connsiteY42" fmla="*/ 252965 h 1378658"/>
                <a:gd name="connsiteX43" fmla="*/ 135420 w 714013"/>
                <a:gd name="connsiteY43" fmla="*/ 197303 h 1378658"/>
                <a:gd name="connsiteX44" fmla="*/ 162519 w 714013"/>
                <a:gd name="connsiteY44" fmla="*/ 203894 h 1378658"/>
                <a:gd name="connsiteX45" fmla="*/ 155927 w 714013"/>
                <a:gd name="connsiteY45" fmla="*/ 230993 h 1378658"/>
                <a:gd name="connsiteX46" fmla="*/ 44603 w 714013"/>
                <a:gd name="connsiteY46" fmla="*/ 299106 h 1378658"/>
                <a:gd name="connsiteX47" fmla="*/ 45336 w 714013"/>
                <a:gd name="connsiteY47" fmla="*/ 356965 h 1378658"/>
                <a:gd name="connsiteX48" fmla="*/ 185223 w 714013"/>
                <a:gd name="connsiteY48" fmla="*/ 268345 h 1378658"/>
                <a:gd name="connsiteX49" fmla="*/ 203533 w 714013"/>
                <a:gd name="connsiteY49" fmla="*/ 266880 h 1378658"/>
                <a:gd name="connsiteX50" fmla="*/ 215252 w 714013"/>
                <a:gd name="connsiteY50" fmla="*/ 280796 h 1378658"/>
                <a:gd name="connsiteX51" fmla="*/ 248942 w 714013"/>
                <a:gd name="connsiteY51" fmla="*/ 441923 h 1378658"/>
                <a:gd name="connsiteX52" fmla="*/ 290688 w 714013"/>
                <a:gd name="connsiteY52" fmla="*/ 401641 h 1378658"/>
                <a:gd name="connsiteX53" fmla="*/ 262857 w 714013"/>
                <a:gd name="connsiteY53" fmla="*/ 274204 h 1378658"/>
                <a:gd name="connsiteX54" fmla="*/ 274575 w 714013"/>
                <a:gd name="connsiteY54" fmla="*/ 252232 h 1378658"/>
                <a:gd name="connsiteX55" fmla="*/ 277505 w 714013"/>
                <a:gd name="connsiteY55" fmla="*/ 251500 h 1378658"/>
                <a:gd name="connsiteX56" fmla="*/ 300942 w 714013"/>
                <a:gd name="connsiteY56" fmla="*/ 266148 h 1378658"/>
                <a:gd name="connsiteX57" fmla="*/ 323646 w 714013"/>
                <a:gd name="connsiteY57" fmla="*/ 370149 h 1378658"/>
                <a:gd name="connsiteX58" fmla="*/ 358069 w 714013"/>
                <a:gd name="connsiteY58" fmla="*/ 337190 h 1378658"/>
                <a:gd name="connsiteX59" fmla="*/ 336097 w 714013"/>
                <a:gd name="connsiteY59" fmla="*/ 238317 h 1378658"/>
                <a:gd name="connsiteX60" fmla="*/ 347815 w 714013"/>
                <a:gd name="connsiteY60" fmla="*/ 216345 h 1378658"/>
                <a:gd name="connsiteX61" fmla="*/ 350745 w 714013"/>
                <a:gd name="connsiteY61" fmla="*/ 215613 h 1378658"/>
                <a:gd name="connsiteX62" fmla="*/ 374181 w 714013"/>
                <a:gd name="connsiteY62" fmla="*/ 230261 h 1378658"/>
                <a:gd name="connsiteX63" fmla="*/ 391027 w 714013"/>
                <a:gd name="connsiteY63" fmla="*/ 306430 h 1378658"/>
                <a:gd name="connsiteX64" fmla="*/ 426182 w 714013"/>
                <a:gd name="connsiteY64" fmla="*/ 272740 h 1378658"/>
                <a:gd name="connsiteX65" fmla="*/ 413731 w 714013"/>
                <a:gd name="connsiteY65" fmla="*/ 214148 h 1378658"/>
                <a:gd name="connsiteX66" fmla="*/ 425449 w 714013"/>
                <a:gd name="connsiteY66" fmla="*/ 192176 h 1378658"/>
                <a:gd name="connsiteX67" fmla="*/ 428379 w 714013"/>
                <a:gd name="connsiteY67" fmla="*/ 191444 h 1378658"/>
                <a:gd name="connsiteX68" fmla="*/ 451815 w 714013"/>
                <a:gd name="connsiteY68" fmla="*/ 206092 h 1378658"/>
                <a:gd name="connsiteX69" fmla="*/ 459139 w 714013"/>
                <a:gd name="connsiteY69" fmla="*/ 241247 h 1378658"/>
                <a:gd name="connsiteX70" fmla="*/ 492830 w 714013"/>
                <a:gd name="connsiteY70" fmla="*/ 209753 h 1378658"/>
                <a:gd name="connsiteX71" fmla="*/ 519929 w 714013"/>
                <a:gd name="connsiteY71" fmla="*/ 210486 h 1378658"/>
                <a:gd name="connsiteX72" fmla="*/ 519929 w 714013"/>
                <a:gd name="connsiteY72" fmla="*/ 237585 h 1378658"/>
                <a:gd name="connsiteX73" fmla="*/ 492098 w 714013"/>
                <a:gd name="connsiteY73" fmla="*/ 263951 h 1378658"/>
                <a:gd name="connsiteX74" fmla="*/ 514801 w 714013"/>
                <a:gd name="connsiteY74" fmla="*/ 269078 h 1378658"/>
                <a:gd name="connsiteX75" fmla="*/ 529449 w 714013"/>
                <a:gd name="connsiteY75" fmla="*/ 292515 h 1378658"/>
                <a:gd name="connsiteX76" fmla="*/ 506013 w 714013"/>
                <a:gd name="connsiteY76" fmla="*/ 307163 h 1378658"/>
                <a:gd name="connsiteX77" fmla="*/ 458407 w 714013"/>
                <a:gd name="connsiteY77" fmla="*/ 296909 h 1378658"/>
                <a:gd name="connsiteX78" fmla="*/ 423252 w 714013"/>
                <a:gd name="connsiteY78" fmla="*/ 330599 h 1378658"/>
                <a:gd name="connsiteX79" fmla="*/ 486970 w 714013"/>
                <a:gd name="connsiteY79" fmla="*/ 344514 h 1378658"/>
                <a:gd name="connsiteX80" fmla="*/ 501618 w 714013"/>
                <a:gd name="connsiteY80" fmla="*/ 367951 h 1378658"/>
                <a:gd name="connsiteX81" fmla="*/ 478182 w 714013"/>
                <a:gd name="connsiteY81" fmla="*/ 382599 h 1378658"/>
                <a:gd name="connsiteX82" fmla="*/ 388097 w 714013"/>
                <a:gd name="connsiteY82" fmla="*/ 363557 h 1378658"/>
                <a:gd name="connsiteX83" fmla="*/ 347083 w 714013"/>
                <a:gd name="connsiteY83" fmla="*/ 403839 h 1378658"/>
                <a:gd name="connsiteX84" fmla="*/ 459872 w 714013"/>
                <a:gd name="connsiteY84" fmla="*/ 426543 h 1378658"/>
                <a:gd name="connsiteX85" fmla="*/ 474520 w 714013"/>
                <a:gd name="connsiteY85" fmla="*/ 449979 h 1378658"/>
                <a:gd name="connsiteX86" fmla="*/ 451083 w 714013"/>
                <a:gd name="connsiteY86" fmla="*/ 464627 h 1378658"/>
                <a:gd name="connsiteX87" fmla="*/ 314125 w 714013"/>
                <a:gd name="connsiteY87" fmla="*/ 435332 h 1378658"/>
                <a:gd name="connsiteX88" fmla="*/ 270181 w 714013"/>
                <a:gd name="connsiteY88" fmla="*/ 477810 h 1378658"/>
                <a:gd name="connsiteX89" fmla="*/ 428379 w 714013"/>
                <a:gd name="connsiteY89" fmla="*/ 507839 h 1378658"/>
                <a:gd name="connsiteX90" fmla="*/ 442295 w 714013"/>
                <a:gd name="connsiteY90" fmla="*/ 519557 h 1378658"/>
                <a:gd name="connsiteX91" fmla="*/ 440830 w 714013"/>
                <a:gd name="connsiteY91" fmla="*/ 537867 h 1378658"/>
                <a:gd name="connsiteX92" fmla="*/ 347815 w 714013"/>
                <a:gd name="connsiteY92" fmla="*/ 668966 h 1378658"/>
                <a:gd name="connsiteX93" fmla="*/ 408604 w 714013"/>
                <a:gd name="connsiteY93" fmla="*/ 669698 h 1378658"/>
                <a:gd name="connsiteX94" fmla="*/ 486970 w 714013"/>
                <a:gd name="connsiteY94" fmla="*/ 552515 h 1378658"/>
                <a:gd name="connsiteX95" fmla="*/ 495759 w 714013"/>
                <a:gd name="connsiteY95" fmla="*/ 545191 h 1378658"/>
                <a:gd name="connsiteX96" fmla="*/ 514069 w 714013"/>
                <a:gd name="connsiteY96" fmla="*/ 547389 h 1378658"/>
                <a:gd name="connsiteX97" fmla="*/ 519196 w 714013"/>
                <a:gd name="connsiteY97" fmla="*/ 574487 h 1378658"/>
                <a:gd name="connsiteX98" fmla="*/ 455478 w 714013"/>
                <a:gd name="connsiteY98" fmla="*/ 668966 h 1378658"/>
                <a:gd name="connsiteX99" fmla="*/ 513337 w 714013"/>
                <a:gd name="connsiteY99" fmla="*/ 668966 h 1378658"/>
                <a:gd name="connsiteX100" fmla="*/ 564604 w 714013"/>
                <a:gd name="connsiteY100" fmla="*/ 592797 h 1378658"/>
                <a:gd name="connsiteX101" fmla="*/ 573393 w 714013"/>
                <a:gd name="connsiteY101" fmla="*/ 585473 h 1378658"/>
                <a:gd name="connsiteX102" fmla="*/ 591703 w 714013"/>
                <a:gd name="connsiteY102" fmla="*/ 587670 h 1378658"/>
                <a:gd name="connsiteX103" fmla="*/ 596830 w 714013"/>
                <a:gd name="connsiteY103" fmla="*/ 614769 h 1378658"/>
                <a:gd name="connsiteX104" fmla="*/ 560210 w 714013"/>
                <a:gd name="connsiteY104" fmla="*/ 668966 h 1378658"/>
                <a:gd name="connsiteX105" fmla="*/ 608548 w 714013"/>
                <a:gd name="connsiteY105" fmla="*/ 668966 h 1378658"/>
                <a:gd name="connsiteX106" fmla="*/ 635647 w 714013"/>
                <a:gd name="connsiteY106" fmla="*/ 628684 h 1378658"/>
                <a:gd name="connsiteX107" fmla="*/ 644436 w 714013"/>
                <a:gd name="connsiteY107" fmla="*/ 621360 h 1378658"/>
                <a:gd name="connsiteX108" fmla="*/ 662746 w 714013"/>
                <a:gd name="connsiteY108" fmla="*/ 623558 h 1378658"/>
                <a:gd name="connsiteX109" fmla="*/ 667873 w 714013"/>
                <a:gd name="connsiteY109" fmla="*/ 650656 h 1378658"/>
                <a:gd name="connsiteX110" fmla="*/ 655422 w 714013"/>
                <a:gd name="connsiteY110" fmla="*/ 669698 h 1378658"/>
                <a:gd name="connsiteX111" fmla="*/ 694239 w 714013"/>
                <a:gd name="connsiteY111" fmla="*/ 668966 h 1378658"/>
                <a:gd name="connsiteX112" fmla="*/ 714013 w 714013"/>
                <a:gd name="connsiteY112" fmla="*/ 688741 h 1378658"/>
                <a:gd name="connsiteX113" fmla="*/ 694971 w 714013"/>
                <a:gd name="connsiteY113" fmla="*/ 708516 h 1378658"/>
                <a:gd name="connsiteX114" fmla="*/ 648830 w 714013"/>
                <a:gd name="connsiteY114" fmla="*/ 708516 h 1378658"/>
                <a:gd name="connsiteX115" fmla="*/ 667140 w 714013"/>
                <a:gd name="connsiteY115" fmla="*/ 738544 h 1378658"/>
                <a:gd name="connsiteX116" fmla="*/ 660549 w 714013"/>
                <a:gd name="connsiteY116" fmla="*/ 765643 h 1378658"/>
                <a:gd name="connsiteX117" fmla="*/ 633450 w 714013"/>
                <a:gd name="connsiteY117" fmla="*/ 759051 h 1378658"/>
                <a:gd name="connsiteX118" fmla="*/ 601957 w 714013"/>
                <a:gd name="connsiteY118" fmla="*/ 708516 h 1378658"/>
                <a:gd name="connsiteX119" fmla="*/ 553619 w 714013"/>
                <a:gd name="connsiteY119" fmla="*/ 708516 h 1378658"/>
                <a:gd name="connsiteX120" fmla="*/ 593900 w 714013"/>
                <a:gd name="connsiteY120" fmla="*/ 774431 h 1378658"/>
                <a:gd name="connsiteX121" fmla="*/ 587309 w 714013"/>
                <a:gd name="connsiteY121" fmla="*/ 801530 h 1378658"/>
                <a:gd name="connsiteX122" fmla="*/ 560210 w 714013"/>
                <a:gd name="connsiteY122" fmla="*/ 794938 h 1378658"/>
                <a:gd name="connsiteX123" fmla="*/ 507478 w 714013"/>
                <a:gd name="connsiteY123" fmla="*/ 709248 h 1378658"/>
                <a:gd name="connsiteX124" fmla="*/ 506746 w 714013"/>
                <a:gd name="connsiteY124" fmla="*/ 709248 h 1378658"/>
                <a:gd name="connsiteX125" fmla="*/ 459139 w 714013"/>
                <a:gd name="connsiteY125" fmla="*/ 709248 h 1378658"/>
                <a:gd name="connsiteX126" fmla="*/ 514801 w 714013"/>
                <a:gd name="connsiteY126" fmla="*/ 799333 h 1378658"/>
                <a:gd name="connsiteX127" fmla="*/ 508210 w 714013"/>
                <a:gd name="connsiteY127" fmla="*/ 826432 h 1378658"/>
                <a:gd name="connsiteX128" fmla="*/ 481111 w 714013"/>
                <a:gd name="connsiteY128" fmla="*/ 819840 h 1378658"/>
                <a:gd name="connsiteX129" fmla="*/ 412999 w 714013"/>
                <a:gd name="connsiteY129" fmla="*/ 709248 h 1378658"/>
                <a:gd name="connsiteX130" fmla="*/ 355139 w 714013"/>
                <a:gd name="connsiteY130" fmla="*/ 709248 h 1378658"/>
                <a:gd name="connsiteX131" fmla="*/ 443759 w 714013"/>
                <a:gd name="connsiteY131" fmla="*/ 849868 h 1378658"/>
                <a:gd name="connsiteX132" fmla="*/ 445224 w 714013"/>
                <a:gd name="connsiteY132" fmla="*/ 867445 h 1378658"/>
                <a:gd name="connsiteX133" fmla="*/ 431308 w 714013"/>
                <a:gd name="connsiteY133" fmla="*/ 879164 h 1378658"/>
                <a:gd name="connsiteX134" fmla="*/ 267984 w 714013"/>
                <a:gd name="connsiteY134" fmla="*/ 912854 h 1378658"/>
                <a:gd name="connsiteX135" fmla="*/ 308266 w 714013"/>
                <a:gd name="connsiteY135" fmla="*/ 954601 h 1378658"/>
                <a:gd name="connsiteX136" fmla="*/ 435703 w 714013"/>
                <a:gd name="connsiteY136" fmla="*/ 926770 h 1378658"/>
                <a:gd name="connsiteX137" fmla="*/ 459139 w 714013"/>
                <a:gd name="connsiteY137" fmla="*/ 941418 h 1378658"/>
                <a:gd name="connsiteX138" fmla="*/ 444491 w 714013"/>
                <a:gd name="connsiteY138" fmla="*/ 964854 h 1378658"/>
                <a:gd name="connsiteX139" fmla="*/ 340491 w 714013"/>
                <a:gd name="connsiteY139" fmla="*/ 987559 h 1378658"/>
                <a:gd name="connsiteX140" fmla="*/ 373449 w 714013"/>
                <a:gd name="connsiteY140" fmla="*/ 1021981 h 1378658"/>
                <a:gd name="connsiteX141" fmla="*/ 472322 w 714013"/>
                <a:gd name="connsiteY141" fmla="*/ 1000742 h 1378658"/>
                <a:gd name="connsiteX142" fmla="*/ 495759 w 714013"/>
                <a:gd name="connsiteY142" fmla="*/ 1015390 h 1378658"/>
                <a:gd name="connsiteX143" fmla="*/ 481111 w 714013"/>
                <a:gd name="connsiteY143" fmla="*/ 1038827 h 1378658"/>
                <a:gd name="connsiteX144" fmla="*/ 405675 w 714013"/>
                <a:gd name="connsiteY144" fmla="*/ 1054939 h 1378658"/>
                <a:gd name="connsiteX145" fmla="*/ 438632 w 714013"/>
                <a:gd name="connsiteY145" fmla="*/ 1093023 h 1378658"/>
                <a:gd name="connsiteX146" fmla="*/ 497224 w 714013"/>
                <a:gd name="connsiteY146" fmla="*/ 1080573 h 1378658"/>
                <a:gd name="connsiteX147" fmla="*/ 520661 w 714013"/>
                <a:gd name="connsiteY147" fmla="*/ 1095221 h 1378658"/>
                <a:gd name="connsiteX148" fmla="*/ 506013 w 714013"/>
                <a:gd name="connsiteY148" fmla="*/ 1118658 h 1378658"/>
                <a:gd name="connsiteX149" fmla="*/ 470858 w 714013"/>
                <a:gd name="connsiteY149" fmla="*/ 1125982 h 1378658"/>
                <a:gd name="connsiteX150" fmla="*/ 471590 w 714013"/>
                <a:gd name="connsiteY150" fmla="*/ 1126714 h 1378658"/>
                <a:gd name="connsiteX151" fmla="*/ 503083 w 714013"/>
                <a:gd name="connsiteY151" fmla="*/ 1158939 h 1378658"/>
                <a:gd name="connsiteX152" fmla="*/ 502351 w 714013"/>
                <a:gd name="connsiteY152" fmla="*/ 1186770 h 1378658"/>
                <a:gd name="connsiteX153" fmla="*/ 475252 w 714013"/>
                <a:gd name="connsiteY153" fmla="*/ 1186038 h 1378658"/>
                <a:gd name="connsiteX154" fmla="*/ 448154 w 714013"/>
                <a:gd name="connsiteY154" fmla="*/ 1158207 h 1378658"/>
                <a:gd name="connsiteX155" fmla="*/ 443759 w 714013"/>
                <a:gd name="connsiteY155" fmla="*/ 1180179 h 1378658"/>
                <a:gd name="connsiteX156" fmla="*/ 420323 w 714013"/>
                <a:gd name="connsiteY156" fmla="*/ 1194827 h 1378658"/>
                <a:gd name="connsiteX157" fmla="*/ 405675 w 714013"/>
                <a:gd name="connsiteY157" fmla="*/ 1171390 h 1378658"/>
                <a:gd name="connsiteX158" fmla="*/ 415928 w 714013"/>
                <a:gd name="connsiteY158" fmla="*/ 1123052 h 1378658"/>
                <a:gd name="connsiteX159" fmla="*/ 382970 w 714013"/>
                <a:gd name="connsiteY159" fmla="*/ 1088630 h 1378658"/>
                <a:gd name="connsiteX160" fmla="*/ 382970 w 714013"/>
                <a:gd name="connsiteY160" fmla="*/ 1087897 h 1378658"/>
                <a:gd name="connsiteX161" fmla="*/ 369055 w 714013"/>
                <a:gd name="connsiteY161" fmla="*/ 1152348 h 1378658"/>
                <a:gd name="connsiteX162" fmla="*/ 345618 w 714013"/>
                <a:gd name="connsiteY162" fmla="*/ 1166996 h 1378658"/>
                <a:gd name="connsiteX163" fmla="*/ 330970 w 714013"/>
                <a:gd name="connsiteY163" fmla="*/ 1143559 h 1378658"/>
                <a:gd name="connsiteX164" fmla="*/ 350013 w 714013"/>
                <a:gd name="connsiteY164" fmla="*/ 1053475 h 1378658"/>
                <a:gd name="connsiteX165" fmla="*/ 309730 w 714013"/>
                <a:gd name="connsiteY165" fmla="*/ 1012460 h 1378658"/>
                <a:gd name="connsiteX166" fmla="*/ 285562 w 714013"/>
                <a:gd name="connsiteY166" fmla="*/ 1123784 h 1378658"/>
                <a:gd name="connsiteX167" fmla="*/ 262125 w 714013"/>
                <a:gd name="connsiteY167" fmla="*/ 1138432 h 1378658"/>
                <a:gd name="connsiteX168" fmla="*/ 247477 w 714013"/>
                <a:gd name="connsiteY168" fmla="*/ 1115728 h 1378658"/>
                <a:gd name="connsiteX169" fmla="*/ 277505 w 714013"/>
                <a:gd name="connsiteY169" fmla="*/ 978038 h 1378658"/>
                <a:gd name="connsiteX170" fmla="*/ 235759 w 714013"/>
                <a:gd name="connsiteY170" fmla="*/ 934826 h 1378658"/>
                <a:gd name="connsiteX171" fmla="*/ 204998 w 714013"/>
                <a:gd name="connsiteY171" fmla="*/ 1092291 h 1378658"/>
                <a:gd name="connsiteX172" fmla="*/ 174970 w 714013"/>
                <a:gd name="connsiteY172" fmla="*/ 1104743 h 1378658"/>
                <a:gd name="connsiteX173" fmla="*/ 43871 w 714013"/>
                <a:gd name="connsiteY173" fmla="*/ 1012460 h 1378658"/>
                <a:gd name="connsiteX174" fmla="*/ 43871 w 714013"/>
                <a:gd name="connsiteY174" fmla="*/ 1073249 h 1378658"/>
                <a:gd name="connsiteX175" fmla="*/ 161054 w 714013"/>
                <a:gd name="connsiteY175" fmla="*/ 1151615 h 1378658"/>
                <a:gd name="connsiteX176" fmla="*/ 166181 w 714013"/>
                <a:gd name="connsiteY176" fmla="*/ 1178714 h 1378658"/>
                <a:gd name="connsiteX177" fmla="*/ 139082 w 714013"/>
                <a:gd name="connsiteY177" fmla="*/ 1183841 h 1378658"/>
                <a:gd name="connsiteX178" fmla="*/ 44603 w 714013"/>
                <a:gd name="connsiteY178" fmla="*/ 1120122 h 1378658"/>
                <a:gd name="connsiteX179" fmla="*/ 43871 w 714013"/>
                <a:gd name="connsiteY179" fmla="*/ 1177249 h 1378658"/>
                <a:gd name="connsiteX180" fmla="*/ 120040 w 714013"/>
                <a:gd name="connsiteY180" fmla="*/ 1228517 h 1378658"/>
                <a:gd name="connsiteX181" fmla="*/ 125167 w 714013"/>
                <a:gd name="connsiteY181" fmla="*/ 1255615 h 1378658"/>
                <a:gd name="connsiteX182" fmla="*/ 98068 w 714013"/>
                <a:gd name="connsiteY182" fmla="*/ 1260743 h 1378658"/>
                <a:gd name="connsiteX183" fmla="*/ 43138 w 714013"/>
                <a:gd name="connsiteY183" fmla="*/ 1224123 h 1378658"/>
                <a:gd name="connsiteX184" fmla="*/ 43138 w 714013"/>
                <a:gd name="connsiteY184" fmla="*/ 1224855 h 1378658"/>
                <a:gd name="connsiteX185" fmla="*/ 43138 w 714013"/>
                <a:gd name="connsiteY185" fmla="*/ 1272461 h 1378658"/>
                <a:gd name="connsiteX186" fmla="*/ 84152 w 714013"/>
                <a:gd name="connsiteY186" fmla="*/ 1300292 h 1378658"/>
                <a:gd name="connsiteX187" fmla="*/ 89280 w 714013"/>
                <a:gd name="connsiteY187" fmla="*/ 1327390 h 1378658"/>
                <a:gd name="connsiteX188" fmla="*/ 62180 w 714013"/>
                <a:gd name="connsiteY188" fmla="*/ 1332517 h 1378658"/>
                <a:gd name="connsiteX189" fmla="*/ 43871 w 714013"/>
                <a:gd name="connsiteY189" fmla="*/ 1320066 h 1378658"/>
                <a:gd name="connsiteX190" fmla="*/ 43138 w 714013"/>
                <a:gd name="connsiteY190" fmla="*/ 1358884 h 1378658"/>
                <a:gd name="connsiteX191" fmla="*/ 24096 w 714013"/>
                <a:gd name="connsiteY191" fmla="*/ 1378658 h 1378658"/>
                <a:gd name="connsiteX192" fmla="*/ 4322 w 714013"/>
                <a:gd name="connsiteY192" fmla="*/ 1358884 h 1378658"/>
                <a:gd name="connsiteX193" fmla="*/ 4322 w 714013"/>
                <a:gd name="connsiteY193" fmla="*/ 1313475 h 1378658"/>
                <a:gd name="connsiteX194" fmla="*/ 4322 w 714013"/>
                <a:gd name="connsiteY194" fmla="*/ 1312742 h 1378658"/>
                <a:gd name="connsiteX195" fmla="*/ 0 w 714013"/>
                <a:gd name="connsiteY195" fmla="*/ 1315418 h 1378658"/>
                <a:gd name="connsiteX196" fmla="*/ 0 w 714013"/>
                <a:gd name="connsiteY196" fmla="*/ 1269256 h 1378658"/>
                <a:gd name="connsiteX197" fmla="*/ 4322 w 714013"/>
                <a:gd name="connsiteY197" fmla="*/ 1266602 h 1378658"/>
                <a:gd name="connsiteX198" fmla="*/ 4322 w 714013"/>
                <a:gd name="connsiteY198" fmla="*/ 1218264 h 1378658"/>
                <a:gd name="connsiteX199" fmla="*/ 4322 w 714013"/>
                <a:gd name="connsiteY199" fmla="*/ 1217531 h 1378658"/>
                <a:gd name="connsiteX200" fmla="*/ 0 w 714013"/>
                <a:gd name="connsiteY200" fmla="*/ 1220220 h 1378658"/>
                <a:gd name="connsiteX201" fmla="*/ 0 w 714013"/>
                <a:gd name="connsiteY201" fmla="*/ 1174064 h 1378658"/>
                <a:gd name="connsiteX202" fmla="*/ 4322 w 714013"/>
                <a:gd name="connsiteY202" fmla="*/ 1171390 h 1378658"/>
                <a:gd name="connsiteX203" fmla="*/ 4322 w 714013"/>
                <a:gd name="connsiteY203" fmla="*/ 1123784 h 1378658"/>
                <a:gd name="connsiteX204" fmla="*/ 0 w 714013"/>
                <a:gd name="connsiteY204" fmla="*/ 1126433 h 1378658"/>
                <a:gd name="connsiteX205" fmla="*/ 0 w 714013"/>
                <a:gd name="connsiteY205" fmla="*/ 1077728 h 1378658"/>
                <a:gd name="connsiteX206" fmla="*/ 3589 w 714013"/>
                <a:gd name="connsiteY206" fmla="*/ 1075447 h 1378658"/>
                <a:gd name="connsiteX207" fmla="*/ 3589 w 714013"/>
                <a:gd name="connsiteY207" fmla="*/ 1017587 h 1378658"/>
                <a:gd name="connsiteX208" fmla="*/ 0 w 714013"/>
                <a:gd name="connsiteY208" fmla="*/ 1019837 h 1378658"/>
                <a:gd name="connsiteX209" fmla="*/ 0 w 714013"/>
                <a:gd name="connsiteY209" fmla="*/ 975716 h 1378658"/>
                <a:gd name="connsiteX210" fmla="*/ 2124 w 714013"/>
                <a:gd name="connsiteY210" fmla="*/ 974375 h 1378658"/>
                <a:gd name="connsiteX211" fmla="*/ 2124 w 714013"/>
                <a:gd name="connsiteY211" fmla="*/ 849136 h 1378658"/>
                <a:gd name="connsiteX212" fmla="*/ 0 w 714013"/>
                <a:gd name="connsiteY212" fmla="*/ 849176 h 1378658"/>
                <a:gd name="connsiteX213" fmla="*/ 0 w 714013"/>
                <a:gd name="connsiteY213" fmla="*/ 810404 h 1378658"/>
                <a:gd name="connsiteX214" fmla="*/ 3589 w 714013"/>
                <a:gd name="connsiteY214" fmla="*/ 810318 h 1378658"/>
                <a:gd name="connsiteX215" fmla="*/ 42406 w 714013"/>
                <a:gd name="connsiteY215" fmla="*/ 809586 h 1378658"/>
                <a:gd name="connsiteX216" fmla="*/ 73167 w 714013"/>
                <a:gd name="connsiteY216" fmla="*/ 808854 h 1378658"/>
                <a:gd name="connsiteX217" fmla="*/ 95871 w 714013"/>
                <a:gd name="connsiteY217" fmla="*/ 787615 h 1378658"/>
                <a:gd name="connsiteX218" fmla="*/ 124435 w 714013"/>
                <a:gd name="connsiteY218" fmla="*/ 761248 h 1378658"/>
                <a:gd name="connsiteX219" fmla="*/ 147138 w 714013"/>
                <a:gd name="connsiteY219" fmla="*/ 740008 h 1378658"/>
                <a:gd name="connsiteX220" fmla="*/ 146406 w 714013"/>
                <a:gd name="connsiteY220" fmla="*/ 709248 h 1378658"/>
                <a:gd name="connsiteX221" fmla="*/ 145674 w 714013"/>
                <a:gd name="connsiteY221" fmla="*/ 670431 h 1378658"/>
                <a:gd name="connsiteX222" fmla="*/ 144209 w 714013"/>
                <a:gd name="connsiteY222" fmla="*/ 639670 h 1378658"/>
                <a:gd name="connsiteX223" fmla="*/ 123702 w 714013"/>
                <a:gd name="connsiteY223" fmla="*/ 616966 h 1378658"/>
                <a:gd name="connsiteX224" fmla="*/ 97336 w 714013"/>
                <a:gd name="connsiteY224" fmla="*/ 588403 h 1378658"/>
                <a:gd name="connsiteX225" fmla="*/ 76096 w 714013"/>
                <a:gd name="connsiteY225" fmla="*/ 565698 h 1378658"/>
                <a:gd name="connsiteX226" fmla="*/ 45336 w 714013"/>
                <a:gd name="connsiteY226" fmla="*/ 566431 h 1378658"/>
                <a:gd name="connsiteX227" fmla="*/ 6518 w 714013"/>
                <a:gd name="connsiteY227" fmla="*/ 567163 h 1378658"/>
                <a:gd name="connsiteX228" fmla="*/ 0 w 714013"/>
                <a:gd name="connsiteY228" fmla="*/ 567318 h 1378658"/>
                <a:gd name="connsiteX229" fmla="*/ 0 w 714013"/>
                <a:gd name="connsiteY229" fmla="*/ 529187 h 1378658"/>
                <a:gd name="connsiteX230" fmla="*/ 5786 w 714013"/>
                <a:gd name="connsiteY230" fmla="*/ 529078 h 1378658"/>
                <a:gd name="connsiteX231" fmla="*/ 5786 w 714013"/>
                <a:gd name="connsiteY231" fmla="*/ 414092 h 1378658"/>
                <a:gd name="connsiteX232" fmla="*/ 0 w 714013"/>
                <a:gd name="connsiteY232" fmla="*/ 410025 h 1378658"/>
                <a:gd name="connsiteX233" fmla="*/ 0 w 714013"/>
                <a:gd name="connsiteY233" fmla="*/ 361923 h 1378658"/>
                <a:gd name="connsiteX234" fmla="*/ 6518 w 714013"/>
                <a:gd name="connsiteY234" fmla="*/ 366486 h 1378658"/>
                <a:gd name="connsiteX235" fmla="*/ 6518 w 714013"/>
                <a:gd name="connsiteY235" fmla="*/ 305698 h 1378658"/>
                <a:gd name="connsiteX236" fmla="*/ 0 w 714013"/>
                <a:gd name="connsiteY236" fmla="*/ 301338 h 1378658"/>
                <a:gd name="connsiteX237" fmla="*/ 0 w 714013"/>
                <a:gd name="connsiteY237" fmla="*/ 254922 h 1378658"/>
                <a:gd name="connsiteX238" fmla="*/ 5786 w 714013"/>
                <a:gd name="connsiteY238" fmla="*/ 258824 h 1378658"/>
                <a:gd name="connsiteX239" fmla="*/ 5786 w 714013"/>
                <a:gd name="connsiteY239" fmla="*/ 200965 h 1378658"/>
                <a:gd name="connsiteX240" fmla="*/ 0 w 714013"/>
                <a:gd name="connsiteY240" fmla="*/ 197070 h 1378658"/>
                <a:gd name="connsiteX241" fmla="*/ 0 w 714013"/>
                <a:gd name="connsiteY241" fmla="*/ 149967 h 1378658"/>
                <a:gd name="connsiteX242" fmla="*/ 5054 w 714013"/>
                <a:gd name="connsiteY242" fmla="*/ 153359 h 1378658"/>
                <a:gd name="connsiteX243" fmla="*/ 5786 w 714013"/>
                <a:gd name="connsiteY243" fmla="*/ 105753 h 1378658"/>
                <a:gd name="connsiteX244" fmla="*/ 0 w 714013"/>
                <a:gd name="connsiteY244" fmla="*/ 101930 h 1378658"/>
                <a:gd name="connsiteX245" fmla="*/ 0 w 714013"/>
                <a:gd name="connsiteY245" fmla="*/ 54843 h 1378658"/>
                <a:gd name="connsiteX246" fmla="*/ 5054 w 714013"/>
                <a:gd name="connsiteY246" fmla="*/ 58148 h 1378658"/>
                <a:gd name="connsiteX247" fmla="*/ 5054 w 714013"/>
                <a:gd name="connsiteY247" fmla="*/ 19330 h 1378658"/>
                <a:gd name="connsiteX248" fmla="*/ 17505 w 714013"/>
                <a:gd name="connsiteY248" fmla="*/ 1753 h 1378658"/>
                <a:gd name="connsiteX249" fmla="*/ 24829 w 714013"/>
                <a:gd name="connsiteY249" fmla="*/ 288 h 1378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</a:cxnLst>
              <a:rect l="l" t="t" r="r" b="b"/>
              <a:pathLst>
                <a:path w="714013" h="1378658">
                  <a:moveTo>
                    <a:pt x="122970" y="816910"/>
                  </a:moveTo>
                  <a:lnTo>
                    <a:pt x="94406" y="843277"/>
                  </a:lnTo>
                  <a:cubicBezTo>
                    <a:pt x="90744" y="846206"/>
                    <a:pt x="86350" y="848404"/>
                    <a:pt x="81223" y="848404"/>
                  </a:cubicBezTo>
                  <a:lnTo>
                    <a:pt x="42406" y="849136"/>
                  </a:lnTo>
                  <a:lnTo>
                    <a:pt x="43138" y="963390"/>
                  </a:lnTo>
                  <a:lnTo>
                    <a:pt x="172040" y="1054207"/>
                  </a:lnTo>
                  <a:lnTo>
                    <a:pt x="202069" y="899672"/>
                  </a:lnTo>
                  <a:close/>
                  <a:moveTo>
                    <a:pt x="308998" y="708516"/>
                  </a:moveTo>
                  <a:lnTo>
                    <a:pt x="185223" y="709248"/>
                  </a:lnTo>
                  <a:lnTo>
                    <a:pt x="185956" y="748065"/>
                  </a:lnTo>
                  <a:cubicBezTo>
                    <a:pt x="185956" y="753924"/>
                    <a:pt x="183758" y="759051"/>
                    <a:pt x="179364" y="762713"/>
                  </a:cubicBezTo>
                  <a:lnTo>
                    <a:pt x="150801" y="789079"/>
                  </a:lnTo>
                  <a:lnTo>
                    <a:pt x="237224" y="879164"/>
                  </a:lnTo>
                  <a:lnTo>
                    <a:pt x="395421" y="846206"/>
                  </a:lnTo>
                  <a:close/>
                  <a:moveTo>
                    <a:pt x="235026" y="510769"/>
                  </a:moveTo>
                  <a:lnTo>
                    <a:pt x="152266" y="589868"/>
                  </a:lnTo>
                  <a:lnTo>
                    <a:pt x="178632" y="618431"/>
                  </a:lnTo>
                  <a:cubicBezTo>
                    <a:pt x="181562" y="621360"/>
                    <a:pt x="183758" y="626487"/>
                    <a:pt x="183758" y="631614"/>
                  </a:cubicBezTo>
                  <a:lnTo>
                    <a:pt x="184491" y="671163"/>
                  </a:lnTo>
                  <a:lnTo>
                    <a:pt x="298012" y="670431"/>
                  </a:lnTo>
                  <a:lnTo>
                    <a:pt x="298745" y="668966"/>
                  </a:lnTo>
                  <a:lnTo>
                    <a:pt x="389562" y="540797"/>
                  </a:lnTo>
                  <a:close/>
                  <a:moveTo>
                    <a:pt x="182294" y="317416"/>
                  </a:moveTo>
                  <a:lnTo>
                    <a:pt x="44603" y="403839"/>
                  </a:lnTo>
                  <a:lnTo>
                    <a:pt x="45336" y="527613"/>
                  </a:lnTo>
                  <a:lnTo>
                    <a:pt x="84885" y="526881"/>
                  </a:lnTo>
                  <a:cubicBezTo>
                    <a:pt x="90012" y="526149"/>
                    <a:pt x="95871" y="529078"/>
                    <a:pt x="99533" y="532741"/>
                  </a:cubicBezTo>
                  <a:lnTo>
                    <a:pt x="126631" y="562036"/>
                  </a:lnTo>
                  <a:lnTo>
                    <a:pt x="215984" y="476346"/>
                  </a:lnTo>
                  <a:close/>
                  <a:moveTo>
                    <a:pt x="24829" y="288"/>
                  </a:moveTo>
                  <a:cubicBezTo>
                    <a:pt x="35082" y="288"/>
                    <a:pt x="43871" y="8345"/>
                    <a:pt x="45336" y="16401"/>
                  </a:cubicBezTo>
                  <a:lnTo>
                    <a:pt x="45336" y="62542"/>
                  </a:lnTo>
                  <a:lnTo>
                    <a:pt x="75364" y="43500"/>
                  </a:lnTo>
                  <a:cubicBezTo>
                    <a:pt x="84885" y="37641"/>
                    <a:pt x="96604" y="40570"/>
                    <a:pt x="102463" y="50091"/>
                  </a:cubicBezTo>
                  <a:cubicBezTo>
                    <a:pt x="107589" y="59613"/>
                    <a:pt x="104660" y="71331"/>
                    <a:pt x="95871" y="77190"/>
                  </a:cubicBezTo>
                  <a:lnTo>
                    <a:pt x="45336" y="108683"/>
                  </a:lnTo>
                  <a:lnTo>
                    <a:pt x="45336" y="109416"/>
                  </a:lnTo>
                  <a:lnTo>
                    <a:pt x="45336" y="157754"/>
                  </a:lnTo>
                  <a:lnTo>
                    <a:pt x="111251" y="117472"/>
                  </a:lnTo>
                  <a:cubicBezTo>
                    <a:pt x="120772" y="111612"/>
                    <a:pt x="132491" y="114542"/>
                    <a:pt x="138350" y="124063"/>
                  </a:cubicBezTo>
                  <a:cubicBezTo>
                    <a:pt x="143477" y="133584"/>
                    <a:pt x="141279" y="145303"/>
                    <a:pt x="131759" y="151162"/>
                  </a:cubicBezTo>
                  <a:lnTo>
                    <a:pt x="45336" y="204627"/>
                  </a:lnTo>
                  <a:lnTo>
                    <a:pt x="45336" y="252965"/>
                  </a:lnTo>
                  <a:lnTo>
                    <a:pt x="135420" y="197303"/>
                  </a:lnTo>
                  <a:cubicBezTo>
                    <a:pt x="144942" y="191444"/>
                    <a:pt x="156660" y="194374"/>
                    <a:pt x="162519" y="203894"/>
                  </a:cubicBezTo>
                  <a:cubicBezTo>
                    <a:pt x="167646" y="213416"/>
                    <a:pt x="164716" y="225134"/>
                    <a:pt x="155927" y="230993"/>
                  </a:cubicBezTo>
                  <a:lnTo>
                    <a:pt x="44603" y="299106"/>
                  </a:lnTo>
                  <a:lnTo>
                    <a:pt x="45336" y="356965"/>
                  </a:lnTo>
                  <a:lnTo>
                    <a:pt x="185223" y="268345"/>
                  </a:lnTo>
                  <a:cubicBezTo>
                    <a:pt x="191082" y="265416"/>
                    <a:pt x="197674" y="264684"/>
                    <a:pt x="203533" y="266880"/>
                  </a:cubicBezTo>
                  <a:cubicBezTo>
                    <a:pt x="209393" y="269810"/>
                    <a:pt x="213787" y="274937"/>
                    <a:pt x="215252" y="280796"/>
                  </a:cubicBezTo>
                  <a:lnTo>
                    <a:pt x="248942" y="441923"/>
                  </a:lnTo>
                  <a:lnTo>
                    <a:pt x="290688" y="401641"/>
                  </a:lnTo>
                  <a:lnTo>
                    <a:pt x="262857" y="274204"/>
                  </a:lnTo>
                  <a:cubicBezTo>
                    <a:pt x="260660" y="265416"/>
                    <a:pt x="265787" y="255895"/>
                    <a:pt x="274575" y="252232"/>
                  </a:cubicBezTo>
                  <a:cubicBezTo>
                    <a:pt x="275308" y="252232"/>
                    <a:pt x="276773" y="251500"/>
                    <a:pt x="277505" y="251500"/>
                  </a:cubicBezTo>
                  <a:cubicBezTo>
                    <a:pt x="288491" y="249303"/>
                    <a:pt x="298745" y="255895"/>
                    <a:pt x="300942" y="266148"/>
                  </a:cubicBezTo>
                  <a:lnTo>
                    <a:pt x="323646" y="370149"/>
                  </a:lnTo>
                  <a:lnTo>
                    <a:pt x="358069" y="337190"/>
                  </a:lnTo>
                  <a:lnTo>
                    <a:pt x="336097" y="238317"/>
                  </a:lnTo>
                  <a:cubicBezTo>
                    <a:pt x="333900" y="228796"/>
                    <a:pt x="339026" y="220007"/>
                    <a:pt x="347815" y="216345"/>
                  </a:cubicBezTo>
                  <a:cubicBezTo>
                    <a:pt x="348548" y="216345"/>
                    <a:pt x="349280" y="215613"/>
                    <a:pt x="350745" y="215613"/>
                  </a:cubicBezTo>
                  <a:cubicBezTo>
                    <a:pt x="361731" y="213416"/>
                    <a:pt x="371985" y="220007"/>
                    <a:pt x="374181" y="230261"/>
                  </a:cubicBezTo>
                  <a:lnTo>
                    <a:pt x="391027" y="306430"/>
                  </a:lnTo>
                  <a:lnTo>
                    <a:pt x="426182" y="272740"/>
                  </a:lnTo>
                  <a:lnTo>
                    <a:pt x="413731" y="214148"/>
                  </a:lnTo>
                  <a:cubicBezTo>
                    <a:pt x="411534" y="204627"/>
                    <a:pt x="416660" y="195838"/>
                    <a:pt x="425449" y="192176"/>
                  </a:cubicBezTo>
                  <a:cubicBezTo>
                    <a:pt x="426182" y="192176"/>
                    <a:pt x="427647" y="191444"/>
                    <a:pt x="428379" y="191444"/>
                  </a:cubicBezTo>
                  <a:cubicBezTo>
                    <a:pt x="439365" y="189246"/>
                    <a:pt x="449619" y="195838"/>
                    <a:pt x="451815" y="206092"/>
                  </a:cubicBezTo>
                  <a:lnTo>
                    <a:pt x="459139" y="241247"/>
                  </a:lnTo>
                  <a:lnTo>
                    <a:pt x="492830" y="209753"/>
                  </a:lnTo>
                  <a:cubicBezTo>
                    <a:pt x="500154" y="202429"/>
                    <a:pt x="512605" y="202429"/>
                    <a:pt x="519929" y="210486"/>
                  </a:cubicBezTo>
                  <a:cubicBezTo>
                    <a:pt x="527253" y="217810"/>
                    <a:pt x="527253" y="230993"/>
                    <a:pt x="519929" y="237585"/>
                  </a:cubicBezTo>
                  <a:lnTo>
                    <a:pt x="492098" y="263951"/>
                  </a:lnTo>
                  <a:lnTo>
                    <a:pt x="514801" y="269078"/>
                  </a:lnTo>
                  <a:cubicBezTo>
                    <a:pt x="525055" y="272008"/>
                    <a:pt x="531647" y="282261"/>
                    <a:pt x="529449" y="292515"/>
                  </a:cubicBezTo>
                  <a:cubicBezTo>
                    <a:pt x="526520" y="302768"/>
                    <a:pt x="516266" y="309359"/>
                    <a:pt x="506013" y="307163"/>
                  </a:cubicBezTo>
                  <a:lnTo>
                    <a:pt x="458407" y="296909"/>
                  </a:lnTo>
                  <a:lnTo>
                    <a:pt x="423252" y="330599"/>
                  </a:lnTo>
                  <a:lnTo>
                    <a:pt x="486970" y="344514"/>
                  </a:lnTo>
                  <a:cubicBezTo>
                    <a:pt x="497224" y="347444"/>
                    <a:pt x="503816" y="357698"/>
                    <a:pt x="501618" y="367951"/>
                  </a:cubicBezTo>
                  <a:cubicBezTo>
                    <a:pt x="498689" y="378205"/>
                    <a:pt x="488435" y="384797"/>
                    <a:pt x="478182" y="382599"/>
                  </a:cubicBezTo>
                  <a:lnTo>
                    <a:pt x="388097" y="363557"/>
                  </a:lnTo>
                  <a:lnTo>
                    <a:pt x="347083" y="403839"/>
                  </a:lnTo>
                  <a:lnTo>
                    <a:pt x="459872" y="426543"/>
                  </a:lnTo>
                  <a:cubicBezTo>
                    <a:pt x="470126" y="429472"/>
                    <a:pt x="476717" y="439726"/>
                    <a:pt x="474520" y="449979"/>
                  </a:cubicBezTo>
                  <a:cubicBezTo>
                    <a:pt x="471590" y="460233"/>
                    <a:pt x="461337" y="466825"/>
                    <a:pt x="451083" y="464627"/>
                  </a:cubicBezTo>
                  <a:lnTo>
                    <a:pt x="314125" y="435332"/>
                  </a:lnTo>
                  <a:lnTo>
                    <a:pt x="270181" y="477810"/>
                  </a:lnTo>
                  <a:lnTo>
                    <a:pt x="428379" y="507839"/>
                  </a:lnTo>
                  <a:cubicBezTo>
                    <a:pt x="434238" y="508571"/>
                    <a:pt x="439365" y="512966"/>
                    <a:pt x="442295" y="519557"/>
                  </a:cubicBezTo>
                  <a:cubicBezTo>
                    <a:pt x="445224" y="525417"/>
                    <a:pt x="444491" y="532008"/>
                    <a:pt x="440830" y="537867"/>
                  </a:cubicBezTo>
                  <a:lnTo>
                    <a:pt x="347815" y="668966"/>
                  </a:lnTo>
                  <a:lnTo>
                    <a:pt x="408604" y="669698"/>
                  </a:lnTo>
                  <a:lnTo>
                    <a:pt x="486970" y="552515"/>
                  </a:lnTo>
                  <a:cubicBezTo>
                    <a:pt x="489168" y="548853"/>
                    <a:pt x="492098" y="546656"/>
                    <a:pt x="495759" y="545191"/>
                  </a:cubicBezTo>
                  <a:cubicBezTo>
                    <a:pt x="501618" y="542994"/>
                    <a:pt x="508210" y="543726"/>
                    <a:pt x="514069" y="547389"/>
                  </a:cubicBezTo>
                  <a:cubicBezTo>
                    <a:pt x="522858" y="553248"/>
                    <a:pt x="525055" y="565698"/>
                    <a:pt x="519196" y="574487"/>
                  </a:cubicBezTo>
                  <a:lnTo>
                    <a:pt x="455478" y="668966"/>
                  </a:lnTo>
                  <a:lnTo>
                    <a:pt x="513337" y="668966"/>
                  </a:lnTo>
                  <a:lnTo>
                    <a:pt x="564604" y="592797"/>
                  </a:lnTo>
                  <a:cubicBezTo>
                    <a:pt x="566802" y="589135"/>
                    <a:pt x="569732" y="586938"/>
                    <a:pt x="573393" y="585473"/>
                  </a:cubicBezTo>
                  <a:cubicBezTo>
                    <a:pt x="579252" y="583276"/>
                    <a:pt x="585844" y="584008"/>
                    <a:pt x="591703" y="587670"/>
                  </a:cubicBezTo>
                  <a:cubicBezTo>
                    <a:pt x="600492" y="593529"/>
                    <a:pt x="602689" y="605980"/>
                    <a:pt x="596830" y="614769"/>
                  </a:cubicBezTo>
                  <a:lnTo>
                    <a:pt x="560210" y="668966"/>
                  </a:lnTo>
                  <a:lnTo>
                    <a:pt x="608548" y="668966"/>
                  </a:lnTo>
                  <a:lnTo>
                    <a:pt x="635647" y="628684"/>
                  </a:lnTo>
                  <a:cubicBezTo>
                    <a:pt x="637844" y="625023"/>
                    <a:pt x="640774" y="622825"/>
                    <a:pt x="644436" y="621360"/>
                  </a:cubicBezTo>
                  <a:cubicBezTo>
                    <a:pt x="650295" y="619163"/>
                    <a:pt x="656886" y="619895"/>
                    <a:pt x="662746" y="623558"/>
                  </a:cubicBezTo>
                  <a:cubicBezTo>
                    <a:pt x="671534" y="629417"/>
                    <a:pt x="673732" y="641867"/>
                    <a:pt x="667873" y="650656"/>
                  </a:cubicBezTo>
                  <a:lnTo>
                    <a:pt x="655422" y="669698"/>
                  </a:lnTo>
                  <a:lnTo>
                    <a:pt x="694239" y="668966"/>
                  </a:lnTo>
                  <a:cubicBezTo>
                    <a:pt x="705225" y="668966"/>
                    <a:pt x="714013" y="677755"/>
                    <a:pt x="714013" y="688741"/>
                  </a:cubicBezTo>
                  <a:cubicBezTo>
                    <a:pt x="714013" y="699727"/>
                    <a:pt x="705225" y="708516"/>
                    <a:pt x="694971" y="708516"/>
                  </a:cubicBezTo>
                  <a:lnTo>
                    <a:pt x="648830" y="708516"/>
                  </a:lnTo>
                  <a:lnTo>
                    <a:pt x="667140" y="738544"/>
                  </a:lnTo>
                  <a:cubicBezTo>
                    <a:pt x="672267" y="748065"/>
                    <a:pt x="669337" y="759783"/>
                    <a:pt x="660549" y="765643"/>
                  </a:cubicBezTo>
                  <a:cubicBezTo>
                    <a:pt x="651760" y="770769"/>
                    <a:pt x="639309" y="767839"/>
                    <a:pt x="633450" y="759051"/>
                  </a:cubicBezTo>
                  <a:lnTo>
                    <a:pt x="601957" y="708516"/>
                  </a:lnTo>
                  <a:lnTo>
                    <a:pt x="553619" y="708516"/>
                  </a:lnTo>
                  <a:lnTo>
                    <a:pt x="593900" y="774431"/>
                  </a:lnTo>
                  <a:cubicBezTo>
                    <a:pt x="599027" y="783952"/>
                    <a:pt x="596098" y="795671"/>
                    <a:pt x="587309" y="801530"/>
                  </a:cubicBezTo>
                  <a:cubicBezTo>
                    <a:pt x="578520" y="806657"/>
                    <a:pt x="566069" y="803727"/>
                    <a:pt x="560210" y="794938"/>
                  </a:cubicBezTo>
                  <a:lnTo>
                    <a:pt x="507478" y="709248"/>
                  </a:lnTo>
                  <a:lnTo>
                    <a:pt x="506746" y="709248"/>
                  </a:lnTo>
                  <a:lnTo>
                    <a:pt x="459139" y="709248"/>
                  </a:lnTo>
                  <a:lnTo>
                    <a:pt x="514801" y="799333"/>
                  </a:lnTo>
                  <a:cubicBezTo>
                    <a:pt x="519929" y="808854"/>
                    <a:pt x="516999" y="820572"/>
                    <a:pt x="508210" y="826432"/>
                  </a:cubicBezTo>
                  <a:cubicBezTo>
                    <a:pt x="499422" y="831558"/>
                    <a:pt x="486970" y="828629"/>
                    <a:pt x="481111" y="819840"/>
                  </a:cubicBezTo>
                  <a:lnTo>
                    <a:pt x="412999" y="709248"/>
                  </a:lnTo>
                  <a:lnTo>
                    <a:pt x="355139" y="709248"/>
                  </a:lnTo>
                  <a:lnTo>
                    <a:pt x="443759" y="849868"/>
                  </a:lnTo>
                  <a:cubicBezTo>
                    <a:pt x="446689" y="854995"/>
                    <a:pt x="446689" y="861586"/>
                    <a:pt x="445224" y="867445"/>
                  </a:cubicBezTo>
                  <a:cubicBezTo>
                    <a:pt x="442295" y="874037"/>
                    <a:pt x="437900" y="878432"/>
                    <a:pt x="431308" y="879164"/>
                  </a:cubicBezTo>
                  <a:lnTo>
                    <a:pt x="267984" y="912854"/>
                  </a:lnTo>
                  <a:lnTo>
                    <a:pt x="308266" y="954601"/>
                  </a:lnTo>
                  <a:lnTo>
                    <a:pt x="435703" y="926770"/>
                  </a:lnTo>
                  <a:cubicBezTo>
                    <a:pt x="446689" y="924572"/>
                    <a:pt x="456943" y="931164"/>
                    <a:pt x="459139" y="941418"/>
                  </a:cubicBezTo>
                  <a:cubicBezTo>
                    <a:pt x="461337" y="952403"/>
                    <a:pt x="454745" y="962657"/>
                    <a:pt x="444491" y="964854"/>
                  </a:cubicBezTo>
                  <a:lnTo>
                    <a:pt x="340491" y="987559"/>
                  </a:lnTo>
                  <a:lnTo>
                    <a:pt x="373449" y="1021981"/>
                  </a:lnTo>
                  <a:lnTo>
                    <a:pt x="472322" y="1000742"/>
                  </a:lnTo>
                  <a:cubicBezTo>
                    <a:pt x="483309" y="998545"/>
                    <a:pt x="493562" y="1005136"/>
                    <a:pt x="495759" y="1015390"/>
                  </a:cubicBezTo>
                  <a:cubicBezTo>
                    <a:pt x="497957" y="1026376"/>
                    <a:pt x="491365" y="1036629"/>
                    <a:pt x="481111" y="1038827"/>
                  </a:cubicBezTo>
                  <a:lnTo>
                    <a:pt x="405675" y="1054939"/>
                  </a:lnTo>
                  <a:lnTo>
                    <a:pt x="438632" y="1093023"/>
                  </a:lnTo>
                  <a:lnTo>
                    <a:pt x="497224" y="1080573"/>
                  </a:lnTo>
                  <a:cubicBezTo>
                    <a:pt x="508210" y="1078376"/>
                    <a:pt x="518464" y="1084967"/>
                    <a:pt x="520661" y="1095221"/>
                  </a:cubicBezTo>
                  <a:cubicBezTo>
                    <a:pt x="522858" y="1106207"/>
                    <a:pt x="516266" y="1116460"/>
                    <a:pt x="506013" y="1118658"/>
                  </a:cubicBezTo>
                  <a:lnTo>
                    <a:pt x="470858" y="1125982"/>
                  </a:lnTo>
                  <a:lnTo>
                    <a:pt x="471590" y="1126714"/>
                  </a:lnTo>
                  <a:lnTo>
                    <a:pt x="503083" y="1158939"/>
                  </a:lnTo>
                  <a:cubicBezTo>
                    <a:pt x="510407" y="1166996"/>
                    <a:pt x="510407" y="1179446"/>
                    <a:pt x="502351" y="1186770"/>
                  </a:cubicBezTo>
                  <a:cubicBezTo>
                    <a:pt x="495027" y="1194094"/>
                    <a:pt x="482576" y="1194094"/>
                    <a:pt x="475252" y="1186038"/>
                  </a:cubicBezTo>
                  <a:lnTo>
                    <a:pt x="448154" y="1158207"/>
                  </a:lnTo>
                  <a:lnTo>
                    <a:pt x="443759" y="1180179"/>
                  </a:lnTo>
                  <a:cubicBezTo>
                    <a:pt x="440830" y="1190433"/>
                    <a:pt x="430576" y="1197024"/>
                    <a:pt x="420323" y="1194827"/>
                  </a:cubicBezTo>
                  <a:cubicBezTo>
                    <a:pt x="410069" y="1192630"/>
                    <a:pt x="403477" y="1181644"/>
                    <a:pt x="405675" y="1171390"/>
                  </a:cubicBezTo>
                  <a:lnTo>
                    <a:pt x="415928" y="1123052"/>
                  </a:lnTo>
                  <a:lnTo>
                    <a:pt x="382970" y="1088630"/>
                  </a:lnTo>
                  <a:lnTo>
                    <a:pt x="382970" y="1087897"/>
                  </a:lnTo>
                  <a:lnTo>
                    <a:pt x="369055" y="1152348"/>
                  </a:lnTo>
                  <a:cubicBezTo>
                    <a:pt x="366125" y="1162601"/>
                    <a:pt x="355872" y="1169193"/>
                    <a:pt x="345618" y="1166996"/>
                  </a:cubicBezTo>
                  <a:cubicBezTo>
                    <a:pt x="335365" y="1164066"/>
                    <a:pt x="328773" y="1153813"/>
                    <a:pt x="330970" y="1143559"/>
                  </a:cubicBezTo>
                  <a:lnTo>
                    <a:pt x="350013" y="1053475"/>
                  </a:lnTo>
                  <a:lnTo>
                    <a:pt x="309730" y="1012460"/>
                  </a:lnTo>
                  <a:lnTo>
                    <a:pt x="285562" y="1123784"/>
                  </a:lnTo>
                  <a:cubicBezTo>
                    <a:pt x="282632" y="1134038"/>
                    <a:pt x="272379" y="1140630"/>
                    <a:pt x="262125" y="1138432"/>
                  </a:cubicBezTo>
                  <a:cubicBezTo>
                    <a:pt x="251872" y="1136235"/>
                    <a:pt x="245280" y="1125982"/>
                    <a:pt x="247477" y="1115728"/>
                  </a:cubicBezTo>
                  <a:lnTo>
                    <a:pt x="277505" y="978038"/>
                  </a:lnTo>
                  <a:lnTo>
                    <a:pt x="235759" y="934826"/>
                  </a:lnTo>
                  <a:lnTo>
                    <a:pt x="204998" y="1092291"/>
                  </a:lnTo>
                  <a:cubicBezTo>
                    <a:pt x="202801" y="1105475"/>
                    <a:pt x="185223" y="1112067"/>
                    <a:pt x="174970" y="1104743"/>
                  </a:cubicBezTo>
                  <a:lnTo>
                    <a:pt x="43871" y="1012460"/>
                  </a:lnTo>
                  <a:lnTo>
                    <a:pt x="43871" y="1073249"/>
                  </a:lnTo>
                  <a:lnTo>
                    <a:pt x="161054" y="1151615"/>
                  </a:lnTo>
                  <a:cubicBezTo>
                    <a:pt x="169843" y="1157474"/>
                    <a:pt x="172040" y="1169925"/>
                    <a:pt x="166181" y="1178714"/>
                  </a:cubicBezTo>
                  <a:cubicBezTo>
                    <a:pt x="160322" y="1187503"/>
                    <a:pt x="147871" y="1189700"/>
                    <a:pt x="139082" y="1183841"/>
                  </a:cubicBezTo>
                  <a:lnTo>
                    <a:pt x="44603" y="1120122"/>
                  </a:lnTo>
                  <a:lnTo>
                    <a:pt x="43871" y="1177249"/>
                  </a:lnTo>
                  <a:lnTo>
                    <a:pt x="120040" y="1228517"/>
                  </a:lnTo>
                  <a:cubicBezTo>
                    <a:pt x="128829" y="1234376"/>
                    <a:pt x="131026" y="1246827"/>
                    <a:pt x="125167" y="1255615"/>
                  </a:cubicBezTo>
                  <a:cubicBezTo>
                    <a:pt x="119307" y="1264405"/>
                    <a:pt x="106857" y="1266602"/>
                    <a:pt x="98068" y="1260743"/>
                  </a:cubicBezTo>
                  <a:lnTo>
                    <a:pt x="43138" y="1224123"/>
                  </a:lnTo>
                  <a:lnTo>
                    <a:pt x="43138" y="1224855"/>
                  </a:lnTo>
                  <a:lnTo>
                    <a:pt x="43138" y="1272461"/>
                  </a:lnTo>
                  <a:lnTo>
                    <a:pt x="84152" y="1300292"/>
                  </a:lnTo>
                  <a:cubicBezTo>
                    <a:pt x="92941" y="1306151"/>
                    <a:pt x="95139" y="1318601"/>
                    <a:pt x="89280" y="1327390"/>
                  </a:cubicBezTo>
                  <a:cubicBezTo>
                    <a:pt x="83420" y="1336179"/>
                    <a:pt x="70969" y="1338377"/>
                    <a:pt x="62180" y="1332517"/>
                  </a:cubicBezTo>
                  <a:lnTo>
                    <a:pt x="43871" y="1320066"/>
                  </a:lnTo>
                  <a:lnTo>
                    <a:pt x="43138" y="1358884"/>
                  </a:lnTo>
                  <a:cubicBezTo>
                    <a:pt x="43138" y="1369869"/>
                    <a:pt x="34349" y="1378658"/>
                    <a:pt x="24096" y="1378658"/>
                  </a:cubicBezTo>
                  <a:cubicBezTo>
                    <a:pt x="13110" y="1378658"/>
                    <a:pt x="4322" y="1369869"/>
                    <a:pt x="4322" y="1358884"/>
                  </a:cubicBezTo>
                  <a:lnTo>
                    <a:pt x="4322" y="1313475"/>
                  </a:lnTo>
                  <a:lnTo>
                    <a:pt x="4322" y="1312742"/>
                  </a:lnTo>
                  <a:lnTo>
                    <a:pt x="0" y="1315418"/>
                  </a:lnTo>
                  <a:lnTo>
                    <a:pt x="0" y="1269256"/>
                  </a:lnTo>
                  <a:lnTo>
                    <a:pt x="4322" y="1266602"/>
                  </a:lnTo>
                  <a:lnTo>
                    <a:pt x="4322" y="1218264"/>
                  </a:lnTo>
                  <a:lnTo>
                    <a:pt x="4322" y="1217531"/>
                  </a:lnTo>
                  <a:lnTo>
                    <a:pt x="0" y="1220220"/>
                  </a:lnTo>
                  <a:lnTo>
                    <a:pt x="0" y="1174064"/>
                  </a:lnTo>
                  <a:lnTo>
                    <a:pt x="4322" y="1171390"/>
                  </a:lnTo>
                  <a:lnTo>
                    <a:pt x="4322" y="1123784"/>
                  </a:lnTo>
                  <a:lnTo>
                    <a:pt x="0" y="1126433"/>
                  </a:lnTo>
                  <a:lnTo>
                    <a:pt x="0" y="1077728"/>
                  </a:lnTo>
                  <a:lnTo>
                    <a:pt x="3589" y="1075447"/>
                  </a:lnTo>
                  <a:lnTo>
                    <a:pt x="3589" y="1017587"/>
                  </a:lnTo>
                  <a:lnTo>
                    <a:pt x="0" y="1019837"/>
                  </a:lnTo>
                  <a:lnTo>
                    <a:pt x="0" y="975716"/>
                  </a:lnTo>
                  <a:lnTo>
                    <a:pt x="2124" y="974375"/>
                  </a:lnTo>
                  <a:lnTo>
                    <a:pt x="2124" y="849136"/>
                  </a:lnTo>
                  <a:lnTo>
                    <a:pt x="0" y="849176"/>
                  </a:lnTo>
                  <a:lnTo>
                    <a:pt x="0" y="810404"/>
                  </a:lnTo>
                  <a:lnTo>
                    <a:pt x="3589" y="810318"/>
                  </a:lnTo>
                  <a:lnTo>
                    <a:pt x="42406" y="809586"/>
                  </a:lnTo>
                  <a:lnTo>
                    <a:pt x="73167" y="808854"/>
                  </a:lnTo>
                  <a:lnTo>
                    <a:pt x="95871" y="787615"/>
                  </a:lnTo>
                  <a:lnTo>
                    <a:pt x="124435" y="761248"/>
                  </a:lnTo>
                  <a:lnTo>
                    <a:pt x="147138" y="740008"/>
                  </a:lnTo>
                  <a:lnTo>
                    <a:pt x="146406" y="709248"/>
                  </a:lnTo>
                  <a:lnTo>
                    <a:pt x="145674" y="670431"/>
                  </a:lnTo>
                  <a:lnTo>
                    <a:pt x="144209" y="639670"/>
                  </a:lnTo>
                  <a:lnTo>
                    <a:pt x="123702" y="616966"/>
                  </a:lnTo>
                  <a:lnTo>
                    <a:pt x="97336" y="588403"/>
                  </a:lnTo>
                  <a:lnTo>
                    <a:pt x="76096" y="565698"/>
                  </a:lnTo>
                  <a:lnTo>
                    <a:pt x="45336" y="566431"/>
                  </a:lnTo>
                  <a:lnTo>
                    <a:pt x="6518" y="567163"/>
                  </a:lnTo>
                  <a:lnTo>
                    <a:pt x="0" y="567318"/>
                  </a:lnTo>
                  <a:lnTo>
                    <a:pt x="0" y="529187"/>
                  </a:lnTo>
                  <a:lnTo>
                    <a:pt x="5786" y="529078"/>
                  </a:lnTo>
                  <a:lnTo>
                    <a:pt x="5786" y="414092"/>
                  </a:lnTo>
                  <a:lnTo>
                    <a:pt x="0" y="410025"/>
                  </a:lnTo>
                  <a:lnTo>
                    <a:pt x="0" y="361923"/>
                  </a:lnTo>
                  <a:lnTo>
                    <a:pt x="6518" y="366486"/>
                  </a:lnTo>
                  <a:lnTo>
                    <a:pt x="6518" y="305698"/>
                  </a:lnTo>
                  <a:lnTo>
                    <a:pt x="0" y="301338"/>
                  </a:lnTo>
                  <a:lnTo>
                    <a:pt x="0" y="254922"/>
                  </a:lnTo>
                  <a:lnTo>
                    <a:pt x="5786" y="258824"/>
                  </a:lnTo>
                  <a:lnTo>
                    <a:pt x="5786" y="200965"/>
                  </a:lnTo>
                  <a:lnTo>
                    <a:pt x="0" y="197070"/>
                  </a:lnTo>
                  <a:lnTo>
                    <a:pt x="0" y="149967"/>
                  </a:lnTo>
                  <a:lnTo>
                    <a:pt x="5054" y="153359"/>
                  </a:lnTo>
                  <a:lnTo>
                    <a:pt x="5786" y="105753"/>
                  </a:lnTo>
                  <a:lnTo>
                    <a:pt x="0" y="101930"/>
                  </a:lnTo>
                  <a:lnTo>
                    <a:pt x="0" y="54843"/>
                  </a:lnTo>
                  <a:lnTo>
                    <a:pt x="5054" y="58148"/>
                  </a:lnTo>
                  <a:lnTo>
                    <a:pt x="5054" y="19330"/>
                  </a:lnTo>
                  <a:cubicBezTo>
                    <a:pt x="5786" y="11274"/>
                    <a:pt x="10181" y="4682"/>
                    <a:pt x="17505" y="1753"/>
                  </a:cubicBezTo>
                  <a:cubicBezTo>
                    <a:pt x="19702" y="288"/>
                    <a:pt x="21899" y="-444"/>
                    <a:pt x="24829" y="288"/>
                  </a:cubicBezTo>
                  <a:close/>
                </a:path>
              </a:pathLst>
            </a:custGeom>
            <a:solidFill>
              <a:schemeClr val="bg1">
                <a:alpha val="54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87755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2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+mn-ea"/>
                <a:cs typeface="+mn-cs"/>
              </a:endParaRPr>
            </a:p>
          </p:txBody>
        </p:sp>
        <p:sp>
          <p:nvSpPr>
            <p:cNvPr id="12" name="Graphic 12">
              <a:extLst>
                <a:ext uri="{FF2B5EF4-FFF2-40B4-BE49-F238E27FC236}">
                  <a16:creationId xmlns:a16="http://schemas.microsoft.com/office/drawing/2014/main" id="{794AA629-459B-474E-B8F0-F9F1E169DF51}"/>
                </a:ext>
              </a:extLst>
            </p:cNvPr>
            <p:cNvSpPr/>
            <p:nvPr userDrawn="1"/>
          </p:nvSpPr>
          <p:spPr>
            <a:xfrm rot="1218983">
              <a:off x="1532471" y="4117789"/>
              <a:ext cx="954859" cy="954859"/>
            </a:xfrm>
            <a:custGeom>
              <a:avLst/>
              <a:gdLst>
                <a:gd name="connsiteX0" fmla="*/ 1546384 w 1800225"/>
                <a:gd name="connsiteY0" fmla="*/ 280885 h 1800225"/>
                <a:gd name="connsiteX1" fmla="*/ 1511141 w 1800225"/>
                <a:gd name="connsiteY1" fmla="*/ 279932 h 1800225"/>
                <a:gd name="connsiteX2" fmla="*/ 1467326 w 1800225"/>
                <a:gd name="connsiteY2" fmla="*/ 320890 h 1800225"/>
                <a:gd name="connsiteX3" fmla="*/ 1457801 w 1800225"/>
                <a:gd name="connsiteY3" fmla="*/ 275170 h 1800225"/>
                <a:gd name="connsiteX4" fmla="*/ 1427321 w 1800225"/>
                <a:gd name="connsiteY4" fmla="*/ 256120 h 1800225"/>
                <a:gd name="connsiteX5" fmla="*/ 1423511 w 1800225"/>
                <a:gd name="connsiteY5" fmla="*/ 257072 h 1800225"/>
                <a:gd name="connsiteX6" fmla="*/ 1408271 w 1800225"/>
                <a:gd name="connsiteY6" fmla="*/ 285647 h 1800225"/>
                <a:gd name="connsiteX7" fmla="*/ 1424464 w 1800225"/>
                <a:gd name="connsiteY7" fmla="*/ 361847 h 1800225"/>
                <a:gd name="connsiteX8" fmla="*/ 1424464 w 1800225"/>
                <a:gd name="connsiteY8" fmla="*/ 361847 h 1800225"/>
                <a:gd name="connsiteX9" fmla="*/ 1378744 w 1800225"/>
                <a:gd name="connsiteY9" fmla="*/ 405662 h 1800225"/>
                <a:gd name="connsiteX10" fmla="*/ 1378744 w 1800225"/>
                <a:gd name="connsiteY10" fmla="*/ 405662 h 1800225"/>
                <a:gd name="connsiteX11" fmla="*/ 1356836 w 1800225"/>
                <a:gd name="connsiteY11" fmla="*/ 306602 h 1800225"/>
                <a:gd name="connsiteX12" fmla="*/ 1326356 w 1800225"/>
                <a:gd name="connsiteY12" fmla="*/ 287552 h 1800225"/>
                <a:gd name="connsiteX13" fmla="*/ 1322546 w 1800225"/>
                <a:gd name="connsiteY13" fmla="*/ 288505 h 1800225"/>
                <a:gd name="connsiteX14" fmla="*/ 1307306 w 1800225"/>
                <a:gd name="connsiteY14" fmla="*/ 317080 h 1800225"/>
                <a:gd name="connsiteX15" fmla="*/ 1335881 w 1800225"/>
                <a:gd name="connsiteY15" fmla="*/ 445667 h 1800225"/>
                <a:gd name="connsiteX16" fmla="*/ 1335881 w 1800225"/>
                <a:gd name="connsiteY16" fmla="*/ 445667 h 1800225"/>
                <a:gd name="connsiteX17" fmla="*/ 1291114 w 1800225"/>
                <a:gd name="connsiteY17" fmla="*/ 488530 h 1800225"/>
                <a:gd name="connsiteX18" fmla="*/ 1291114 w 1800225"/>
                <a:gd name="connsiteY18" fmla="*/ 488530 h 1800225"/>
                <a:gd name="connsiteX19" fmla="*/ 1261586 w 1800225"/>
                <a:gd name="connsiteY19" fmla="*/ 353275 h 1800225"/>
                <a:gd name="connsiteX20" fmla="*/ 1231106 w 1800225"/>
                <a:gd name="connsiteY20" fmla="*/ 334225 h 1800225"/>
                <a:gd name="connsiteX21" fmla="*/ 1227296 w 1800225"/>
                <a:gd name="connsiteY21" fmla="*/ 335177 h 1800225"/>
                <a:gd name="connsiteX22" fmla="*/ 1212056 w 1800225"/>
                <a:gd name="connsiteY22" fmla="*/ 363752 h 1800225"/>
                <a:gd name="connsiteX23" fmla="*/ 1248251 w 1800225"/>
                <a:gd name="connsiteY23" fmla="*/ 529487 h 1800225"/>
                <a:gd name="connsiteX24" fmla="*/ 1193959 w 1800225"/>
                <a:gd name="connsiteY24" fmla="*/ 581875 h 1800225"/>
                <a:gd name="connsiteX25" fmla="*/ 1150144 w 1800225"/>
                <a:gd name="connsiteY25" fmla="*/ 372325 h 1800225"/>
                <a:gd name="connsiteX26" fmla="*/ 1134904 w 1800225"/>
                <a:gd name="connsiteY26" fmla="*/ 354227 h 1800225"/>
                <a:gd name="connsiteX27" fmla="*/ 1111091 w 1800225"/>
                <a:gd name="connsiteY27" fmla="*/ 356132 h 1800225"/>
                <a:gd name="connsiteX28" fmla="*/ 929164 w 1800225"/>
                <a:gd name="connsiteY28" fmla="*/ 471385 h 1800225"/>
                <a:gd name="connsiteX29" fmla="*/ 928211 w 1800225"/>
                <a:gd name="connsiteY29" fmla="*/ 396137 h 1800225"/>
                <a:gd name="connsiteX30" fmla="*/ 1072991 w 1800225"/>
                <a:gd name="connsiteY30" fmla="*/ 307555 h 1800225"/>
                <a:gd name="connsiteX31" fmla="*/ 1081564 w 1800225"/>
                <a:gd name="connsiteY31" fmla="*/ 272312 h 1800225"/>
                <a:gd name="connsiteX32" fmla="*/ 1046321 w 1800225"/>
                <a:gd name="connsiteY32" fmla="*/ 263740 h 1800225"/>
                <a:gd name="connsiteX33" fmla="*/ 929164 w 1800225"/>
                <a:gd name="connsiteY33" fmla="*/ 336130 h 1800225"/>
                <a:gd name="connsiteX34" fmla="*/ 929164 w 1800225"/>
                <a:gd name="connsiteY34" fmla="*/ 273265 h 1800225"/>
                <a:gd name="connsiteX35" fmla="*/ 1041559 w 1800225"/>
                <a:gd name="connsiteY35" fmla="*/ 203732 h 1800225"/>
                <a:gd name="connsiteX36" fmla="*/ 1050131 w 1800225"/>
                <a:gd name="connsiteY36" fmla="*/ 168490 h 1800225"/>
                <a:gd name="connsiteX37" fmla="*/ 1014889 w 1800225"/>
                <a:gd name="connsiteY37" fmla="*/ 159917 h 1800225"/>
                <a:gd name="connsiteX38" fmla="*/ 929164 w 1800225"/>
                <a:gd name="connsiteY38" fmla="*/ 212305 h 1800225"/>
                <a:gd name="connsiteX39" fmla="*/ 929164 w 1800225"/>
                <a:gd name="connsiteY39" fmla="*/ 149440 h 1800225"/>
                <a:gd name="connsiteX40" fmla="*/ 929164 w 1800225"/>
                <a:gd name="connsiteY40" fmla="*/ 148487 h 1800225"/>
                <a:gd name="connsiteX41" fmla="*/ 994886 w 1800225"/>
                <a:gd name="connsiteY41" fmla="*/ 107530 h 1800225"/>
                <a:gd name="connsiteX42" fmla="*/ 1003459 w 1800225"/>
                <a:gd name="connsiteY42" fmla="*/ 72287 h 1800225"/>
                <a:gd name="connsiteX43" fmla="*/ 968216 w 1800225"/>
                <a:gd name="connsiteY43" fmla="*/ 63715 h 1800225"/>
                <a:gd name="connsiteX44" fmla="*/ 929164 w 1800225"/>
                <a:gd name="connsiteY44" fmla="*/ 88480 h 1800225"/>
                <a:gd name="connsiteX45" fmla="*/ 929164 w 1800225"/>
                <a:gd name="connsiteY45" fmla="*/ 88480 h 1800225"/>
                <a:gd name="connsiteX46" fmla="*/ 929164 w 1800225"/>
                <a:gd name="connsiteY46" fmla="*/ 28472 h 1800225"/>
                <a:gd name="connsiteX47" fmla="*/ 902494 w 1800225"/>
                <a:gd name="connsiteY47" fmla="*/ 7517 h 1800225"/>
                <a:gd name="connsiteX48" fmla="*/ 892969 w 1800225"/>
                <a:gd name="connsiteY48" fmla="*/ 9422 h 1800225"/>
                <a:gd name="connsiteX49" fmla="*/ 876776 w 1800225"/>
                <a:gd name="connsiteY49" fmla="*/ 32282 h 1800225"/>
                <a:gd name="connsiteX50" fmla="*/ 876776 w 1800225"/>
                <a:gd name="connsiteY50" fmla="*/ 82765 h 1800225"/>
                <a:gd name="connsiteX51" fmla="*/ 852011 w 1800225"/>
                <a:gd name="connsiteY51" fmla="*/ 66572 h 1800225"/>
                <a:gd name="connsiteX52" fmla="*/ 829151 w 1800225"/>
                <a:gd name="connsiteY52" fmla="*/ 64667 h 1800225"/>
                <a:gd name="connsiteX53" fmla="*/ 817721 w 1800225"/>
                <a:gd name="connsiteY53" fmla="*/ 74192 h 1800225"/>
                <a:gd name="connsiteX54" fmla="*/ 824389 w 1800225"/>
                <a:gd name="connsiteY54" fmla="*/ 109435 h 1800225"/>
                <a:gd name="connsiteX55" fmla="*/ 877729 w 1800225"/>
                <a:gd name="connsiteY55" fmla="*/ 144677 h 1800225"/>
                <a:gd name="connsiteX56" fmla="*/ 876776 w 1800225"/>
                <a:gd name="connsiteY56" fmla="*/ 206590 h 1800225"/>
                <a:gd name="connsiteX57" fmla="*/ 807244 w 1800225"/>
                <a:gd name="connsiteY57" fmla="*/ 159917 h 1800225"/>
                <a:gd name="connsiteX58" fmla="*/ 783431 w 1800225"/>
                <a:gd name="connsiteY58" fmla="*/ 157060 h 1800225"/>
                <a:gd name="connsiteX59" fmla="*/ 772001 w 1800225"/>
                <a:gd name="connsiteY59" fmla="*/ 166585 h 1800225"/>
                <a:gd name="connsiteX60" fmla="*/ 778669 w 1800225"/>
                <a:gd name="connsiteY60" fmla="*/ 201827 h 1800225"/>
                <a:gd name="connsiteX61" fmla="*/ 877729 w 1800225"/>
                <a:gd name="connsiteY61" fmla="*/ 268502 h 1800225"/>
                <a:gd name="connsiteX62" fmla="*/ 877729 w 1800225"/>
                <a:gd name="connsiteY62" fmla="*/ 268502 h 1800225"/>
                <a:gd name="connsiteX63" fmla="*/ 877729 w 1800225"/>
                <a:gd name="connsiteY63" fmla="*/ 343750 h 1800225"/>
                <a:gd name="connsiteX64" fmla="*/ 754856 w 1800225"/>
                <a:gd name="connsiteY64" fmla="*/ 260882 h 1800225"/>
                <a:gd name="connsiteX65" fmla="*/ 731044 w 1800225"/>
                <a:gd name="connsiteY65" fmla="*/ 258025 h 1800225"/>
                <a:gd name="connsiteX66" fmla="*/ 719614 w 1800225"/>
                <a:gd name="connsiteY66" fmla="*/ 267550 h 1800225"/>
                <a:gd name="connsiteX67" fmla="*/ 726281 w 1800225"/>
                <a:gd name="connsiteY67" fmla="*/ 302792 h 1800225"/>
                <a:gd name="connsiteX68" fmla="*/ 878681 w 1800225"/>
                <a:gd name="connsiteY68" fmla="*/ 404710 h 1800225"/>
                <a:gd name="connsiteX69" fmla="*/ 878681 w 1800225"/>
                <a:gd name="connsiteY69" fmla="*/ 483767 h 1800225"/>
                <a:gd name="connsiteX70" fmla="*/ 707231 w 1800225"/>
                <a:gd name="connsiteY70" fmla="*/ 363752 h 1800225"/>
                <a:gd name="connsiteX71" fmla="*/ 683419 w 1800225"/>
                <a:gd name="connsiteY71" fmla="*/ 361847 h 1800225"/>
                <a:gd name="connsiteX72" fmla="*/ 668179 w 1800225"/>
                <a:gd name="connsiteY72" fmla="*/ 379945 h 1800225"/>
                <a:gd name="connsiteX73" fmla="*/ 628174 w 1800225"/>
                <a:gd name="connsiteY73" fmla="*/ 584732 h 1800225"/>
                <a:gd name="connsiteX74" fmla="*/ 573881 w 1800225"/>
                <a:gd name="connsiteY74" fmla="*/ 528535 h 1800225"/>
                <a:gd name="connsiteX75" fmla="*/ 611981 w 1800225"/>
                <a:gd name="connsiteY75" fmla="*/ 349465 h 1800225"/>
                <a:gd name="connsiteX76" fmla="*/ 592931 w 1800225"/>
                <a:gd name="connsiteY76" fmla="*/ 318985 h 1800225"/>
                <a:gd name="connsiteX77" fmla="*/ 577691 w 1800225"/>
                <a:gd name="connsiteY77" fmla="*/ 319937 h 1800225"/>
                <a:gd name="connsiteX78" fmla="*/ 562451 w 1800225"/>
                <a:gd name="connsiteY78" fmla="*/ 338035 h 1800225"/>
                <a:gd name="connsiteX79" fmla="*/ 531019 w 1800225"/>
                <a:gd name="connsiteY79" fmla="*/ 482815 h 1800225"/>
                <a:gd name="connsiteX80" fmla="*/ 478631 w 1800225"/>
                <a:gd name="connsiteY80" fmla="*/ 428522 h 1800225"/>
                <a:gd name="connsiteX81" fmla="*/ 478631 w 1800225"/>
                <a:gd name="connsiteY81" fmla="*/ 428522 h 1800225"/>
                <a:gd name="connsiteX82" fmla="*/ 504349 w 1800225"/>
                <a:gd name="connsiteY82" fmla="*/ 312317 h 1800225"/>
                <a:gd name="connsiteX83" fmla="*/ 485299 w 1800225"/>
                <a:gd name="connsiteY83" fmla="*/ 281837 h 1800225"/>
                <a:gd name="connsiteX84" fmla="*/ 470059 w 1800225"/>
                <a:gd name="connsiteY84" fmla="*/ 282790 h 1800225"/>
                <a:gd name="connsiteX85" fmla="*/ 454819 w 1800225"/>
                <a:gd name="connsiteY85" fmla="*/ 300887 h 1800225"/>
                <a:gd name="connsiteX86" fmla="*/ 437674 w 1800225"/>
                <a:gd name="connsiteY86" fmla="*/ 382802 h 1800225"/>
                <a:gd name="connsiteX87" fmla="*/ 393859 w 1800225"/>
                <a:gd name="connsiteY87" fmla="*/ 338987 h 1800225"/>
                <a:gd name="connsiteX88" fmla="*/ 407194 w 1800225"/>
                <a:gd name="connsiteY88" fmla="*/ 276122 h 1800225"/>
                <a:gd name="connsiteX89" fmla="*/ 388144 w 1800225"/>
                <a:gd name="connsiteY89" fmla="*/ 245642 h 1800225"/>
                <a:gd name="connsiteX90" fmla="*/ 373856 w 1800225"/>
                <a:gd name="connsiteY90" fmla="*/ 246595 h 1800225"/>
                <a:gd name="connsiteX91" fmla="*/ 358616 w 1800225"/>
                <a:gd name="connsiteY91" fmla="*/ 264692 h 1800225"/>
                <a:gd name="connsiteX92" fmla="*/ 352901 w 1800225"/>
                <a:gd name="connsiteY92" fmla="*/ 293267 h 1800225"/>
                <a:gd name="connsiteX93" fmla="*/ 317659 w 1800225"/>
                <a:gd name="connsiteY93" fmla="*/ 257072 h 1800225"/>
                <a:gd name="connsiteX94" fmla="*/ 290036 w 1800225"/>
                <a:gd name="connsiteY94" fmla="*/ 251357 h 1800225"/>
                <a:gd name="connsiteX95" fmla="*/ 282416 w 1800225"/>
                <a:gd name="connsiteY95" fmla="*/ 257072 h 1800225"/>
                <a:gd name="connsiteX96" fmla="*/ 281464 w 1800225"/>
                <a:gd name="connsiteY96" fmla="*/ 292315 h 1800225"/>
                <a:gd name="connsiteX97" fmla="*/ 323374 w 1800225"/>
                <a:gd name="connsiteY97" fmla="*/ 335177 h 1800225"/>
                <a:gd name="connsiteX98" fmla="*/ 323374 w 1800225"/>
                <a:gd name="connsiteY98" fmla="*/ 335177 h 1800225"/>
                <a:gd name="connsiteX99" fmla="*/ 277654 w 1800225"/>
                <a:gd name="connsiteY99" fmla="*/ 344702 h 1800225"/>
                <a:gd name="connsiteX100" fmla="*/ 258604 w 1800225"/>
                <a:gd name="connsiteY100" fmla="*/ 375182 h 1800225"/>
                <a:gd name="connsiteX101" fmla="*/ 289084 w 1800225"/>
                <a:gd name="connsiteY101" fmla="*/ 394232 h 1800225"/>
                <a:gd name="connsiteX102" fmla="*/ 364331 w 1800225"/>
                <a:gd name="connsiteY102" fmla="*/ 378040 h 1800225"/>
                <a:gd name="connsiteX103" fmla="*/ 364331 w 1800225"/>
                <a:gd name="connsiteY103" fmla="*/ 378040 h 1800225"/>
                <a:gd name="connsiteX104" fmla="*/ 407194 w 1800225"/>
                <a:gd name="connsiteY104" fmla="*/ 423760 h 1800225"/>
                <a:gd name="connsiteX105" fmla="*/ 309086 w 1800225"/>
                <a:gd name="connsiteY105" fmla="*/ 444715 h 1800225"/>
                <a:gd name="connsiteX106" fmla="*/ 290036 w 1800225"/>
                <a:gd name="connsiteY106" fmla="*/ 475195 h 1800225"/>
                <a:gd name="connsiteX107" fmla="*/ 320516 w 1800225"/>
                <a:gd name="connsiteY107" fmla="*/ 494245 h 1800225"/>
                <a:gd name="connsiteX108" fmla="*/ 449104 w 1800225"/>
                <a:gd name="connsiteY108" fmla="*/ 465670 h 1800225"/>
                <a:gd name="connsiteX109" fmla="*/ 491966 w 1800225"/>
                <a:gd name="connsiteY109" fmla="*/ 511390 h 1800225"/>
                <a:gd name="connsiteX110" fmla="*/ 356711 w 1800225"/>
                <a:gd name="connsiteY110" fmla="*/ 540917 h 1800225"/>
                <a:gd name="connsiteX111" fmla="*/ 337661 w 1800225"/>
                <a:gd name="connsiteY111" fmla="*/ 571397 h 1800225"/>
                <a:gd name="connsiteX112" fmla="*/ 368141 w 1800225"/>
                <a:gd name="connsiteY112" fmla="*/ 590447 h 1800225"/>
                <a:gd name="connsiteX113" fmla="*/ 533876 w 1800225"/>
                <a:gd name="connsiteY113" fmla="*/ 554252 h 1800225"/>
                <a:gd name="connsiteX114" fmla="*/ 585311 w 1800225"/>
                <a:gd name="connsiteY114" fmla="*/ 608545 h 1800225"/>
                <a:gd name="connsiteX115" fmla="*/ 371951 w 1800225"/>
                <a:gd name="connsiteY115" fmla="*/ 655217 h 1800225"/>
                <a:gd name="connsiteX116" fmla="*/ 353854 w 1800225"/>
                <a:gd name="connsiteY116" fmla="*/ 670457 h 1800225"/>
                <a:gd name="connsiteX117" fmla="*/ 355759 w 1800225"/>
                <a:gd name="connsiteY117" fmla="*/ 693317 h 1800225"/>
                <a:gd name="connsiteX118" fmla="*/ 471964 w 1800225"/>
                <a:gd name="connsiteY118" fmla="*/ 876197 h 1800225"/>
                <a:gd name="connsiteX119" fmla="*/ 395764 w 1800225"/>
                <a:gd name="connsiteY119" fmla="*/ 876197 h 1800225"/>
                <a:gd name="connsiteX120" fmla="*/ 307181 w 1800225"/>
                <a:gd name="connsiteY120" fmla="*/ 731417 h 1800225"/>
                <a:gd name="connsiteX121" fmla="*/ 275749 w 1800225"/>
                <a:gd name="connsiteY121" fmla="*/ 720940 h 1800225"/>
                <a:gd name="connsiteX122" fmla="*/ 271939 w 1800225"/>
                <a:gd name="connsiteY122" fmla="*/ 722845 h 1800225"/>
                <a:gd name="connsiteX123" fmla="*/ 263366 w 1800225"/>
                <a:gd name="connsiteY123" fmla="*/ 758087 h 1800225"/>
                <a:gd name="connsiteX124" fmla="*/ 335756 w 1800225"/>
                <a:gd name="connsiteY124" fmla="*/ 876197 h 1800225"/>
                <a:gd name="connsiteX125" fmla="*/ 335756 w 1800225"/>
                <a:gd name="connsiteY125" fmla="*/ 876197 h 1800225"/>
                <a:gd name="connsiteX126" fmla="*/ 273844 w 1800225"/>
                <a:gd name="connsiteY126" fmla="*/ 876197 h 1800225"/>
                <a:gd name="connsiteX127" fmla="*/ 272891 w 1800225"/>
                <a:gd name="connsiteY127" fmla="*/ 876197 h 1800225"/>
                <a:gd name="connsiteX128" fmla="*/ 203359 w 1800225"/>
                <a:gd name="connsiteY128" fmla="*/ 763802 h 1800225"/>
                <a:gd name="connsiteX129" fmla="*/ 171926 w 1800225"/>
                <a:gd name="connsiteY129" fmla="*/ 753325 h 1800225"/>
                <a:gd name="connsiteX130" fmla="*/ 168116 w 1800225"/>
                <a:gd name="connsiteY130" fmla="*/ 755230 h 1800225"/>
                <a:gd name="connsiteX131" fmla="*/ 159544 w 1800225"/>
                <a:gd name="connsiteY131" fmla="*/ 790472 h 1800225"/>
                <a:gd name="connsiteX132" fmla="*/ 212884 w 1800225"/>
                <a:gd name="connsiteY132" fmla="*/ 876197 h 1800225"/>
                <a:gd name="connsiteX133" fmla="*/ 212884 w 1800225"/>
                <a:gd name="connsiteY133" fmla="*/ 876197 h 1800225"/>
                <a:gd name="connsiteX134" fmla="*/ 150019 w 1800225"/>
                <a:gd name="connsiteY134" fmla="*/ 876197 h 1800225"/>
                <a:gd name="connsiteX135" fmla="*/ 150019 w 1800225"/>
                <a:gd name="connsiteY135" fmla="*/ 876197 h 1800225"/>
                <a:gd name="connsiteX136" fmla="*/ 109061 w 1800225"/>
                <a:gd name="connsiteY136" fmla="*/ 809522 h 1800225"/>
                <a:gd name="connsiteX137" fmla="*/ 77629 w 1800225"/>
                <a:gd name="connsiteY137" fmla="*/ 799045 h 1800225"/>
                <a:gd name="connsiteX138" fmla="*/ 73819 w 1800225"/>
                <a:gd name="connsiteY138" fmla="*/ 800950 h 1800225"/>
                <a:gd name="connsiteX139" fmla="*/ 65246 w 1800225"/>
                <a:gd name="connsiteY139" fmla="*/ 836192 h 1800225"/>
                <a:gd name="connsiteX140" fmla="*/ 90011 w 1800225"/>
                <a:gd name="connsiteY140" fmla="*/ 876197 h 1800225"/>
                <a:gd name="connsiteX141" fmla="*/ 30004 w 1800225"/>
                <a:gd name="connsiteY141" fmla="*/ 877150 h 1800225"/>
                <a:gd name="connsiteX142" fmla="*/ 7144 w 1800225"/>
                <a:gd name="connsiteY142" fmla="*/ 902867 h 1800225"/>
                <a:gd name="connsiteX143" fmla="*/ 32861 w 1800225"/>
                <a:gd name="connsiteY143" fmla="*/ 927632 h 1800225"/>
                <a:gd name="connsiteX144" fmla="*/ 82391 w 1800225"/>
                <a:gd name="connsiteY144" fmla="*/ 926680 h 1800225"/>
                <a:gd name="connsiteX145" fmla="*/ 83344 w 1800225"/>
                <a:gd name="connsiteY145" fmla="*/ 926680 h 1800225"/>
                <a:gd name="connsiteX146" fmla="*/ 67151 w 1800225"/>
                <a:gd name="connsiteY146" fmla="*/ 951445 h 1800225"/>
                <a:gd name="connsiteX147" fmla="*/ 73819 w 1800225"/>
                <a:gd name="connsiteY147" fmla="*/ 986687 h 1800225"/>
                <a:gd name="connsiteX148" fmla="*/ 109061 w 1800225"/>
                <a:gd name="connsiteY148" fmla="*/ 980020 h 1800225"/>
                <a:gd name="connsiteX149" fmla="*/ 144304 w 1800225"/>
                <a:gd name="connsiteY149" fmla="*/ 927632 h 1800225"/>
                <a:gd name="connsiteX150" fmla="*/ 207169 w 1800225"/>
                <a:gd name="connsiteY150" fmla="*/ 927632 h 1800225"/>
                <a:gd name="connsiteX151" fmla="*/ 207169 w 1800225"/>
                <a:gd name="connsiteY151" fmla="*/ 927632 h 1800225"/>
                <a:gd name="connsiteX152" fmla="*/ 159544 w 1800225"/>
                <a:gd name="connsiteY152" fmla="*/ 998117 h 1800225"/>
                <a:gd name="connsiteX153" fmla="*/ 166211 w 1800225"/>
                <a:gd name="connsiteY153" fmla="*/ 1033360 h 1800225"/>
                <a:gd name="connsiteX154" fmla="*/ 201454 w 1800225"/>
                <a:gd name="connsiteY154" fmla="*/ 1026692 h 1800225"/>
                <a:gd name="connsiteX155" fmla="*/ 268129 w 1800225"/>
                <a:gd name="connsiteY155" fmla="*/ 927632 h 1800225"/>
                <a:gd name="connsiteX156" fmla="*/ 342424 w 1800225"/>
                <a:gd name="connsiteY156" fmla="*/ 928585 h 1800225"/>
                <a:gd name="connsiteX157" fmla="*/ 260509 w 1800225"/>
                <a:gd name="connsiteY157" fmla="*/ 1051457 h 1800225"/>
                <a:gd name="connsiteX158" fmla="*/ 267176 w 1800225"/>
                <a:gd name="connsiteY158" fmla="*/ 1086700 h 1800225"/>
                <a:gd name="connsiteX159" fmla="*/ 302419 w 1800225"/>
                <a:gd name="connsiteY159" fmla="*/ 1080032 h 1800225"/>
                <a:gd name="connsiteX160" fmla="*/ 404336 w 1800225"/>
                <a:gd name="connsiteY160" fmla="*/ 928585 h 1800225"/>
                <a:gd name="connsiteX161" fmla="*/ 483394 w 1800225"/>
                <a:gd name="connsiteY161" fmla="*/ 928585 h 1800225"/>
                <a:gd name="connsiteX162" fmla="*/ 362426 w 1800225"/>
                <a:gd name="connsiteY162" fmla="*/ 1100035 h 1800225"/>
                <a:gd name="connsiteX163" fmla="*/ 360521 w 1800225"/>
                <a:gd name="connsiteY163" fmla="*/ 1123847 h 1800225"/>
                <a:gd name="connsiteX164" fmla="*/ 378619 w 1800225"/>
                <a:gd name="connsiteY164" fmla="*/ 1139088 h 1800225"/>
                <a:gd name="connsiteX165" fmla="*/ 584359 w 1800225"/>
                <a:gd name="connsiteY165" fmla="*/ 1177188 h 1800225"/>
                <a:gd name="connsiteX166" fmla="*/ 528161 w 1800225"/>
                <a:gd name="connsiteY166" fmla="*/ 1232433 h 1800225"/>
                <a:gd name="connsiteX167" fmla="*/ 349091 w 1800225"/>
                <a:gd name="connsiteY167" fmla="*/ 1193380 h 1800225"/>
                <a:gd name="connsiteX168" fmla="*/ 334804 w 1800225"/>
                <a:gd name="connsiteY168" fmla="*/ 1194332 h 1800225"/>
                <a:gd name="connsiteX169" fmla="*/ 319564 w 1800225"/>
                <a:gd name="connsiteY169" fmla="*/ 1212430 h 1800225"/>
                <a:gd name="connsiteX170" fmla="*/ 338614 w 1800225"/>
                <a:gd name="connsiteY170" fmla="*/ 1242910 h 1800225"/>
                <a:gd name="connsiteX171" fmla="*/ 483394 w 1800225"/>
                <a:gd name="connsiteY171" fmla="*/ 1274342 h 1800225"/>
                <a:gd name="connsiteX172" fmla="*/ 483394 w 1800225"/>
                <a:gd name="connsiteY172" fmla="*/ 1274342 h 1800225"/>
                <a:gd name="connsiteX173" fmla="*/ 429101 w 1800225"/>
                <a:gd name="connsiteY173" fmla="*/ 1326730 h 1800225"/>
                <a:gd name="connsiteX174" fmla="*/ 311944 w 1800225"/>
                <a:gd name="connsiteY174" fmla="*/ 1300060 h 1800225"/>
                <a:gd name="connsiteX175" fmla="*/ 296704 w 1800225"/>
                <a:gd name="connsiteY175" fmla="*/ 1301013 h 1800225"/>
                <a:gd name="connsiteX176" fmla="*/ 281464 w 1800225"/>
                <a:gd name="connsiteY176" fmla="*/ 1319110 h 1800225"/>
                <a:gd name="connsiteX177" fmla="*/ 300514 w 1800225"/>
                <a:gd name="connsiteY177" fmla="*/ 1349590 h 1800225"/>
                <a:gd name="connsiteX178" fmla="*/ 383381 w 1800225"/>
                <a:gd name="connsiteY178" fmla="*/ 1367688 h 1800225"/>
                <a:gd name="connsiteX179" fmla="*/ 337661 w 1800225"/>
                <a:gd name="connsiteY179" fmla="*/ 1411502 h 1800225"/>
                <a:gd name="connsiteX180" fmla="*/ 337661 w 1800225"/>
                <a:gd name="connsiteY180" fmla="*/ 1411502 h 1800225"/>
                <a:gd name="connsiteX181" fmla="*/ 275749 w 1800225"/>
                <a:gd name="connsiteY181" fmla="*/ 1398167 h 1800225"/>
                <a:gd name="connsiteX182" fmla="*/ 261461 w 1800225"/>
                <a:gd name="connsiteY182" fmla="*/ 1399120 h 1800225"/>
                <a:gd name="connsiteX183" fmla="*/ 246221 w 1800225"/>
                <a:gd name="connsiteY183" fmla="*/ 1417217 h 1800225"/>
                <a:gd name="connsiteX184" fmla="*/ 265271 w 1800225"/>
                <a:gd name="connsiteY184" fmla="*/ 1447697 h 1800225"/>
                <a:gd name="connsiteX185" fmla="*/ 293846 w 1800225"/>
                <a:gd name="connsiteY185" fmla="*/ 1454365 h 1800225"/>
                <a:gd name="connsiteX186" fmla="*/ 293846 w 1800225"/>
                <a:gd name="connsiteY186" fmla="*/ 1454365 h 1800225"/>
                <a:gd name="connsiteX187" fmla="*/ 257651 w 1800225"/>
                <a:gd name="connsiteY187" fmla="*/ 1488655 h 1800225"/>
                <a:gd name="connsiteX188" fmla="*/ 256699 w 1800225"/>
                <a:gd name="connsiteY188" fmla="*/ 1524850 h 1800225"/>
                <a:gd name="connsiteX189" fmla="*/ 291941 w 1800225"/>
                <a:gd name="connsiteY189" fmla="*/ 1525802 h 1800225"/>
                <a:gd name="connsiteX190" fmla="*/ 334804 w 1800225"/>
                <a:gd name="connsiteY190" fmla="*/ 1483892 h 1800225"/>
                <a:gd name="connsiteX191" fmla="*/ 334804 w 1800225"/>
                <a:gd name="connsiteY191" fmla="*/ 1483892 h 1800225"/>
                <a:gd name="connsiteX192" fmla="*/ 344329 w 1800225"/>
                <a:gd name="connsiteY192" fmla="*/ 1528660 h 1800225"/>
                <a:gd name="connsiteX193" fmla="*/ 374809 w 1800225"/>
                <a:gd name="connsiteY193" fmla="*/ 1547710 h 1800225"/>
                <a:gd name="connsiteX194" fmla="*/ 393859 w 1800225"/>
                <a:gd name="connsiteY194" fmla="*/ 1517230 h 1800225"/>
                <a:gd name="connsiteX195" fmla="*/ 377666 w 1800225"/>
                <a:gd name="connsiteY195" fmla="*/ 1441983 h 1800225"/>
                <a:gd name="connsiteX196" fmla="*/ 377666 w 1800225"/>
                <a:gd name="connsiteY196" fmla="*/ 1441983 h 1800225"/>
                <a:gd name="connsiteX197" fmla="*/ 423386 w 1800225"/>
                <a:gd name="connsiteY197" fmla="*/ 1398167 h 1800225"/>
                <a:gd name="connsiteX198" fmla="*/ 444341 w 1800225"/>
                <a:gd name="connsiteY198" fmla="*/ 1496275 h 1800225"/>
                <a:gd name="connsiteX199" fmla="*/ 474821 w 1800225"/>
                <a:gd name="connsiteY199" fmla="*/ 1515325 h 1800225"/>
                <a:gd name="connsiteX200" fmla="*/ 493871 w 1800225"/>
                <a:gd name="connsiteY200" fmla="*/ 1484845 h 1800225"/>
                <a:gd name="connsiteX201" fmla="*/ 466249 w 1800225"/>
                <a:gd name="connsiteY201" fmla="*/ 1356258 h 1800225"/>
                <a:gd name="connsiteX202" fmla="*/ 467201 w 1800225"/>
                <a:gd name="connsiteY202" fmla="*/ 1356258 h 1800225"/>
                <a:gd name="connsiteX203" fmla="*/ 511969 w 1800225"/>
                <a:gd name="connsiteY203" fmla="*/ 1313395 h 1800225"/>
                <a:gd name="connsiteX204" fmla="*/ 541496 w 1800225"/>
                <a:gd name="connsiteY204" fmla="*/ 1447697 h 1800225"/>
                <a:gd name="connsiteX205" fmla="*/ 571976 w 1800225"/>
                <a:gd name="connsiteY205" fmla="*/ 1466747 h 1800225"/>
                <a:gd name="connsiteX206" fmla="*/ 591026 w 1800225"/>
                <a:gd name="connsiteY206" fmla="*/ 1436267 h 1800225"/>
                <a:gd name="connsiteX207" fmla="*/ 554831 w 1800225"/>
                <a:gd name="connsiteY207" fmla="*/ 1270533 h 1800225"/>
                <a:gd name="connsiteX208" fmla="*/ 608171 w 1800225"/>
                <a:gd name="connsiteY208" fmla="*/ 1218145 h 1800225"/>
                <a:gd name="connsiteX209" fmla="*/ 651986 w 1800225"/>
                <a:gd name="connsiteY209" fmla="*/ 1429600 h 1800225"/>
                <a:gd name="connsiteX210" fmla="*/ 667226 w 1800225"/>
                <a:gd name="connsiteY210" fmla="*/ 1447697 h 1800225"/>
                <a:gd name="connsiteX211" fmla="*/ 691039 w 1800225"/>
                <a:gd name="connsiteY211" fmla="*/ 1445792 h 1800225"/>
                <a:gd name="connsiteX212" fmla="*/ 874871 w 1800225"/>
                <a:gd name="connsiteY212" fmla="*/ 1330540 h 1800225"/>
                <a:gd name="connsiteX213" fmla="*/ 874871 w 1800225"/>
                <a:gd name="connsiteY213" fmla="*/ 1405788 h 1800225"/>
                <a:gd name="connsiteX214" fmla="*/ 874871 w 1800225"/>
                <a:gd name="connsiteY214" fmla="*/ 1405788 h 1800225"/>
                <a:gd name="connsiteX215" fmla="*/ 731044 w 1800225"/>
                <a:gd name="connsiteY215" fmla="*/ 1497227 h 1800225"/>
                <a:gd name="connsiteX216" fmla="*/ 722471 w 1800225"/>
                <a:gd name="connsiteY216" fmla="*/ 1532470 h 1800225"/>
                <a:gd name="connsiteX217" fmla="*/ 757714 w 1800225"/>
                <a:gd name="connsiteY217" fmla="*/ 1541042 h 1800225"/>
                <a:gd name="connsiteX218" fmla="*/ 875824 w 1800225"/>
                <a:gd name="connsiteY218" fmla="*/ 1468652 h 1800225"/>
                <a:gd name="connsiteX219" fmla="*/ 875824 w 1800225"/>
                <a:gd name="connsiteY219" fmla="*/ 1468652 h 1800225"/>
                <a:gd name="connsiteX220" fmla="*/ 875824 w 1800225"/>
                <a:gd name="connsiteY220" fmla="*/ 1530565 h 1800225"/>
                <a:gd name="connsiteX221" fmla="*/ 875824 w 1800225"/>
                <a:gd name="connsiteY221" fmla="*/ 1530565 h 1800225"/>
                <a:gd name="connsiteX222" fmla="*/ 763429 w 1800225"/>
                <a:gd name="connsiteY222" fmla="*/ 1600097 h 1800225"/>
                <a:gd name="connsiteX223" fmla="*/ 754856 w 1800225"/>
                <a:gd name="connsiteY223" fmla="*/ 1635340 h 1800225"/>
                <a:gd name="connsiteX224" fmla="*/ 790099 w 1800225"/>
                <a:gd name="connsiteY224" fmla="*/ 1643913 h 1800225"/>
                <a:gd name="connsiteX225" fmla="*/ 875824 w 1800225"/>
                <a:gd name="connsiteY225" fmla="*/ 1590572 h 1800225"/>
                <a:gd name="connsiteX226" fmla="*/ 875824 w 1800225"/>
                <a:gd name="connsiteY226" fmla="*/ 1591525 h 1800225"/>
                <a:gd name="connsiteX227" fmla="*/ 875824 w 1800225"/>
                <a:gd name="connsiteY227" fmla="*/ 1654390 h 1800225"/>
                <a:gd name="connsiteX228" fmla="*/ 809149 w 1800225"/>
                <a:gd name="connsiteY228" fmla="*/ 1695347 h 1800225"/>
                <a:gd name="connsiteX229" fmla="*/ 800576 w 1800225"/>
                <a:gd name="connsiteY229" fmla="*/ 1730590 h 1800225"/>
                <a:gd name="connsiteX230" fmla="*/ 835819 w 1800225"/>
                <a:gd name="connsiteY230" fmla="*/ 1739163 h 1800225"/>
                <a:gd name="connsiteX231" fmla="*/ 875824 w 1800225"/>
                <a:gd name="connsiteY231" fmla="*/ 1714397 h 1800225"/>
                <a:gd name="connsiteX232" fmla="*/ 875824 w 1800225"/>
                <a:gd name="connsiteY232" fmla="*/ 1715350 h 1800225"/>
                <a:gd name="connsiteX233" fmla="*/ 875824 w 1800225"/>
                <a:gd name="connsiteY233" fmla="*/ 1774405 h 1800225"/>
                <a:gd name="connsiteX234" fmla="*/ 901541 w 1800225"/>
                <a:gd name="connsiteY234" fmla="*/ 1800122 h 1800225"/>
                <a:gd name="connsiteX235" fmla="*/ 926306 w 1800225"/>
                <a:gd name="connsiteY235" fmla="*/ 1774405 h 1800225"/>
                <a:gd name="connsiteX236" fmla="*/ 927259 w 1800225"/>
                <a:gd name="connsiteY236" fmla="*/ 1723922 h 1800225"/>
                <a:gd name="connsiteX237" fmla="*/ 927259 w 1800225"/>
                <a:gd name="connsiteY237" fmla="*/ 1723922 h 1800225"/>
                <a:gd name="connsiteX238" fmla="*/ 951071 w 1800225"/>
                <a:gd name="connsiteY238" fmla="*/ 1740115 h 1800225"/>
                <a:gd name="connsiteX239" fmla="*/ 986314 w 1800225"/>
                <a:gd name="connsiteY239" fmla="*/ 1733447 h 1800225"/>
                <a:gd name="connsiteX240" fmla="*/ 979646 w 1800225"/>
                <a:gd name="connsiteY240" fmla="*/ 1698205 h 1800225"/>
                <a:gd name="connsiteX241" fmla="*/ 926306 w 1800225"/>
                <a:gd name="connsiteY241" fmla="*/ 1662010 h 1800225"/>
                <a:gd name="connsiteX242" fmla="*/ 926306 w 1800225"/>
                <a:gd name="connsiteY242" fmla="*/ 1662010 h 1800225"/>
                <a:gd name="connsiteX243" fmla="*/ 926306 w 1800225"/>
                <a:gd name="connsiteY243" fmla="*/ 1600097 h 1800225"/>
                <a:gd name="connsiteX244" fmla="*/ 926306 w 1800225"/>
                <a:gd name="connsiteY244" fmla="*/ 1599145 h 1800225"/>
                <a:gd name="connsiteX245" fmla="*/ 926306 w 1800225"/>
                <a:gd name="connsiteY245" fmla="*/ 1599145 h 1800225"/>
                <a:gd name="connsiteX246" fmla="*/ 997744 w 1800225"/>
                <a:gd name="connsiteY246" fmla="*/ 1646770 h 1800225"/>
                <a:gd name="connsiteX247" fmla="*/ 1032986 w 1800225"/>
                <a:gd name="connsiteY247" fmla="*/ 1640102 h 1800225"/>
                <a:gd name="connsiteX248" fmla="*/ 1026319 w 1800225"/>
                <a:gd name="connsiteY248" fmla="*/ 1604860 h 1800225"/>
                <a:gd name="connsiteX249" fmla="*/ 927259 w 1800225"/>
                <a:gd name="connsiteY249" fmla="*/ 1538185 h 1800225"/>
                <a:gd name="connsiteX250" fmla="*/ 927259 w 1800225"/>
                <a:gd name="connsiteY250" fmla="*/ 1538185 h 1800225"/>
                <a:gd name="connsiteX251" fmla="*/ 928211 w 1800225"/>
                <a:gd name="connsiteY251" fmla="*/ 1463890 h 1800225"/>
                <a:gd name="connsiteX252" fmla="*/ 928211 w 1800225"/>
                <a:gd name="connsiteY252" fmla="*/ 1463890 h 1800225"/>
                <a:gd name="connsiteX253" fmla="*/ 1051084 w 1800225"/>
                <a:gd name="connsiteY253" fmla="*/ 1546758 h 1800225"/>
                <a:gd name="connsiteX254" fmla="*/ 1086326 w 1800225"/>
                <a:gd name="connsiteY254" fmla="*/ 1540090 h 1800225"/>
                <a:gd name="connsiteX255" fmla="*/ 1079659 w 1800225"/>
                <a:gd name="connsiteY255" fmla="*/ 1504847 h 1800225"/>
                <a:gd name="connsiteX256" fmla="*/ 927259 w 1800225"/>
                <a:gd name="connsiteY256" fmla="*/ 1402930 h 1800225"/>
                <a:gd name="connsiteX257" fmla="*/ 927259 w 1800225"/>
                <a:gd name="connsiteY257" fmla="*/ 1402930 h 1800225"/>
                <a:gd name="connsiteX258" fmla="*/ 927259 w 1800225"/>
                <a:gd name="connsiteY258" fmla="*/ 1323872 h 1800225"/>
                <a:gd name="connsiteX259" fmla="*/ 1097756 w 1800225"/>
                <a:gd name="connsiteY259" fmla="*/ 1443888 h 1800225"/>
                <a:gd name="connsiteX260" fmla="*/ 1136809 w 1800225"/>
                <a:gd name="connsiteY260" fmla="*/ 1427695 h 1800225"/>
                <a:gd name="connsiteX261" fmla="*/ 1176814 w 1800225"/>
                <a:gd name="connsiteY261" fmla="*/ 1222907 h 1800225"/>
                <a:gd name="connsiteX262" fmla="*/ 1231106 w 1800225"/>
                <a:gd name="connsiteY262" fmla="*/ 1279105 h 1800225"/>
                <a:gd name="connsiteX263" fmla="*/ 1231106 w 1800225"/>
                <a:gd name="connsiteY263" fmla="*/ 1279105 h 1800225"/>
                <a:gd name="connsiteX264" fmla="*/ 1192054 w 1800225"/>
                <a:gd name="connsiteY264" fmla="*/ 1458175 h 1800225"/>
                <a:gd name="connsiteX265" fmla="*/ 1211104 w 1800225"/>
                <a:gd name="connsiteY265" fmla="*/ 1487702 h 1800225"/>
                <a:gd name="connsiteX266" fmla="*/ 1241584 w 1800225"/>
                <a:gd name="connsiteY266" fmla="*/ 1468652 h 1800225"/>
                <a:gd name="connsiteX267" fmla="*/ 1273016 w 1800225"/>
                <a:gd name="connsiteY267" fmla="*/ 1323872 h 1800225"/>
                <a:gd name="connsiteX268" fmla="*/ 1273016 w 1800225"/>
                <a:gd name="connsiteY268" fmla="*/ 1323872 h 1800225"/>
                <a:gd name="connsiteX269" fmla="*/ 1325404 w 1800225"/>
                <a:gd name="connsiteY269" fmla="*/ 1377213 h 1800225"/>
                <a:gd name="connsiteX270" fmla="*/ 1325404 w 1800225"/>
                <a:gd name="connsiteY270" fmla="*/ 1377213 h 1800225"/>
                <a:gd name="connsiteX271" fmla="*/ 1300639 w 1800225"/>
                <a:gd name="connsiteY271" fmla="*/ 1494370 h 1800225"/>
                <a:gd name="connsiteX272" fmla="*/ 1319689 w 1800225"/>
                <a:gd name="connsiteY272" fmla="*/ 1524850 h 1800225"/>
                <a:gd name="connsiteX273" fmla="*/ 1350169 w 1800225"/>
                <a:gd name="connsiteY273" fmla="*/ 1505800 h 1800225"/>
                <a:gd name="connsiteX274" fmla="*/ 1368266 w 1800225"/>
                <a:gd name="connsiteY274" fmla="*/ 1421980 h 1800225"/>
                <a:gd name="connsiteX275" fmla="*/ 1368266 w 1800225"/>
                <a:gd name="connsiteY275" fmla="*/ 1421980 h 1800225"/>
                <a:gd name="connsiteX276" fmla="*/ 1368266 w 1800225"/>
                <a:gd name="connsiteY276" fmla="*/ 1422933 h 1800225"/>
                <a:gd name="connsiteX277" fmla="*/ 1411129 w 1800225"/>
                <a:gd name="connsiteY277" fmla="*/ 1467700 h 1800225"/>
                <a:gd name="connsiteX278" fmla="*/ 1411129 w 1800225"/>
                <a:gd name="connsiteY278" fmla="*/ 1467700 h 1800225"/>
                <a:gd name="connsiteX279" fmla="*/ 1397794 w 1800225"/>
                <a:gd name="connsiteY279" fmla="*/ 1530565 h 1800225"/>
                <a:gd name="connsiteX280" fmla="*/ 1416844 w 1800225"/>
                <a:gd name="connsiteY280" fmla="*/ 1561045 h 1800225"/>
                <a:gd name="connsiteX281" fmla="*/ 1447324 w 1800225"/>
                <a:gd name="connsiteY281" fmla="*/ 1541995 h 1800225"/>
                <a:gd name="connsiteX282" fmla="*/ 1453039 w 1800225"/>
                <a:gd name="connsiteY282" fmla="*/ 1513420 h 1800225"/>
                <a:gd name="connsiteX283" fmla="*/ 1453039 w 1800225"/>
                <a:gd name="connsiteY283" fmla="*/ 1513420 h 1800225"/>
                <a:gd name="connsiteX284" fmla="*/ 1488281 w 1800225"/>
                <a:gd name="connsiteY284" fmla="*/ 1549615 h 1800225"/>
                <a:gd name="connsiteX285" fmla="*/ 1523524 w 1800225"/>
                <a:gd name="connsiteY285" fmla="*/ 1550567 h 1800225"/>
                <a:gd name="connsiteX286" fmla="*/ 1524476 w 1800225"/>
                <a:gd name="connsiteY286" fmla="*/ 1514372 h 1800225"/>
                <a:gd name="connsiteX287" fmla="*/ 1483519 w 1800225"/>
                <a:gd name="connsiteY287" fmla="*/ 1472463 h 1800225"/>
                <a:gd name="connsiteX288" fmla="*/ 1482566 w 1800225"/>
                <a:gd name="connsiteY288" fmla="*/ 1471510 h 1800225"/>
                <a:gd name="connsiteX289" fmla="*/ 1528286 w 1800225"/>
                <a:gd name="connsiteY289" fmla="*/ 1461985 h 1800225"/>
                <a:gd name="connsiteX290" fmla="*/ 1547336 w 1800225"/>
                <a:gd name="connsiteY290" fmla="*/ 1431505 h 1800225"/>
                <a:gd name="connsiteX291" fmla="*/ 1516856 w 1800225"/>
                <a:gd name="connsiteY291" fmla="*/ 1412455 h 1800225"/>
                <a:gd name="connsiteX292" fmla="*/ 1440656 w 1800225"/>
                <a:gd name="connsiteY292" fmla="*/ 1428647 h 1800225"/>
                <a:gd name="connsiteX293" fmla="*/ 1397794 w 1800225"/>
                <a:gd name="connsiteY293" fmla="*/ 1379117 h 1800225"/>
                <a:gd name="connsiteX294" fmla="*/ 1397794 w 1800225"/>
                <a:gd name="connsiteY294" fmla="*/ 1379117 h 1800225"/>
                <a:gd name="connsiteX295" fmla="*/ 1495901 w 1800225"/>
                <a:gd name="connsiteY295" fmla="*/ 1358163 h 1800225"/>
                <a:gd name="connsiteX296" fmla="*/ 1514951 w 1800225"/>
                <a:gd name="connsiteY296" fmla="*/ 1327683 h 1800225"/>
                <a:gd name="connsiteX297" fmla="*/ 1484471 w 1800225"/>
                <a:gd name="connsiteY297" fmla="*/ 1308633 h 1800225"/>
                <a:gd name="connsiteX298" fmla="*/ 1355884 w 1800225"/>
                <a:gd name="connsiteY298" fmla="*/ 1336255 h 1800225"/>
                <a:gd name="connsiteX299" fmla="*/ 1355884 w 1800225"/>
                <a:gd name="connsiteY299" fmla="*/ 1336255 h 1800225"/>
                <a:gd name="connsiteX300" fmla="*/ 1313021 w 1800225"/>
                <a:gd name="connsiteY300" fmla="*/ 1291488 h 1800225"/>
                <a:gd name="connsiteX301" fmla="*/ 1313021 w 1800225"/>
                <a:gd name="connsiteY301" fmla="*/ 1291488 h 1800225"/>
                <a:gd name="connsiteX302" fmla="*/ 1448276 w 1800225"/>
                <a:gd name="connsiteY302" fmla="*/ 1261960 h 1800225"/>
                <a:gd name="connsiteX303" fmla="*/ 1467326 w 1800225"/>
                <a:gd name="connsiteY303" fmla="*/ 1231480 h 1800225"/>
                <a:gd name="connsiteX304" fmla="*/ 1436846 w 1800225"/>
                <a:gd name="connsiteY304" fmla="*/ 1212430 h 1800225"/>
                <a:gd name="connsiteX305" fmla="*/ 1271111 w 1800225"/>
                <a:gd name="connsiteY305" fmla="*/ 1248625 h 1800225"/>
                <a:gd name="connsiteX306" fmla="*/ 1271111 w 1800225"/>
                <a:gd name="connsiteY306" fmla="*/ 1248625 h 1800225"/>
                <a:gd name="connsiteX307" fmla="*/ 1218724 w 1800225"/>
                <a:gd name="connsiteY307" fmla="*/ 1194332 h 1800225"/>
                <a:gd name="connsiteX308" fmla="*/ 1431131 w 1800225"/>
                <a:gd name="connsiteY308" fmla="*/ 1150517 h 1800225"/>
                <a:gd name="connsiteX309" fmla="*/ 1449229 w 1800225"/>
                <a:gd name="connsiteY309" fmla="*/ 1135277 h 1800225"/>
                <a:gd name="connsiteX310" fmla="*/ 1447324 w 1800225"/>
                <a:gd name="connsiteY310" fmla="*/ 1112417 h 1800225"/>
                <a:gd name="connsiteX311" fmla="*/ 1332071 w 1800225"/>
                <a:gd name="connsiteY311" fmla="*/ 929537 h 1800225"/>
                <a:gd name="connsiteX312" fmla="*/ 1407319 w 1800225"/>
                <a:gd name="connsiteY312" fmla="*/ 929537 h 1800225"/>
                <a:gd name="connsiteX313" fmla="*/ 1495901 w 1800225"/>
                <a:gd name="connsiteY313" fmla="*/ 1073365 h 1800225"/>
                <a:gd name="connsiteX314" fmla="*/ 1531144 w 1800225"/>
                <a:gd name="connsiteY314" fmla="*/ 1081938 h 1800225"/>
                <a:gd name="connsiteX315" fmla="*/ 1539716 w 1800225"/>
                <a:gd name="connsiteY315" fmla="*/ 1046695 h 1800225"/>
                <a:gd name="connsiteX316" fmla="*/ 1467326 w 1800225"/>
                <a:gd name="connsiteY316" fmla="*/ 929537 h 1800225"/>
                <a:gd name="connsiteX317" fmla="*/ 1529239 w 1800225"/>
                <a:gd name="connsiteY317" fmla="*/ 929537 h 1800225"/>
                <a:gd name="connsiteX318" fmla="*/ 1530191 w 1800225"/>
                <a:gd name="connsiteY318" fmla="*/ 929537 h 1800225"/>
                <a:gd name="connsiteX319" fmla="*/ 1598771 w 1800225"/>
                <a:gd name="connsiteY319" fmla="*/ 1040980 h 1800225"/>
                <a:gd name="connsiteX320" fmla="*/ 1634014 w 1800225"/>
                <a:gd name="connsiteY320" fmla="*/ 1049552 h 1800225"/>
                <a:gd name="connsiteX321" fmla="*/ 1642586 w 1800225"/>
                <a:gd name="connsiteY321" fmla="*/ 1014310 h 1800225"/>
                <a:gd name="connsiteX322" fmla="*/ 1590199 w 1800225"/>
                <a:gd name="connsiteY322" fmla="*/ 928585 h 1800225"/>
                <a:gd name="connsiteX323" fmla="*/ 1653064 w 1800225"/>
                <a:gd name="connsiteY323" fmla="*/ 928585 h 1800225"/>
                <a:gd name="connsiteX324" fmla="*/ 1653064 w 1800225"/>
                <a:gd name="connsiteY324" fmla="*/ 928585 h 1800225"/>
                <a:gd name="connsiteX325" fmla="*/ 1694021 w 1800225"/>
                <a:gd name="connsiteY325" fmla="*/ 994307 h 1800225"/>
                <a:gd name="connsiteX326" fmla="*/ 1729264 w 1800225"/>
                <a:gd name="connsiteY326" fmla="*/ 1002880 h 1800225"/>
                <a:gd name="connsiteX327" fmla="*/ 1737836 w 1800225"/>
                <a:gd name="connsiteY327" fmla="*/ 967637 h 1800225"/>
                <a:gd name="connsiteX328" fmla="*/ 1714024 w 1800225"/>
                <a:gd name="connsiteY328" fmla="*/ 928585 h 1800225"/>
                <a:gd name="connsiteX329" fmla="*/ 1714024 w 1800225"/>
                <a:gd name="connsiteY329" fmla="*/ 928585 h 1800225"/>
                <a:gd name="connsiteX330" fmla="*/ 1774031 w 1800225"/>
                <a:gd name="connsiteY330" fmla="*/ 928585 h 1800225"/>
                <a:gd name="connsiteX331" fmla="*/ 1798796 w 1800225"/>
                <a:gd name="connsiteY331" fmla="*/ 902867 h 1800225"/>
                <a:gd name="connsiteX332" fmla="*/ 1773079 w 1800225"/>
                <a:gd name="connsiteY332" fmla="*/ 877150 h 1800225"/>
                <a:gd name="connsiteX333" fmla="*/ 1722596 w 1800225"/>
                <a:gd name="connsiteY333" fmla="*/ 878102 h 1800225"/>
                <a:gd name="connsiteX334" fmla="*/ 1722596 w 1800225"/>
                <a:gd name="connsiteY334" fmla="*/ 878102 h 1800225"/>
                <a:gd name="connsiteX335" fmla="*/ 1738789 w 1800225"/>
                <a:gd name="connsiteY335" fmla="*/ 853337 h 1800225"/>
                <a:gd name="connsiteX336" fmla="*/ 1732121 w 1800225"/>
                <a:gd name="connsiteY336" fmla="*/ 818095 h 1800225"/>
                <a:gd name="connsiteX337" fmla="*/ 1708309 w 1800225"/>
                <a:gd name="connsiteY337" fmla="*/ 815237 h 1800225"/>
                <a:gd name="connsiteX338" fmla="*/ 1696879 w 1800225"/>
                <a:gd name="connsiteY338" fmla="*/ 824762 h 1800225"/>
                <a:gd name="connsiteX339" fmla="*/ 1661636 w 1800225"/>
                <a:gd name="connsiteY339" fmla="*/ 877150 h 1800225"/>
                <a:gd name="connsiteX340" fmla="*/ 1661636 w 1800225"/>
                <a:gd name="connsiteY340" fmla="*/ 877150 h 1800225"/>
                <a:gd name="connsiteX341" fmla="*/ 1598771 w 1800225"/>
                <a:gd name="connsiteY341" fmla="*/ 877150 h 1800225"/>
                <a:gd name="connsiteX342" fmla="*/ 1646396 w 1800225"/>
                <a:gd name="connsiteY342" fmla="*/ 806665 h 1800225"/>
                <a:gd name="connsiteX343" fmla="*/ 1639729 w 1800225"/>
                <a:gd name="connsiteY343" fmla="*/ 771422 h 1800225"/>
                <a:gd name="connsiteX344" fmla="*/ 1615916 w 1800225"/>
                <a:gd name="connsiteY344" fmla="*/ 768565 h 1800225"/>
                <a:gd name="connsiteX345" fmla="*/ 1604486 w 1800225"/>
                <a:gd name="connsiteY345" fmla="*/ 778090 h 1800225"/>
                <a:gd name="connsiteX346" fmla="*/ 1537811 w 1800225"/>
                <a:gd name="connsiteY346" fmla="*/ 877150 h 1800225"/>
                <a:gd name="connsiteX347" fmla="*/ 1462564 w 1800225"/>
                <a:gd name="connsiteY347" fmla="*/ 877150 h 1800225"/>
                <a:gd name="connsiteX348" fmla="*/ 1462564 w 1800225"/>
                <a:gd name="connsiteY348" fmla="*/ 877150 h 1800225"/>
                <a:gd name="connsiteX349" fmla="*/ 1545431 w 1800225"/>
                <a:gd name="connsiteY349" fmla="*/ 754277 h 1800225"/>
                <a:gd name="connsiteX350" fmla="*/ 1538764 w 1800225"/>
                <a:gd name="connsiteY350" fmla="*/ 719035 h 1800225"/>
                <a:gd name="connsiteX351" fmla="*/ 1514951 w 1800225"/>
                <a:gd name="connsiteY351" fmla="*/ 716177 h 1800225"/>
                <a:gd name="connsiteX352" fmla="*/ 1503521 w 1800225"/>
                <a:gd name="connsiteY352" fmla="*/ 725702 h 1800225"/>
                <a:gd name="connsiteX353" fmla="*/ 1401604 w 1800225"/>
                <a:gd name="connsiteY353" fmla="*/ 878102 h 1800225"/>
                <a:gd name="connsiteX354" fmla="*/ 1322546 w 1800225"/>
                <a:gd name="connsiteY354" fmla="*/ 877150 h 1800225"/>
                <a:gd name="connsiteX355" fmla="*/ 1443514 w 1800225"/>
                <a:gd name="connsiteY355" fmla="*/ 706652 h 1800225"/>
                <a:gd name="connsiteX356" fmla="*/ 1445419 w 1800225"/>
                <a:gd name="connsiteY356" fmla="*/ 682840 h 1800225"/>
                <a:gd name="connsiteX357" fmla="*/ 1427321 w 1800225"/>
                <a:gd name="connsiteY357" fmla="*/ 667600 h 1800225"/>
                <a:gd name="connsiteX358" fmla="*/ 1221581 w 1800225"/>
                <a:gd name="connsiteY358" fmla="*/ 628547 h 1800225"/>
                <a:gd name="connsiteX359" fmla="*/ 1278731 w 1800225"/>
                <a:gd name="connsiteY359" fmla="*/ 573302 h 1800225"/>
                <a:gd name="connsiteX360" fmla="*/ 1456849 w 1800225"/>
                <a:gd name="connsiteY360" fmla="*/ 611402 h 1800225"/>
                <a:gd name="connsiteX361" fmla="*/ 1487329 w 1800225"/>
                <a:gd name="connsiteY361" fmla="*/ 592352 h 1800225"/>
                <a:gd name="connsiteX362" fmla="*/ 1468279 w 1800225"/>
                <a:gd name="connsiteY362" fmla="*/ 561872 h 1800225"/>
                <a:gd name="connsiteX363" fmla="*/ 1321594 w 1800225"/>
                <a:gd name="connsiteY363" fmla="*/ 532345 h 1800225"/>
                <a:gd name="connsiteX364" fmla="*/ 1374934 w 1800225"/>
                <a:gd name="connsiteY364" fmla="*/ 479957 h 1800225"/>
                <a:gd name="connsiteX365" fmla="*/ 1492091 w 1800225"/>
                <a:gd name="connsiteY365" fmla="*/ 504722 h 1800225"/>
                <a:gd name="connsiteX366" fmla="*/ 1522571 w 1800225"/>
                <a:gd name="connsiteY366" fmla="*/ 485672 h 1800225"/>
                <a:gd name="connsiteX367" fmla="*/ 1503521 w 1800225"/>
                <a:gd name="connsiteY367" fmla="*/ 455192 h 1800225"/>
                <a:gd name="connsiteX368" fmla="*/ 1420654 w 1800225"/>
                <a:gd name="connsiteY368" fmla="*/ 437095 h 1800225"/>
                <a:gd name="connsiteX369" fmla="*/ 1420654 w 1800225"/>
                <a:gd name="connsiteY369" fmla="*/ 437095 h 1800225"/>
                <a:gd name="connsiteX370" fmla="*/ 1466374 w 1800225"/>
                <a:gd name="connsiteY370" fmla="*/ 393280 h 1800225"/>
                <a:gd name="connsiteX371" fmla="*/ 1528286 w 1800225"/>
                <a:gd name="connsiteY371" fmla="*/ 406615 h 1800225"/>
                <a:gd name="connsiteX372" fmla="*/ 1558766 w 1800225"/>
                <a:gd name="connsiteY372" fmla="*/ 387565 h 1800225"/>
                <a:gd name="connsiteX373" fmla="*/ 1539716 w 1800225"/>
                <a:gd name="connsiteY373" fmla="*/ 357085 h 1800225"/>
                <a:gd name="connsiteX374" fmla="*/ 1510189 w 1800225"/>
                <a:gd name="connsiteY374" fmla="*/ 350417 h 1800225"/>
                <a:gd name="connsiteX375" fmla="*/ 1510189 w 1800225"/>
                <a:gd name="connsiteY375" fmla="*/ 350417 h 1800225"/>
                <a:gd name="connsiteX376" fmla="*/ 1546384 w 1800225"/>
                <a:gd name="connsiteY376" fmla="*/ 316127 h 1800225"/>
                <a:gd name="connsiteX377" fmla="*/ 1546384 w 1800225"/>
                <a:gd name="connsiteY377" fmla="*/ 280885 h 1800225"/>
                <a:gd name="connsiteX378" fmla="*/ 1257776 w 1800225"/>
                <a:gd name="connsiteY378" fmla="*/ 879055 h 1800225"/>
                <a:gd name="connsiteX379" fmla="*/ 1110139 w 1800225"/>
                <a:gd name="connsiteY379" fmla="*/ 880007 h 1800225"/>
                <a:gd name="connsiteX380" fmla="*/ 1109186 w 1800225"/>
                <a:gd name="connsiteY380" fmla="*/ 828572 h 1800225"/>
                <a:gd name="connsiteX381" fmla="*/ 1102519 w 1800225"/>
                <a:gd name="connsiteY381" fmla="*/ 811427 h 1800225"/>
                <a:gd name="connsiteX382" fmla="*/ 1068229 w 1800225"/>
                <a:gd name="connsiteY382" fmla="*/ 774280 h 1800225"/>
                <a:gd name="connsiteX383" fmla="*/ 1175861 w 1800225"/>
                <a:gd name="connsiteY383" fmla="*/ 671410 h 1800225"/>
                <a:gd name="connsiteX384" fmla="*/ 1376839 w 1800225"/>
                <a:gd name="connsiteY384" fmla="*/ 710462 h 1800225"/>
                <a:gd name="connsiteX385" fmla="*/ 1258729 w 1800225"/>
                <a:gd name="connsiteY385" fmla="*/ 877150 h 1800225"/>
                <a:gd name="connsiteX386" fmla="*/ 1257776 w 1800225"/>
                <a:gd name="connsiteY386" fmla="*/ 879055 h 1800225"/>
                <a:gd name="connsiteX387" fmla="*/ 1059656 w 1800225"/>
                <a:gd name="connsiteY387" fmla="*/ 879055 h 1800225"/>
                <a:gd name="connsiteX388" fmla="*/ 1060609 w 1800225"/>
                <a:gd name="connsiteY388" fmla="*/ 929537 h 1800225"/>
                <a:gd name="connsiteX389" fmla="*/ 1061561 w 1800225"/>
                <a:gd name="connsiteY389" fmla="*/ 969542 h 1800225"/>
                <a:gd name="connsiteX390" fmla="*/ 1032034 w 1800225"/>
                <a:gd name="connsiteY390" fmla="*/ 997165 h 1800225"/>
                <a:gd name="connsiteX391" fmla="*/ 994886 w 1800225"/>
                <a:gd name="connsiteY391" fmla="*/ 1031455 h 1800225"/>
                <a:gd name="connsiteX392" fmla="*/ 965359 w 1800225"/>
                <a:gd name="connsiteY392" fmla="*/ 1059077 h 1800225"/>
                <a:gd name="connsiteX393" fmla="*/ 925354 w 1800225"/>
                <a:gd name="connsiteY393" fmla="*/ 1060030 h 1800225"/>
                <a:gd name="connsiteX394" fmla="*/ 874871 w 1800225"/>
                <a:gd name="connsiteY394" fmla="*/ 1060982 h 1800225"/>
                <a:gd name="connsiteX395" fmla="*/ 834866 w 1800225"/>
                <a:gd name="connsiteY395" fmla="*/ 1061935 h 1800225"/>
                <a:gd name="connsiteX396" fmla="*/ 807244 w 1800225"/>
                <a:gd name="connsiteY396" fmla="*/ 1032407 h 1800225"/>
                <a:gd name="connsiteX397" fmla="*/ 772954 w 1800225"/>
                <a:gd name="connsiteY397" fmla="*/ 995260 h 1800225"/>
                <a:gd name="connsiteX398" fmla="*/ 745331 w 1800225"/>
                <a:gd name="connsiteY398" fmla="*/ 965732 h 1800225"/>
                <a:gd name="connsiteX399" fmla="*/ 744379 w 1800225"/>
                <a:gd name="connsiteY399" fmla="*/ 925727 h 1800225"/>
                <a:gd name="connsiteX400" fmla="*/ 743426 w 1800225"/>
                <a:gd name="connsiteY400" fmla="*/ 875245 h 1800225"/>
                <a:gd name="connsiteX401" fmla="*/ 742474 w 1800225"/>
                <a:gd name="connsiteY401" fmla="*/ 835240 h 1800225"/>
                <a:gd name="connsiteX402" fmla="*/ 772001 w 1800225"/>
                <a:gd name="connsiteY402" fmla="*/ 807617 h 1800225"/>
                <a:gd name="connsiteX403" fmla="*/ 809149 w 1800225"/>
                <a:gd name="connsiteY403" fmla="*/ 773327 h 1800225"/>
                <a:gd name="connsiteX404" fmla="*/ 838676 w 1800225"/>
                <a:gd name="connsiteY404" fmla="*/ 745705 h 1800225"/>
                <a:gd name="connsiteX405" fmla="*/ 878681 w 1800225"/>
                <a:gd name="connsiteY405" fmla="*/ 744752 h 1800225"/>
                <a:gd name="connsiteX406" fmla="*/ 929164 w 1800225"/>
                <a:gd name="connsiteY406" fmla="*/ 743800 h 1800225"/>
                <a:gd name="connsiteX407" fmla="*/ 969169 w 1800225"/>
                <a:gd name="connsiteY407" fmla="*/ 742847 h 1800225"/>
                <a:gd name="connsiteX408" fmla="*/ 996791 w 1800225"/>
                <a:gd name="connsiteY408" fmla="*/ 772375 h 1800225"/>
                <a:gd name="connsiteX409" fmla="*/ 1031081 w 1800225"/>
                <a:gd name="connsiteY409" fmla="*/ 809522 h 1800225"/>
                <a:gd name="connsiteX410" fmla="*/ 1057751 w 1800225"/>
                <a:gd name="connsiteY410" fmla="*/ 839050 h 1800225"/>
                <a:gd name="connsiteX411" fmla="*/ 1059656 w 1800225"/>
                <a:gd name="connsiteY411" fmla="*/ 879055 h 1800225"/>
                <a:gd name="connsiteX412" fmla="*/ 1178719 w 1800225"/>
                <a:gd name="connsiteY412" fmla="*/ 1150517 h 1800225"/>
                <a:gd name="connsiteX413" fmla="*/ 1066324 w 1800225"/>
                <a:gd name="connsiteY413" fmla="*/ 1033360 h 1800225"/>
                <a:gd name="connsiteX414" fmla="*/ 1103471 w 1800225"/>
                <a:gd name="connsiteY414" fmla="*/ 999070 h 1800225"/>
                <a:gd name="connsiteX415" fmla="*/ 1112044 w 1800225"/>
                <a:gd name="connsiteY415" fmla="*/ 980020 h 1800225"/>
                <a:gd name="connsiteX416" fmla="*/ 1111091 w 1800225"/>
                <a:gd name="connsiteY416" fmla="*/ 929537 h 1800225"/>
                <a:gd name="connsiteX417" fmla="*/ 1272064 w 1800225"/>
                <a:gd name="connsiteY417" fmla="*/ 928585 h 1800225"/>
                <a:gd name="connsiteX418" fmla="*/ 1384459 w 1800225"/>
                <a:gd name="connsiteY418" fmla="*/ 1107655 h 1800225"/>
                <a:gd name="connsiteX419" fmla="*/ 1178719 w 1800225"/>
                <a:gd name="connsiteY419" fmla="*/ 1150517 h 1800225"/>
                <a:gd name="connsiteX420" fmla="*/ 926306 w 1800225"/>
                <a:gd name="connsiteY420" fmla="*/ 1260055 h 1800225"/>
                <a:gd name="connsiteX421" fmla="*/ 925354 w 1800225"/>
                <a:gd name="connsiteY421" fmla="*/ 1111465 h 1800225"/>
                <a:gd name="connsiteX422" fmla="*/ 975836 w 1800225"/>
                <a:gd name="connsiteY422" fmla="*/ 1110513 h 1800225"/>
                <a:gd name="connsiteX423" fmla="*/ 992981 w 1800225"/>
                <a:gd name="connsiteY423" fmla="*/ 1103845 h 1800225"/>
                <a:gd name="connsiteX424" fmla="*/ 1030129 w 1800225"/>
                <a:gd name="connsiteY424" fmla="*/ 1069555 h 1800225"/>
                <a:gd name="connsiteX425" fmla="*/ 1132999 w 1800225"/>
                <a:gd name="connsiteY425" fmla="*/ 1177188 h 1800225"/>
                <a:gd name="connsiteX426" fmla="*/ 1093946 w 1800225"/>
                <a:gd name="connsiteY426" fmla="*/ 1378165 h 1800225"/>
                <a:gd name="connsiteX427" fmla="*/ 926306 w 1800225"/>
                <a:gd name="connsiteY427" fmla="*/ 1260055 h 1800225"/>
                <a:gd name="connsiteX428" fmla="*/ 652939 w 1800225"/>
                <a:gd name="connsiteY428" fmla="*/ 1179092 h 1800225"/>
                <a:gd name="connsiteX429" fmla="*/ 769144 w 1800225"/>
                <a:gd name="connsiteY429" fmla="*/ 1067650 h 1800225"/>
                <a:gd name="connsiteX430" fmla="*/ 803434 w 1800225"/>
                <a:gd name="connsiteY430" fmla="*/ 1104797 h 1800225"/>
                <a:gd name="connsiteX431" fmla="*/ 822484 w 1800225"/>
                <a:gd name="connsiteY431" fmla="*/ 1112417 h 1800225"/>
                <a:gd name="connsiteX432" fmla="*/ 872966 w 1800225"/>
                <a:gd name="connsiteY432" fmla="*/ 1111465 h 1800225"/>
                <a:gd name="connsiteX433" fmla="*/ 872966 w 1800225"/>
                <a:gd name="connsiteY433" fmla="*/ 1274342 h 1800225"/>
                <a:gd name="connsiteX434" fmla="*/ 694849 w 1800225"/>
                <a:gd name="connsiteY434" fmla="*/ 1386738 h 1800225"/>
                <a:gd name="connsiteX435" fmla="*/ 652939 w 1800225"/>
                <a:gd name="connsiteY435" fmla="*/ 1179092 h 1800225"/>
                <a:gd name="connsiteX436" fmla="*/ 545306 w 1800225"/>
                <a:gd name="connsiteY436" fmla="*/ 926680 h 1800225"/>
                <a:gd name="connsiteX437" fmla="*/ 693896 w 1800225"/>
                <a:gd name="connsiteY437" fmla="*/ 925727 h 1800225"/>
                <a:gd name="connsiteX438" fmla="*/ 694849 w 1800225"/>
                <a:gd name="connsiteY438" fmla="*/ 976210 h 1800225"/>
                <a:gd name="connsiteX439" fmla="*/ 701516 w 1800225"/>
                <a:gd name="connsiteY439" fmla="*/ 993355 h 1800225"/>
                <a:gd name="connsiteX440" fmla="*/ 735806 w 1800225"/>
                <a:gd name="connsiteY440" fmla="*/ 1030502 h 1800225"/>
                <a:gd name="connsiteX441" fmla="*/ 628174 w 1800225"/>
                <a:gd name="connsiteY441" fmla="*/ 1132420 h 1800225"/>
                <a:gd name="connsiteX442" fmla="*/ 627221 w 1800225"/>
                <a:gd name="connsiteY442" fmla="*/ 1131467 h 1800225"/>
                <a:gd name="connsiteX443" fmla="*/ 426244 w 1800225"/>
                <a:gd name="connsiteY443" fmla="*/ 1093367 h 1800225"/>
                <a:gd name="connsiteX444" fmla="*/ 545306 w 1800225"/>
                <a:gd name="connsiteY444" fmla="*/ 926680 h 1800225"/>
                <a:gd name="connsiteX445" fmla="*/ 626269 w 1800225"/>
                <a:gd name="connsiteY445" fmla="*/ 654265 h 1800225"/>
                <a:gd name="connsiteX446" fmla="*/ 737711 w 1800225"/>
                <a:gd name="connsiteY446" fmla="*/ 770470 h 1800225"/>
                <a:gd name="connsiteX447" fmla="*/ 700564 w 1800225"/>
                <a:gd name="connsiteY447" fmla="*/ 804760 h 1800225"/>
                <a:gd name="connsiteX448" fmla="*/ 691991 w 1800225"/>
                <a:gd name="connsiteY448" fmla="*/ 823810 h 1800225"/>
                <a:gd name="connsiteX449" fmla="*/ 692944 w 1800225"/>
                <a:gd name="connsiteY449" fmla="*/ 875245 h 1800225"/>
                <a:gd name="connsiteX450" fmla="*/ 531971 w 1800225"/>
                <a:gd name="connsiteY450" fmla="*/ 876197 h 1800225"/>
                <a:gd name="connsiteX451" fmla="*/ 418624 w 1800225"/>
                <a:gd name="connsiteY451" fmla="*/ 697127 h 1800225"/>
                <a:gd name="connsiteX452" fmla="*/ 626269 w 1800225"/>
                <a:gd name="connsiteY452" fmla="*/ 654265 h 1800225"/>
                <a:gd name="connsiteX453" fmla="*/ 877729 w 1800225"/>
                <a:gd name="connsiteY453" fmla="*/ 545680 h 1800225"/>
                <a:gd name="connsiteX454" fmla="*/ 877729 w 1800225"/>
                <a:gd name="connsiteY454" fmla="*/ 695222 h 1800225"/>
                <a:gd name="connsiteX455" fmla="*/ 827246 w 1800225"/>
                <a:gd name="connsiteY455" fmla="*/ 696175 h 1800225"/>
                <a:gd name="connsiteX456" fmla="*/ 817721 w 1800225"/>
                <a:gd name="connsiteY456" fmla="*/ 698080 h 1800225"/>
                <a:gd name="connsiteX457" fmla="*/ 810101 w 1800225"/>
                <a:gd name="connsiteY457" fmla="*/ 703795 h 1800225"/>
                <a:gd name="connsiteX458" fmla="*/ 773906 w 1800225"/>
                <a:gd name="connsiteY458" fmla="*/ 738085 h 1800225"/>
                <a:gd name="connsiteX459" fmla="*/ 671989 w 1800225"/>
                <a:gd name="connsiteY459" fmla="*/ 629500 h 1800225"/>
                <a:gd name="connsiteX460" fmla="*/ 711041 w 1800225"/>
                <a:gd name="connsiteY460" fmla="*/ 428522 h 1800225"/>
                <a:gd name="connsiteX461" fmla="*/ 877729 w 1800225"/>
                <a:gd name="connsiteY461" fmla="*/ 545680 h 1800225"/>
                <a:gd name="connsiteX462" fmla="*/ 1151096 w 1800225"/>
                <a:gd name="connsiteY462" fmla="*/ 626642 h 1800225"/>
                <a:gd name="connsiteX463" fmla="*/ 1034891 w 1800225"/>
                <a:gd name="connsiteY463" fmla="*/ 738085 h 1800225"/>
                <a:gd name="connsiteX464" fmla="*/ 999649 w 1800225"/>
                <a:gd name="connsiteY464" fmla="*/ 699985 h 1800225"/>
                <a:gd name="connsiteX465" fmla="*/ 980599 w 1800225"/>
                <a:gd name="connsiteY465" fmla="*/ 692365 h 1800225"/>
                <a:gd name="connsiteX466" fmla="*/ 929164 w 1800225"/>
                <a:gd name="connsiteY466" fmla="*/ 693317 h 1800225"/>
                <a:gd name="connsiteX467" fmla="*/ 928211 w 1800225"/>
                <a:gd name="connsiteY467" fmla="*/ 532345 h 1800225"/>
                <a:gd name="connsiteX468" fmla="*/ 1107281 w 1800225"/>
                <a:gd name="connsiteY468" fmla="*/ 419950 h 1800225"/>
                <a:gd name="connsiteX469" fmla="*/ 1151096 w 1800225"/>
                <a:gd name="connsiteY469" fmla="*/ 626642 h 180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</a:cxnLst>
              <a:rect l="l" t="t" r="r" b="b"/>
              <a:pathLst>
                <a:path w="1800225" h="1800225">
                  <a:moveTo>
                    <a:pt x="1546384" y="280885"/>
                  </a:moveTo>
                  <a:cubicBezTo>
                    <a:pt x="1536859" y="270407"/>
                    <a:pt x="1520666" y="270407"/>
                    <a:pt x="1511141" y="279932"/>
                  </a:cubicBezTo>
                  <a:lnTo>
                    <a:pt x="1467326" y="320890"/>
                  </a:lnTo>
                  <a:lnTo>
                    <a:pt x="1457801" y="275170"/>
                  </a:lnTo>
                  <a:cubicBezTo>
                    <a:pt x="1454944" y="261835"/>
                    <a:pt x="1441609" y="253262"/>
                    <a:pt x="1427321" y="256120"/>
                  </a:cubicBezTo>
                  <a:cubicBezTo>
                    <a:pt x="1426369" y="256120"/>
                    <a:pt x="1424464" y="257072"/>
                    <a:pt x="1423511" y="257072"/>
                  </a:cubicBezTo>
                  <a:cubicBezTo>
                    <a:pt x="1412081" y="261835"/>
                    <a:pt x="1405414" y="273265"/>
                    <a:pt x="1408271" y="285647"/>
                  </a:cubicBezTo>
                  <a:lnTo>
                    <a:pt x="1424464" y="361847"/>
                  </a:lnTo>
                  <a:lnTo>
                    <a:pt x="1424464" y="361847"/>
                  </a:lnTo>
                  <a:lnTo>
                    <a:pt x="1378744" y="405662"/>
                  </a:lnTo>
                  <a:lnTo>
                    <a:pt x="1378744" y="405662"/>
                  </a:lnTo>
                  <a:lnTo>
                    <a:pt x="1356836" y="306602"/>
                  </a:lnTo>
                  <a:cubicBezTo>
                    <a:pt x="1353979" y="293267"/>
                    <a:pt x="1340644" y="284695"/>
                    <a:pt x="1326356" y="287552"/>
                  </a:cubicBezTo>
                  <a:cubicBezTo>
                    <a:pt x="1324451" y="287552"/>
                    <a:pt x="1323499" y="288505"/>
                    <a:pt x="1322546" y="288505"/>
                  </a:cubicBezTo>
                  <a:cubicBezTo>
                    <a:pt x="1311116" y="293267"/>
                    <a:pt x="1304449" y="304697"/>
                    <a:pt x="1307306" y="317080"/>
                  </a:cubicBezTo>
                  <a:lnTo>
                    <a:pt x="1335881" y="445667"/>
                  </a:lnTo>
                  <a:lnTo>
                    <a:pt x="1335881" y="445667"/>
                  </a:lnTo>
                  <a:lnTo>
                    <a:pt x="1291114" y="488530"/>
                  </a:lnTo>
                  <a:lnTo>
                    <a:pt x="1291114" y="488530"/>
                  </a:lnTo>
                  <a:lnTo>
                    <a:pt x="1261586" y="353275"/>
                  </a:lnTo>
                  <a:cubicBezTo>
                    <a:pt x="1258729" y="339940"/>
                    <a:pt x="1245394" y="331367"/>
                    <a:pt x="1231106" y="334225"/>
                  </a:cubicBezTo>
                  <a:cubicBezTo>
                    <a:pt x="1230154" y="334225"/>
                    <a:pt x="1228249" y="335177"/>
                    <a:pt x="1227296" y="335177"/>
                  </a:cubicBezTo>
                  <a:cubicBezTo>
                    <a:pt x="1215866" y="339940"/>
                    <a:pt x="1209199" y="352322"/>
                    <a:pt x="1212056" y="363752"/>
                  </a:cubicBezTo>
                  <a:lnTo>
                    <a:pt x="1248251" y="529487"/>
                  </a:lnTo>
                  <a:lnTo>
                    <a:pt x="1193959" y="581875"/>
                  </a:lnTo>
                  <a:lnTo>
                    <a:pt x="1150144" y="372325"/>
                  </a:lnTo>
                  <a:cubicBezTo>
                    <a:pt x="1148239" y="364705"/>
                    <a:pt x="1142524" y="358037"/>
                    <a:pt x="1134904" y="354227"/>
                  </a:cubicBezTo>
                  <a:cubicBezTo>
                    <a:pt x="1127284" y="351370"/>
                    <a:pt x="1118711" y="352322"/>
                    <a:pt x="1111091" y="356132"/>
                  </a:cubicBezTo>
                  <a:lnTo>
                    <a:pt x="929164" y="471385"/>
                  </a:lnTo>
                  <a:lnTo>
                    <a:pt x="928211" y="396137"/>
                  </a:lnTo>
                  <a:lnTo>
                    <a:pt x="1072991" y="307555"/>
                  </a:lnTo>
                  <a:cubicBezTo>
                    <a:pt x="1084421" y="299935"/>
                    <a:pt x="1088231" y="284695"/>
                    <a:pt x="1081564" y="272312"/>
                  </a:cubicBezTo>
                  <a:cubicBezTo>
                    <a:pt x="1073944" y="259930"/>
                    <a:pt x="1058704" y="256120"/>
                    <a:pt x="1046321" y="263740"/>
                  </a:cubicBezTo>
                  <a:lnTo>
                    <a:pt x="929164" y="336130"/>
                  </a:lnTo>
                  <a:lnTo>
                    <a:pt x="929164" y="273265"/>
                  </a:lnTo>
                  <a:lnTo>
                    <a:pt x="1041559" y="203732"/>
                  </a:lnTo>
                  <a:cubicBezTo>
                    <a:pt x="1053941" y="196112"/>
                    <a:pt x="1056799" y="180872"/>
                    <a:pt x="1050131" y="168490"/>
                  </a:cubicBezTo>
                  <a:cubicBezTo>
                    <a:pt x="1042511" y="156107"/>
                    <a:pt x="1027271" y="152297"/>
                    <a:pt x="1014889" y="159917"/>
                  </a:cubicBezTo>
                  <a:lnTo>
                    <a:pt x="929164" y="212305"/>
                  </a:lnTo>
                  <a:lnTo>
                    <a:pt x="929164" y="149440"/>
                  </a:lnTo>
                  <a:lnTo>
                    <a:pt x="929164" y="148487"/>
                  </a:lnTo>
                  <a:lnTo>
                    <a:pt x="994886" y="107530"/>
                  </a:lnTo>
                  <a:cubicBezTo>
                    <a:pt x="1006316" y="99910"/>
                    <a:pt x="1010126" y="84670"/>
                    <a:pt x="1003459" y="72287"/>
                  </a:cubicBezTo>
                  <a:cubicBezTo>
                    <a:pt x="995839" y="59905"/>
                    <a:pt x="980599" y="56095"/>
                    <a:pt x="968216" y="63715"/>
                  </a:cubicBezTo>
                  <a:lnTo>
                    <a:pt x="929164" y="88480"/>
                  </a:lnTo>
                  <a:lnTo>
                    <a:pt x="929164" y="88480"/>
                  </a:lnTo>
                  <a:lnTo>
                    <a:pt x="929164" y="28472"/>
                  </a:lnTo>
                  <a:cubicBezTo>
                    <a:pt x="927259" y="17995"/>
                    <a:pt x="915829" y="7517"/>
                    <a:pt x="902494" y="7517"/>
                  </a:cubicBezTo>
                  <a:cubicBezTo>
                    <a:pt x="898684" y="6565"/>
                    <a:pt x="895826" y="7517"/>
                    <a:pt x="892969" y="9422"/>
                  </a:cubicBezTo>
                  <a:cubicBezTo>
                    <a:pt x="883444" y="13232"/>
                    <a:pt x="877729" y="21805"/>
                    <a:pt x="876776" y="32282"/>
                  </a:cubicBezTo>
                  <a:lnTo>
                    <a:pt x="876776" y="82765"/>
                  </a:lnTo>
                  <a:lnTo>
                    <a:pt x="852011" y="66572"/>
                  </a:lnTo>
                  <a:cubicBezTo>
                    <a:pt x="845344" y="61810"/>
                    <a:pt x="836771" y="60857"/>
                    <a:pt x="829151" y="64667"/>
                  </a:cubicBezTo>
                  <a:cubicBezTo>
                    <a:pt x="824389" y="66572"/>
                    <a:pt x="820579" y="69430"/>
                    <a:pt x="817721" y="74192"/>
                  </a:cubicBezTo>
                  <a:cubicBezTo>
                    <a:pt x="810101" y="85622"/>
                    <a:pt x="812959" y="101815"/>
                    <a:pt x="824389" y="109435"/>
                  </a:cubicBezTo>
                  <a:lnTo>
                    <a:pt x="877729" y="144677"/>
                  </a:lnTo>
                  <a:lnTo>
                    <a:pt x="876776" y="206590"/>
                  </a:lnTo>
                  <a:lnTo>
                    <a:pt x="807244" y="159917"/>
                  </a:lnTo>
                  <a:cubicBezTo>
                    <a:pt x="799624" y="155155"/>
                    <a:pt x="791051" y="154202"/>
                    <a:pt x="783431" y="157060"/>
                  </a:cubicBezTo>
                  <a:cubicBezTo>
                    <a:pt x="778669" y="158965"/>
                    <a:pt x="774859" y="161822"/>
                    <a:pt x="772001" y="166585"/>
                  </a:cubicBezTo>
                  <a:cubicBezTo>
                    <a:pt x="764381" y="178015"/>
                    <a:pt x="767239" y="194207"/>
                    <a:pt x="778669" y="201827"/>
                  </a:cubicBezTo>
                  <a:lnTo>
                    <a:pt x="877729" y="268502"/>
                  </a:lnTo>
                  <a:lnTo>
                    <a:pt x="877729" y="268502"/>
                  </a:lnTo>
                  <a:lnTo>
                    <a:pt x="877729" y="343750"/>
                  </a:lnTo>
                  <a:lnTo>
                    <a:pt x="754856" y="260882"/>
                  </a:lnTo>
                  <a:cubicBezTo>
                    <a:pt x="747236" y="256120"/>
                    <a:pt x="738664" y="255167"/>
                    <a:pt x="731044" y="258025"/>
                  </a:cubicBezTo>
                  <a:cubicBezTo>
                    <a:pt x="726281" y="259930"/>
                    <a:pt x="722471" y="262787"/>
                    <a:pt x="719614" y="267550"/>
                  </a:cubicBezTo>
                  <a:cubicBezTo>
                    <a:pt x="711994" y="278980"/>
                    <a:pt x="714851" y="295172"/>
                    <a:pt x="726281" y="302792"/>
                  </a:cubicBezTo>
                  <a:lnTo>
                    <a:pt x="878681" y="404710"/>
                  </a:lnTo>
                  <a:lnTo>
                    <a:pt x="878681" y="483767"/>
                  </a:lnTo>
                  <a:lnTo>
                    <a:pt x="707231" y="363752"/>
                  </a:lnTo>
                  <a:cubicBezTo>
                    <a:pt x="699611" y="358990"/>
                    <a:pt x="691039" y="358037"/>
                    <a:pt x="683419" y="361847"/>
                  </a:cubicBezTo>
                  <a:cubicBezTo>
                    <a:pt x="675799" y="364705"/>
                    <a:pt x="670084" y="371372"/>
                    <a:pt x="668179" y="379945"/>
                  </a:cubicBezTo>
                  <a:lnTo>
                    <a:pt x="628174" y="584732"/>
                  </a:lnTo>
                  <a:lnTo>
                    <a:pt x="573881" y="528535"/>
                  </a:lnTo>
                  <a:lnTo>
                    <a:pt x="611981" y="349465"/>
                  </a:lnTo>
                  <a:cubicBezTo>
                    <a:pt x="614839" y="336130"/>
                    <a:pt x="606266" y="322795"/>
                    <a:pt x="592931" y="318985"/>
                  </a:cubicBezTo>
                  <a:cubicBezTo>
                    <a:pt x="588169" y="318032"/>
                    <a:pt x="582454" y="318032"/>
                    <a:pt x="577691" y="319937"/>
                  </a:cubicBezTo>
                  <a:cubicBezTo>
                    <a:pt x="570071" y="322795"/>
                    <a:pt x="564356" y="329462"/>
                    <a:pt x="562451" y="338035"/>
                  </a:cubicBezTo>
                  <a:lnTo>
                    <a:pt x="531019" y="482815"/>
                  </a:lnTo>
                  <a:lnTo>
                    <a:pt x="478631" y="428522"/>
                  </a:lnTo>
                  <a:lnTo>
                    <a:pt x="478631" y="428522"/>
                  </a:lnTo>
                  <a:lnTo>
                    <a:pt x="504349" y="312317"/>
                  </a:lnTo>
                  <a:cubicBezTo>
                    <a:pt x="507206" y="298982"/>
                    <a:pt x="498634" y="285647"/>
                    <a:pt x="485299" y="281837"/>
                  </a:cubicBezTo>
                  <a:cubicBezTo>
                    <a:pt x="480536" y="280885"/>
                    <a:pt x="474821" y="280885"/>
                    <a:pt x="470059" y="282790"/>
                  </a:cubicBezTo>
                  <a:cubicBezTo>
                    <a:pt x="462439" y="285647"/>
                    <a:pt x="456724" y="292315"/>
                    <a:pt x="454819" y="300887"/>
                  </a:cubicBezTo>
                  <a:lnTo>
                    <a:pt x="437674" y="382802"/>
                  </a:lnTo>
                  <a:lnTo>
                    <a:pt x="393859" y="338987"/>
                  </a:lnTo>
                  <a:lnTo>
                    <a:pt x="407194" y="276122"/>
                  </a:lnTo>
                  <a:cubicBezTo>
                    <a:pt x="410051" y="262787"/>
                    <a:pt x="401479" y="249452"/>
                    <a:pt x="388144" y="245642"/>
                  </a:cubicBezTo>
                  <a:cubicBezTo>
                    <a:pt x="383381" y="244690"/>
                    <a:pt x="377666" y="244690"/>
                    <a:pt x="373856" y="246595"/>
                  </a:cubicBezTo>
                  <a:cubicBezTo>
                    <a:pt x="366236" y="249452"/>
                    <a:pt x="360521" y="256120"/>
                    <a:pt x="358616" y="264692"/>
                  </a:cubicBezTo>
                  <a:lnTo>
                    <a:pt x="352901" y="293267"/>
                  </a:lnTo>
                  <a:lnTo>
                    <a:pt x="317659" y="257072"/>
                  </a:lnTo>
                  <a:cubicBezTo>
                    <a:pt x="310039" y="250405"/>
                    <a:pt x="299561" y="247547"/>
                    <a:pt x="290036" y="251357"/>
                  </a:cubicBezTo>
                  <a:cubicBezTo>
                    <a:pt x="287179" y="252310"/>
                    <a:pt x="284321" y="253262"/>
                    <a:pt x="282416" y="257072"/>
                  </a:cubicBezTo>
                  <a:cubicBezTo>
                    <a:pt x="271939" y="266597"/>
                    <a:pt x="271939" y="281837"/>
                    <a:pt x="281464" y="292315"/>
                  </a:cubicBezTo>
                  <a:lnTo>
                    <a:pt x="323374" y="335177"/>
                  </a:lnTo>
                  <a:lnTo>
                    <a:pt x="323374" y="335177"/>
                  </a:lnTo>
                  <a:lnTo>
                    <a:pt x="277654" y="344702"/>
                  </a:lnTo>
                  <a:cubicBezTo>
                    <a:pt x="264319" y="347560"/>
                    <a:pt x="255746" y="360895"/>
                    <a:pt x="258604" y="375182"/>
                  </a:cubicBezTo>
                  <a:cubicBezTo>
                    <a:pt x="261461" y="388517"/>
                    <a:pt x="274796" y="397090"/>
                    <a:pt x="289084" y="394232"/>
                  </a:cubicBezTo>
                  <a:lnTo>
                    <a:pt x="364331" y="378040"/>
                  </a:lnTo>
                  <a:lnTo>
                    <a:pt x="364331" y="378040"/>
                  </a:lnTo>
                  <a:lnTo>
                    <a:pt x="407194" y="423760"/>
                  </a:lnTo>
                  <a:lnTo>
                    <a:pt x="309086" y="444715"/>
                  </a:lnTo>
                  <a:cubicBezTo>
                    <a:pt x="295751" y="447572"/>
                    <a:pt x="287179" y="460907"/>
                    <a:pt x="290036" y="475195"/>
                  </a:cubicBezTo>
                  <a:cubicBezTo>
                    <a:pt x="292894" y="488530"/>
                    <a:pt x="306229" y="497102"/>
                    <a:pt x="320516" y="494245"/>
                  </a:cubicBezTo>
                  <a:lnTo>
                    <a:pt x="449104" y="465670"/>
                  </a:lnTo>
                  <a:lnTo>
                    <a:pt x="491966" y="511390"/>
                  </a:lnTo>
                  <a:lnTo>
                    <a:pt x="356711" y="540917"/>
                  </a:lnTo>
                  <a:cubicBezTo>
                    <a:pt x="343376" y="543775"/>
                    <a:pt x="334804" y="557110"/>
                    <a:pt x="337661" y="571397"/>
                  </a:cubicBezTo>
                  <a:cubicBezTo>
                    <a:pt x="340519" y="584732"/>
                    <a:pt x="353854" y="593305"/>
                    <a:pt x="368141" y="590447"/>
                  </a:cubicBezTo>
                  <a:lnTo>
                    <a:pt x="533876" y="554252"/>
                  </a:lnTo>
                  <a:lnTo>
                    <a:pt x="585311" y="608545"/>
                  </a:lnTo>
                  <a:lnTo>
                    <a:pt x="371951" y="655217"/>
                  </a:lnTo>
                  <a:cubicBezTo>
                    <a:pt x="364331" y="657122"/>
                    <a:pt x="357664" y="661885"/>
                    <a:pt x="353854" y="670457"/>
                  </a:cubicBezTo>
                  <a:cubicBezTo>
                    <a:pt x="351949" y="678077"/>
                    <a:pt x="351949" y="686650"/>
                    <a:pt x="355759" y="693317"/>
                  </a:cubicBezTo>
                  <a:lnTo>
                    <a:pt x="471964" y="876197"/>
                  </a:lnTo>
                  <a:lnTo>
                    <a:pt x="395764" y="876197"/>
                  </a:lnTo>
                  <a:lnTo>
                    <a:pt x="307181" y="731417"/>
                  </a:lnTo>
                  <a:cubicBezTo>
                    <a:pt x="300514" y="720940"/>
                    <a:pt x="287179" y="717130"/>
                    <a:pt x="275749" y="720940"/>
                  </a:cubicBezTo>
                  <a:cubicBezTo>
                    <a:pt x="274796" y="721892"/>
                    <a:pt x="272891" y="721892"/>
                    <a:pt x="271939" y="722845"/>
                  </a:cubicBezTo>
                  <a:cubicBezTo>
                    <a:pt x="260509" y="730465"/>
                    <a:pt x="256699" y="745705"/>
                    <a:pt x="263366" y="758087"/>
                  </a:cubicBezTo>
                  <a:lnTo>
                    <a:pt x="335756" y="876197"/>
                  </a:lnTo>
                  <a:lnTo>
                    <a:pt x="335756" y="876197"/>
                  </a:lnTo>
                  <a:lnTo>
                    <a:pt x="273844" y="876197"/>
                  </a:lnTo>
                  <a:lnTo>
                    <a:pt x="272891" y="876197"/>
                  </a:lnTo>
                  <a:lnTo>
                    <a:pt x="203359" y="763802"/>
                  </a:lnTo>
                  <a:cubicBezTo>
                    <a:pt x="196691" y="753325"/>
                    <a:pt x="183356" y="749515"/>
                    <a:pt x="171926" y="753325"/>
                  </a:cubicBezTo>
                  <a:cubicBezTo>
                    <a:pt x="170974" y="754277"/>
                    <a:pt x="169069" y="754277"/>
                    <a:pt x="168116" y="755230"/>
                  </a:cubicBezTo>
                  <a:cubicBezTo>
                    <a:pt x="155734" y="762850"/>
                    <a:pt x="152876" y="778090"/>
                    <a:pt x="159544" y="790472"/>
                  </a:cubicBezTo>
                  <a:lnTo>
                    <a:pt x="212884" y="876197"/>
                  </a:lnTo>
                  <a:lnTo>
                    <a:pt x="212884" y="876197"/>
                  </a:lnTo>
                  <a:lnTo>
                    <a:pt x="150019" y="876197"/>
                  </a:lnTo>
                  <a:lnTo>
                    <a:pt x="150019" y="876197"/>
                  </a:lnTo>
                  <a:lnTo>
                    <a:pt x="109061" y="809522"/>
                  </a:lnTo>
                  <a:cubicBezTo>
                    <a:pt x="102394" y="799045"/>
                    <a:pt x="89059" y="794282"/>
                    <a:pt x="77629" y="799045"/>
                  </a:cubicBezTo>
                  <a:cubicBezTo>
                    <a:pt x="76676" y="799997"/>
                    <a:pt x="74771" y="799997"/>
                    <a:pt x="73819" y="800950"/>
                  </a:cubicBezTo>
                  <a:cubicBezTo>
                    <a:pt x="62389" y="808570"/>
                    <a:pt x="58579" y="823810"/>
                    <a:pt x="65246" y="836192"/>
                  </a:cubicBezTo>
                  <a:lnTo>
                    <a:pt x="90011" y="876197"/>
                  </a:lnTo>
                  <a:lnTo>
                    <a:pt x="30004" y="877150"/>
                  </a:lnTo>
                  <a:cubicBezTo>
                    <a:pt x="18574" y="876197"/>
                    <a:pt x="7144" y="888580"/>
                    <a:pt x="7144" y="902867"/>
                  </a:cubicBezTo>
                  <a:cubicBezTo>
                    <a:pt x="7144" y="916202"/>
                    <a:pt x="18574" y="927632"/>
                    <a:pt x="32861" y="927632"/>
                  </a:cubicBezTo>
                  <a:lnTo>
                    <a:pt x="82391" y="926680"/>
                  </a:lnTo>
                  <a:lnTo>
                    <a:pt x="83344" y="926680"/>
                  </a:lnTo>
                  <a:lnTo>
                    <a:pt x="67151" y="951445"/>
                  </a:lnTo>
                  <a:cubicBezTo>
                    <a:pt x="59531" y="962875"/>
                    <a:pt x="62389" y="979067"/>
                    <a:pt x="73819" y="986687"/>
                  </a:cubicBezTo>
                  <a:cubicBezTo>
                    <a:pt x="85249" y="994307"/>
                    <a:pt x="101441" y="991450"/>
                    <a:pt x="109061" y="980020"/>
                  </a:cubicBezTo>
                  <a:lnTo>
                    <a:pt x="144304" y="927632"/>
                  </a:lnTo>
                  <a:lnTo>
                    <a:pt x="207169" y="927632"/>
                  </a:lnTo>
                  <a:lnTo>
                    <a:pt x="207169" y="927632"/>
                  </a:lnTo>
                  <a:lnTo>
                    <a:pt x="159544" y="998117"/>
                  </a:lnTo>
                  <a:cubicBezTo>
                    <a:pt x="151924" y="1009547"/>
                    <a:pt x="154781" y="1025740"/>
                    <a:pt x="166211" y="1033360"/>
                  </a:cubicBezTo>
                  <a:cubicBezTo>
                    <a:pt x="177641" y="1040980"/>
                    <a:pt x="193834" y="1038122"/>
                    <a:pt x="201454" y="1026692"/>
                  </a:cubicBezTo>
                  <a:lnTo>
                    <a:pt x="268129" y="927632"/>
                  </a:lnTo>
                  <a:lnTo>
                    <a:pt x="342424" y="928585"/>
                  </a:lnTo>
                  <a:lnTo>
                    <a:pt x="260509" y="1051457"/>
                  </a:lnTo>
                  <a:cubicBezTo>
                    <a:pt x="252889" y="1062888"/>
                    <a:pt x="255746" y="1079080"/>
                    <a:pt x="267176" y="1086700"/>
                  </a:cubicBezTo>
                  <a:cubicBezTo>
                    <a:pt x="278606" y="1094320"/>
                    <a:pt x="294799" y="1091463"/>
                    <a:pt x="302419" y="1080032"/>
                  </a:cubicBezTo>
                  <a:lnTo>
                    <a:pt x="404336" y="928585"/>
                  </a:lnTo>
                  <a:lnTo>
                    <a:pt x="483394" y="928585"/>
                  </a:lnTo>
                  <a:lnTo>
                    <a:pt x="362426" y="1100035"/>
                  </a:lnTo>
                  <a:cubicBezTo>
                    <a:pt x="357664" y="1106702"/>
                    <a:pt x="356711" y="1115275"/>
                    <a:pt x="360521" y="1123847"/>
                  </a:cubicBezTo>
                  <a:cubicBezTo>
                    <a:pt x="363379" y="1131467"/>
                    <a:pt x="370046" y="1137182"/>
                    <a:pt x="378619" y="1139088"/>
                  </a:cubicBezTo>
                  <a:lnTo>
                    <a:pt x="584359" y="1177188"/>
                  </a:lnTo>
                  <a:lnTo>
                    <a:pt x="528161" y="1232433"/>
                  </a:lnTo>
                  <a:lnTo>
                    <a:pt x="349091" y="1193380"/>
                  </a:lnTo>
                  <a:cubicBezTo>
                    <a:pt x="344329" y="1192427"/>
                    <a:pt x="338614" y="1192427"/>
                    <a:pt x="334804" y="1194332"/>
                  </a:cubicBezTo>
                  <a:cubicBezTo>
                    <a:pt x="327184" y="1197190"/>
                    <a:pt x="321469" y="1203857"/>
                    <a:pt x="319564" y="1212430"/>
                  </a:cubicBezTo>
                  <a:cubicBezTo>
                    <a:pt x="316706" y="1225765"/>
                    <a:pt x="325279" y="1240052"/>
                    <a:pt x="338614" y="1242910"/>
                  </a:cubicBezTo>
                  <a:lnTo>
                    <a:pt x="483394" y="1274342"/>
                  </a:lnTo>
                  <a:lnTo>
                    <a:pt x="483394" y="1274342"/>
                  </a:lnTo>
                  <a:lnTo>
                    <a:pt x="429101" y="1326730"/>
                  </a:lnTo>
                  <a:lnTo>
                    <a:pt x="311944" y="1300060"/>
                  </a:lnTo>
                  <a:cubicBezTo>
                    <a:pt x="307181" y="1299108"/>
                    <a:pt x="301466" y="1299108"/>
                    <a:pt x="296704" y="1301013"/>
                  </a:cubicBezTo>
                  <a:cubicBezTo>
                    <a:pt x="289084" y="1303870"/>
                    <a:pt x="283369" y="1310538"/>
                    <a:pt x="281464" y="1319110"/>
                  </a:cubicBezTo>
                  <a:cubicBezTo>
                    <a:pt x="278606" y="1332445"/>
                    <a:pt x="287179" y="1345780"/>
                    <a:pt x="300514" y="1349590"/>
                  </a:cubicBezTo>
                  <a:lnTo>
                    <a:pt x="383381" y="1367688"/>
                  </a:lnTo>
                  <a:lnTo>
                    <a:pt x="337661" y="1411502"/>
                  </a:lnTo>
                  <a:lnTo>
                    <a:pt x="337661" y="1411502"/>
                  </a:lnTo>
                  <a:lnTo>
                    <a:pt x="275749" y="1398167"/>
                  </a:lnTo>
                  <a:cubicBezTo>
                    <a:pt x="270986" y="1397215"/>
                    <a:pt x="265271" y="1397215"/>
                    <a:pt x="261461" y="1399120"/>
                  </a:cubicBezTo>
                  <a:cubicBezTo>
                    <a:pt x="253841" y="1401977"/>
                    <a:pt x="248126" y="1408645"/>
                    <a:pt x="246221" y="1417217"/>
                  </a:cubicBezTo>
                  <a:cubicBezTo>
                    <a:pt x="243364" y="1430552"/>
                    <a:pt x="251936" y="1443888"/>
                    <a:pt x="265271" y="1447697"/>
                  </a:cubicBezTo>
                  <a:lnTo>
                    <a:pt x="293846" y="1454365"/>
                  </a:lnTo>
                  <a:lnTo>
                    <a:pt x="293846" y="1454365"/>
                  </a:lnTo>
                  <a:lnTo>
                    <a:pt x="257651" y="1488655"/>
                  </a:lnTo>
                  <a:cubicBezTo>
                    <a:pt x="247174" y="1498180"/>
                    <a:pt x="247174" y="1514372"/>
                    <a:pt x="256699" y="1524850"/>
                  </a:cubicBezTo>
                  <a:cubicBezTo>
                    <a:pt x="266224" y="1535327"/>
                    <a:pt x="282416" y="1535327"/>
                    <a:pt x="291941" y="1525802"/>
                  </a:cubicBezTo>
                  <a:lnTo>
                    <a:pt x="334804" y="1483892"/>
                  </a:lnTo>
                  <a:lnTo>
                    <a:pt x="334804" y="1483892"/>
                  </a:lnTo>
                  <a:lnTo>
                    <a:pt x="344329" y="1528660"/>
                  </a:lnTo>
                  <a:cubicBezTo>
                    <a:pt x="347186" y="1541995"/>
                    <a:pt x="360521" y="1550567"/>
                    <a:pt x="374809" y="1547710"/>
                  </a:cubicBezTo>
                  <a:cubicBezTo>
                    <a:pt x="388144" y="1544852"/>
                    <a:pt x="396716" y="1531517"/>
                    <a:pt x="393859" y="1517230"/>
                  </a:cubicBezTo>
                  <a:lnTo>
                    <a:pt x="377666" y="1441983"/>
                  </a:lnTo>
                  <a:lnTo>
                    <a:pt x="377666" y="1441983"/>
                  </a:lnTo>
                  <a:lnTo>
                    <a:pt x="423386" y="1398167"/>
                  </a:lnTo>
                  <a:lnTo>
                    <a:pt x="444341" y="1496275"/>
                  </a:lnTo>
                  <a:cubicBezTo>
                    <a:pt x="447199" y="1509610"/>
                    <a:pt x="460534" y="1518183"/>
                    <a:pt x="474821" y="1515325"/>
                  </a:cubicBezTo>
                  <a:cubicBezTo>
                    <a:pt x="488156" y="1512467"/>
                    <a:pt x="496729" y="1499133"/>
                    <a:pt x="493871" y="1484845"/>
                  </a:cubicBezTo>
                  <a:lnTo>
                    <a:pt x="466249" y="1356258"/>
                  </a:lnTo>
                  <a:lnTo>
                    <a:pt x="467201" y="1356258"/>
                  </a:lnTo>
                  <a:lnTo>
                    <a:pt x="511969" y="1313395"/>
                  </a:lnTo>
                  <a:lnTo>
                    <a:pt x="541496" y="1447697"/>
                  </a:lnTo>
                  <a:cubicBezTo>
                    <a:pt x="544354" y="1461033"/>
                    <a:pt x="557689" y="1469605"/>
                    <a:pt x="571976" y="1466747"/>
                  </a:cubicBezTo>
                  <a:cubicBezTo>
                    <a:pt x="585311" y="1463890"/>
                    <a:pt x="593884" y="1450555"/>
                    <a:pt x="591026" y="1436267"/>
                  </a:cubicBezTo>
                  <a:lnTo>
                    <a:pt x="554831" y="1270533"/>
                  </a:lnTo>
                  <a:lnTo>
                    <a:pt x="608171" y="1218145"/>
                  </a:lnTo>
                  <a:lnTo>
                    <a:pt x="651986" y="1429600"/>
                  </a:lnTo>
                  <a:cubicBezTo>
                    <a:pt x="653891" y="1437220"/>
                    <a:pt x="659606" y="1443888"/>
                    <a:pt x="667226" y="1447697"/>
                  </a:cubicBezTo>
                  <a:cubicBezTo>
                    <a:pt x="674846" y="1450555"/>
                    <a:pt x="683419" y="1450555"/>
                    <a:pt x="691039" y="1445792"/>
                  </a:cubicBezTo>
                  <a:lnTo>
                    <a:pt x="874871" y="1330540"/>
                  </a:lnTo>
                  <a:lnTo>
                    <a:pt x="874871" y="1405788"/>
                  </a:lnTo>
                  <a:lnTo>
                    <a:pt x="874871" y="1405788"/>
                  </a:lnTo>
                  <a:lnTo>
                    <a:pt x="731044" y="1497227"/>
                  </a:lnTo>
                  <a:cubicBezTo>
                    <a:pt x="719614" y="1504847"/>
                    <a:pt x="715804" y="1520088"/>
                    <a:pt x="722471" y="1532470"/>
                  </a:cubicBezTo>
                  <a:cubicBezTo>
                    <a:pt x="730091" y="1543900"/>
                    <a:pt x="745331" y="1547710"/>
                    <a:pt x="757714" y="1541042"/>
                  </a:cubicBezTo>
                  <a:lnTo>
                    <a:pt x="875824" y="1468652"/>
                  </a:lnTo>
                  <a:lnTo>
                    <a:pt x="875824" y="1468652"/>
                  </a:lnTo>
                  <a:lnTo>
                    <a:pt x="875824" y="1530565"/>
                  </a:lnTo>
                  <a:lnTo>
                    <a:pt x="875824" y="1530565"/>
                  </a:lnTo>
                  <a:lnTo>
                    <a:pt x="763429" y="1600097"/>
                  </a:lnTo>
                  <a:cubicBezTo>
                    <a:pt x="751999" y="1607717"/>
                    <a:pt x="748189" y="1622958"/>
                    <a:pt x="754856" y="1635340"/>
                  </a:cubicBezTo>
                  <a:cubicBezTo>
                    <a:pt x="762476" y="1647722"/>
                    <a:pt x="777716" y="1650580"/>
                    <a:pt x="790099" y="1643913"/>
                  </a:cubicBezTo>
                  <a:lnTo>
                    <a:pt x="875824" y="1590572"/>
                  </a:lnTo>
                  <a:lnTo>
                    <a:pt x="875824" y="1591525"/>
                  </a:lnTo>
                  <a:lnTo>
                    <a:pt x="875824" y="1654390"/>
                  </a:lnTo>
                  <a:lnTo>
                    <a:pt x="809149" y="1695347"/>
                  </a:lnTo>
                  <a:cubicBezTo>
                    <a:pt x="796766" y="1702967"/>
                    <a:pt x="793909" y="1718208"/>
                    <a:pt x="800576" y="1730590"/>
                  </a:cubicBezTo>
                  <a:cubicBezTo>
                    <a:pt x="808196" y="1742020"/>
                    <a:pt x="823436" y="1745830"/>
                    <a:pt x="835819" y="1739163"/>
                  </a:cubicBezTo>
                  <a:lnTo>
                    <a:pt x="875824" y="1714397"/>
                  </a:lnTo>
                  <a:lnTo>
                    <a:pt x="875824" y="1715350"/>
                  </a:lnTo>
                  <a:lnTo>
                    <a:pt x="875824" y="1774405"/>
                  </a:lnTo>
                  <a:cubicBezTo>
                    <a:pt x="875824" y="1788692"/>
                    <a:pt x="887254" y="1800122"/>
                    <a:pt x="901541" y="1800122"/>
                  </a:cubicBezTo>
                  <a:cubicBezTo>
                    <a:pt x="914876" y="1800122"/>
                    <a:pt x="926306" y="1788692"/>
                    <a:pt x="926306" y="1774405"/>
                  </a:cubicBezTo>
                  <a:lnTo>
                    <a:pt x="927259" y="1723922"/>
                  </a:lnTo>
                  <a:lnTo>
                    <a:pt x="927259" y="1723922"/>
                  </a:lnTo>
                  <a:lnTo>
                    <a:pt x="951071" y="1740115"/>
                  </a:lnTo>
                  <a:cubicBezTo>
                    <a:pt x="962501" y="1747735"/>
                    <a:pt x="978694" y="1744877"/>
                    <a:pt x="986314" y="1733447"/>
                  </a:cubicBezTo>
                  <a:cubicBezTo>
                    <a:pt x="993934" y="1722017"/>
                    <a:pt x="991076" y="1705825"/>
                    <a:pt x="979646" y="1698205"/>
                  </a:cubicBezTo>
                  <a:lnTo>
                    <a:pt x="926306" y="1662010"/>
                  </a:lnTo>
                  <a:lnTo>
                    <a:pt x="926306" y="1662010"/>
                  </a:lnTo>
                  <a:lnTo>
                    <a:pt x="926306" y="1600097"/>
                  </a:lnTo>
                  <a:lnTo>
                    <a:pt x="926306" y="1599145"/>
                  </a:lnTo>
                  <a:lnTo>
                    <a:pt x="926306" y="1599145"/>
                  </a:lnTo>
                  <a:lnTo>
                    <a:pt x="997744" y="1646770"/>
                  </a:lnTo>
                  <a:cubicBezTo>
                    <a:pt x="1009174" y="1654390"/>
                    <a:pt x="1025366" y="1651533"/>
                    <a:pt x="1032986" y="1640102"/>
                  </a:cubicBezTo>
                  <a:cubicBezTo>
                    <a:pt x="1040606" y="1628672"/>
                    <a:pt x="1037749" y="1612480"/>
                    <a:pt x="1026319" y="1604860"/>
                  </a:cubicBezTo>
                  <a:lnTo>
                    <a:pt x="927259" y="1538185"/>
                  </a:lnTo>
                  <a:lnTo>
                    <a:pt x="927259" y="1538185"/>
                  </a:lnTo>
                  <a:lnTo>
                    <a:pt x="928211" y="1463890"/>
                  </a:lnTo>
                  <a:lnTo>
                    <a:pt x="928211" y="1463890"/>
                  </a:lnTo>
                  <a:lnTo>
                    <a:pt x="1051084" y="1546758"/>
                  </a:lnTo>
                  <a:cubicBezTo>
                    <a:pt x="1062514" y="1554377"/>
                    <a:pt x="1078706" y="1551520"/>
                    <a:pt x="1086326" y="1540090"/>
                  </a:cubicBezTo>
                  <a:cubicBezTo>
                    <a:pt x="1093946" y="1528660"/>
                    <a:pt x="1091089" y="1512467"/>
                    <a:pt x="1079659" y="1504847"/>
                  </a:cubicBezTo>
                  <a:lnTo>
                    <a:pt x="927259" y="1402930"/>
                  </a:lnTo>
                  <a:lnTo>
                    <a:pt x="927259" y="1402930"/>
                  </a:lnTo>
                  <a:lnTo>
                    <a:pt x="927259" y="1323872"/>
                  </a:lnTo>
                  <a:lnTo>
                    <a:pt x="1097756" y="1443888"/>
                  </a:lnTo>
                  <a:cubicBezTo>
                    <a:pt x="1111091" y="1453413"/>
                    <a:pt x="1133951" y="1444840"/>
                    <a:pt x="1136809" y="1427695"/>
                  </a:cubicBezTo>
                  <a:lnTo>
                    <a:pt x="1176814" y="1222907"/>
                  </a:lnTo>
                  <a:lnTo>
                    <a:pt x="1231106" y="1279105"/>
                  </a:lnTo>
                  <a:lnTo>
                    <a:pt x="1231106" y="1279105"/>
                  </a:lnTo>
                  <a:lnTo>
                    <a:pt x="1192054" y="1458175"/>
                  </a:lnTo>
                  <a:cubicBezTo>
                    <a:pt x="1189196" y="1471510"/>
                    <a:pt x="1197769" y="1484845"/>
                    <a:pt x="1211104" y="1487702"/>
                  </a:cubicBezTo>
                  <a:cubicBezTo>
                    <a:pt x="1224439" y="1490560"/>
                    <a:pt x="1237774" y="1481988"/>
                    <a:pt x="1241584" y="1468652"/>
                  </a:cubicBezTo>
                  <a:lnTo>
                    <a:pt x="1273016" y="1323872"/>
                  </a:lnTo>
                  <a:lnTo>
                    <a:pt x="1273016" y="1323872"/>
                  </a:lnTo>
                  <a:lnTo>
                    <a:pt x="1325404" y="1377213"/>
                  </a:lnTo>
                  <a:lnTo>
                    <a:pt x="1325404" y="1377213"/>
                  </a:lnTo>
                  <a:lnTo>
                    <a:pt x="1300639" y="1494370"/>
                  </a:lnTo>
                  <a:cubicBezTo>
                    <a:pt x="1297781" y="1507705"/>
                    <a:pt x="1306354" y="1521040"/>
                    <a:pt x="1319689" y="1524850"/>
                  </a:cubicBezTo>
                  <a:cubicBezTo>
                    <a:pt x="1333024" y="1527708"/>
                    <a:pt x="1346359" y="1519135"/>
                    <a:pt x="1350169" y="1505800"/>
                  </a:cubicBezTo>
                  <a:lnTo>
                    <a:pt x="1368266" y="1421980"/>
                  </a:lnTo>
                  <a:lnTo>
                    <a:pt x="1368266" y="1421980"/>
                  </a:lnTo>
                  <a:lnTo>
                    <a:pt x="1368266" y="1422933"/>
                  </a:lnTo>
                  <a:lnTo>
                    <a:pt x="1411129" y="1467700"/>
                  </a:lnTo>
                  <a:lnTo>
                    <a:pt x="1411129" y="1467700"/>
                  </a:lnTo>
                  <a:lnTo>
                    <a:pt x="1397794" y="1530565"/>
                  </a:lnTo>
                  <a:cubicBezTo>
                    <a:pt x="1394936" y="1543900"/>
                    <a:pt x="1403509" y="1558188"/>
                    <a:pt x="1416844" y="1561045"/>
                  </a:cubicBezTo>
                  <a:cubicBezTo>
                    <a:pt x="1430179" y="1563902"/>
                    <a:pt x="1443514" y="1555330"/>
                    <a:pt x="1447324" y="1541995"/>
                  </a:cubicBezTo>
                  <a:lnTo>
                    <a:pt x="1453039" y="1513420"/>
                  </a:lnTo>
                  <a:lnTo>
                    <a:pt x="1453039" y="1513420"/>
                  </a:lnTo>
                  <a:lnTo>
                    <a:pt x="1488281" y="1549615"/>
                  </a:lnTo>
                  <a:cubicBezTo>
                    <a:pt x="1497806" y="1560092"/>
                    <a:pt x="1513999" y="1560092"/>
                    <a:pt x="1523524" y="1550567"/>
                  </a:cubicBezTo>
                  <a:cubicBezTo>
                    <a:pt x="1534001" y="1541042"/>
                    <a:pt x="1534001" y="1524850"/>
                    <a:pt x="1524476" y="1514372"/>
                  </a:cubicBezTo>
                  <a:lnTo>
                    <a:pt x="1483519" y="1472463"/>
                  </a:lnTo>
                  <a:lnTo>
                    <a:pt x="1482566" y="1471510"/>
                  </a:lnTo>
                  <a:lnTo>
                    <a:pt x="1528286" y="1461985"/>
                  </a:lnTo>
                  <a:cubicBezTo>
                    <a:pt x="1541621" y="1459127"/>
                    <a:pt x="1550194" y="1445792"/>
                    <a:pt x="1547336" y="1431505"/>
                  </a:cubicBezTo>
                  <a:cubicBezTo>
                    <a:pt x="1544479" y="1418170"/>
                    <a:pt x="1531144" y="1409597"/>
                    <a:pt x="1516856" y="1412455"/>
                  </a:cubicBezTo>
                  <a:lnTo>
                    <a:pt x="1440656" y="1428647"/>
                  </a:lnTo>
                  <a:lnTo>
                    <a:pt x="1397794" y="1379117"/>
                  </a:lnTo>
                  <a:lnTo>
                    <a:pt x="1397794" y="1379117"/>
                  </a:lnTo>
                  <a:lnTo>
                    <a:pt x="1495901" y="1358163"/>
                  </a:lnTo>
                  <a:cubicBezTo>
                    <a:pt x="1509236" y="1355305"/>
                    <a:pt x="1517809" y="1341970"/>
                    <a:pt x="1514951" y="1327683"/>
                  </a:cubicBezTo>
                  <a:cubicBezTo>
                    <a:pt x="1512094" y="1314347"/>
                    <a:pt x="1498759" y="1305775"/>
                    <a:pt x="1484471" y="1308633"/>
                  </a:cubicBezTo>
                  <a:lnTo>
                    <a:pt x="1355884" y="1336255"/>
                  </a:lnTo>
                  <a:lnTo>
                    <a:pt x="1355884" y="1336255"/>
                  </a:lnTo>
                  <a:lnTo>
                    <a:pt x="1313021" y="1291488"/>
                  </a:lnTo>
                  <a:lnTo>
                    <a:pt x="1313021" y="1291488"/>
                  </a:lnTo>
                  <a:lnTo>
                    <a:pt x="1448276" y="1261960"/>
                  </a:lnTo>
                  <a:cubicBezTo>
                    <a:pt x="1461611" y="1259102"/>
                    <a:pt x="1470184" y="1245767"/>
                    <a:pt x="1467326" y="1231480"/>
                  </a:cubicBezTo>
                  <a:cubicBezTo>
                    <a:pt x="1464469" y="1218145"/>
                    <a:pt x="1451134" y="1209572"/>
                    <a:pt x="1436846" y="1212430"/>
                  </a:cubicBezTo>
                  <a:lnTo>
                    <a:pt x="1271111" y="1248625"/>
                  </a:lnTo>
                  <a:lnTo>
                    <a:pt x="1271111" y="1248625"/>
                  </a:lnTo>
                  <a:lnTo>
                    <a:pt x="1218724" y="1194332"/>
                  </a:lnTo>
                  <a:lnTo>
                    <a:pt x="1431131" y="1150517"/>
                  </a:lnTo>
                  <a:cubicBezTo>
                    <a:pt x="1439704" y="1149565"/>
                    <a:pt x="1445419" y="1143850"/>
                    <a:pt x="1449229" y="1135277"/>
                  </a:cubicBezTo>
                  <a:cubicBezTo>
                    <a:pt x="1451134" y="1127657"/>
                    <a:pt x="1451134" y="1119085"/>
                    <a:pt x="1447324" y="1112417"/>
                  </a:cubicBezTo>
                  <a:lnTo>
                    <a:pt x="1332071" y="929537"/>
                  </a:lnTo>
                  <a:lnTo>
                    <a:pt x="1407319" y="929537"/>
                  </a:lnTo>
                  <a:lnTo>
                    <a:pt x="1495901" y="1073365"/>
                  </a:lnTo>
                  <a:cubicBezTo>
                    <a:pt x="1503521" y="1084795"/>
                    <a:pt x="1519714" y="1088605"/>
                    <a:pt x="1531144" y="1081938"/>
                  </a:cubicBezTo>
                  <a:cubicBezTo>
                    <a:pt x="1542574" y="1074317"/>
                    <a:pt x="1546384" y="1059077"/>
                    <a:pt x="1539716" y="1046695"/>
                  </a:cubicBezTo>
                  <a:lnTo>
                    <a:pt x="1467326" y="929537"/>
                  </a:lnTo>
                  <a:lnTo>
                    <a:pt x="1529239" y="929537"/>
                  </a:lnTo>
                  <a:lnTo>
                    <a:pt x="1530191" y="929537"/>
                  </a:lnTo>
                  <a:lnTo>
                    <a:pt x="1598771" y="1040980"/>
                  </a:lnTo>
                  <a:cubicBezTo>
                    <a:pt x="1606391" y="1052410"/>
                    <a:pt x="1622584" y="1056220"/>
                    <a:pt x="1634014" y="1049552"/>
                  </a:cubicBezTo>
                  <a:cubicBezTo>
                    <a:pt x="1645444" y="1041932"/>
                    <a:pt x="1649254" y="1026692"/>
                    <a:pt x="1642586" y="1014310"/>
                  </a:cubicBezTo>
                  <a:lnTo>
                    <a:pt x="1590199" y="928585"/>
                  </a:lnTo>
                  <a:lnTo>
                    <a:pt x="1653064" y="928585"/>
                  </a:lnTo>
                  <a:lnTo>
                    <a:pt x="1653064" y="928585"/>
                  </a:lnTo>
                  <a:lnTo>
                    <a:pt x="1694021" y="994307"/>
                  </a:lnTo>
                  <a:cubicBezTo>
                    <a:pt x="1701641" y="1005737"/>
                    <a:pt x="1717834" y="1009547"/>
                    <a:pt x="1729264" y="1002880"/>
                  </a:cubicBezTo>
                  <a:cubicBezTo>
                    <a:pt x="1740694" y="995260"/>
                    <a:pt x="1744504" y="980020"/>
                    <a:pt x="1737836" y="967637"/>
                  </a:cubicBezTo>
                  <a:lnTo>
                    <a:pt x="1714024" y="928585"/>
                  </a:lnTo>
                  <a:lnTo>
                    <a:pt x="1714024" y="928585"/>
                  </a:lnTo>
                  <a:lnTo>
                    <a:pt x="1774031" y="928585"/>
                  </a:lnTo>
                  <a:cubicBezTo>
                    <a:pt x="1787366" y="928585"/>
                    <a:pt x="1798796" y="917155"/>
                    <a:pt x="1798796" y="902867"/>
                  </a:cubicBezTo>
                  <a:cubicBezTo>
                    <a:pt x="1798796" y="888580"/>
                    <a:pt x="1787366" y="877150"/>
                    <a:pt x="1773079" y="877150"/>
                  </a:cubicBezTo>
                  <a:lnTo>
                    <a:pt x="1722596" y="878102"/>
                  </a:lnTo>
                  <a:lnTo>
                    <a:pt x="1722596" y="878102"/>
                  </a:lnTo>
                  <a:lnTo>
                    <a:pt x="1738789" y="853337"/>
                  </a:lnTo>
                  <a:cubicBezTo>
                    <a:pt x="1746409" y="841907"/>
                    <a:pt x="1743551" y="825715"/>
                    <a:pt x="1732121" y="818095"/>
                  </a:cubicBezTo>
                  <a:cubicBezTo>
                    <a:pt x="1724501" y="813332"/>
                    <a:pt x="1715929" y="812380"/>
                    <a:pt x="1708309" y="815237"/>
                  </a:cubicBezTo>
                  <a:cubicBezTo>
                    <a:pt x="1703546" y="817142"/>
                    <a:pt x="1699736" y="820000"/>
                    <a:pt x="1696879" y="824762"/>
                  </a:cubicBezTo>
                  <a:lnTo>
                    <a:pt x="1661636" y="877150"/>
                  </a:lnTo>
                  <a:lnTo>
                    <a:pt x="1661636" y="877150"/>
                  </a:lnTo>
                  <a:lnTo>
                    <a:pt x="1598771" y="877150"/>
                  </a:lnTo>
                  <a:lnTo>
                    <a:pt x="1646396" y="806665"/>
                  </a:lnTo>
                  <a:cubicBezTo>
                    <a:pt x="1654016" y="795235"/>
                    <a:pt x="1651159" y="779042"/>
                    <a:pt x="1639729" y="771422"/>
                  </a:cubicBezTo>
                  <a:cubicBezTo>
                    <a:pt x="1632109" y="766660"/>
                    <a:pt x="1623536" y="765707"/>
                    <a:pt x="1615916" y="768565"/>
                  </a:cubicBezTo>
                  <a:cubicBezTo>
                    <a:pt x="1611154" y="770470"/>
                    <a:pt x="1607344" y="773327"/>
                    <a:pt x="1604486" y="778090"/>
                  </a:cubicBezTo>
                  <a:lnTo>
                    <a:pt x="1537811" y="877150"/>
                  </a:lnTo>
                  <a:lnTo>
                    <a:pt x="1462564" y="877150"/>
                  </a:lnTo>
                  <a:lnTo>
                    <a:pt x="1462564" y="877150"/>
                  </a:lnTo>
                  <a:lnTo>
                    <a:pt x="1545431" y="754277"/>
                  </a:lnTo>
                  <a:cubicBezTo>
                    <a:pt x="1553051" y="742847"/>
                    <a:pt x="1550194" y="726655"/>
                    <a:pt x="1538764" y="719035"/>
                  </a:cubicBezTo>
                  <a:cubicBezTo>
                    <a:pt x="1531144" y="714272"/>
                    <a:pt x="1522571" y="713320"/>
                    <a:pt x="1514951" y="716177"/>
                  </a:cubicBezTo>
                  <a:cubicBezTo>
                    <a:pt x="1510189" y="718082"/>
                    <a:pt x="1506379" y="720940"/>
                    <a:pt x="1503521" y="725702"/>
                  </a:cubicBezTo>
                  <a:lnTo>
                    <a:pt x="1401604" y="878102"/>
                  </a:lnTo>
                  <a:lnTo>
                    <a:pt x="1322546" y="877150"/>
                  </a:lnTo>
                  <a:lnTo>
                    <a:pt x="1443514" y="706652"/>
                  </a:lnTo>
                  <a:cubicBezTo>
                    <a:pt x="1448276" y="699032"/>
                    <a:pt x="1449229" y="690460"/>
                    <a:pt x="1445419" y="682840"/>
                  </a:cubicBezTo>
                  <a:cubicBezTo>
                    <a:pt x="1441609" y="674267"/>
                    <a:pt x="1434941" y="668552"/>
                    <a:pt x="1427321" y="667600"/>
                  </a:cubicBezTo>
                  <a:lnTo>
                    <a:pt x="1221581" y="628547"/>
                  </a:lnTo>
                  <a:lnTo>
                    <a:pt x="1278731" y="573302"/>
                  </a:lnTo>
                  <a:lnTo>
                    <a:pt x="1456849" y="611402"/>
                  </a:lnTo>
                  <a:cubicBezTo>
                    <a:pt x="1470184" y="614260"/>
                    <a:pt x="1483519" y="605687"/>
                    <a:pt x="1487329" y="592352"/>
                  </a:cubicBezTo>
                  <a:cubicBezTo>
                    <a:pt x="1490186" y="579017"/>
                    <a:pt x="1481614" y="565682"/>
                    <a:pt x="1468279" y="561872"/>
                  </a:cubicBezTo>
                  <a:lnTo>
                    <a:pt x="1321594" y="532345"/>
                  </a:lnTo>
                  <a:lnTo>
                    <a:pt x="1374934" y="479957"/>
                  </a:lnTo>
                  <a:lnTo>
                    <a:pt x="1492091" y="504722"/>
                  </a:lnTo>
                  <a:cubicBezTo>
                    <a:pt x="1505426" y="507580"/>
                    <a:pt x="1518761" y="499007"/>
                    <a:pt x="1522571" y="485672"/>
                  </a:cubicBezTo>
                  <a:cubicBezTo>
                    <a:pt x="1525429" y="472337"/>
                    <a:pt x="1516856" y="459002"/>
                    <a:pt x="1503521" y="455192"/>
                  </a:cubicBezTo>
                  <a:lnTo>
                    <a:pt x="1420654" y="437095"/>
                  </a:lnTo>
                  <a:lnTo>
                    <a:pt x="1420654" y="437095"/>
                  </a:lnTo>
                  <a:lnTo>
                    <a:pt x="1466374" y="393280"/>
                  </a:lnTo>
                  <a:lnTo>
                    <a:pt x="1528286" y="406615"/>
                  </a:lnTo>
                  <a:cubicBezTo>
                    <a:pt x="1541621" y="409472"/>
                    <a:pt x="1554956" y="400900"/>
                    <a:pt x="1558766" y="387565"/>
                  </a:cubicBezTo>
                  <a:cubicBezTo>
                    <a:pt x="1561624" y="374230"/>
                    <a:pt x="1553051" y="360895"/>
                    <a:pt x="1539716" y="357085"/>
                  </a:cubicBezTo>
                  <a:lnTo>
                    <a:pt x="1510189" y="350417"/>
                  </a:lnTo>
                  <a:lnTo>
                    <a:pt x="1510189" y="350417"/>
                  </a:lnTo>
                  <a:lnTo>
                    <a:pt x="1546384" y="316127"/>
                  </a:lnTo>
                  <a:cubicBezTo>
                    <a:pt x="1555909" y="307555"/>
                    <a:pt x="1555909" y="290410"/>
                    <a:pt x="1546384" y="280885"/>
                  </a:cubicBezTo>
                  <a:close/>
                  <a:moveTo>
                    <a:pt x="1257776" y="879055"/>
                  </a:moveTo>
                  <a:lnTo>
                    <a:pt x="1110139" y="880007"/>
                  </a:lnTo>
                  <a:lnTo>
                    <a:pt x="1109186" y="828572"/>
                  </a:lnTo>
                  <a:cubicBezTo>
                    <a:pt x="1109186" y="821905"/>
                    <a:pt x="1106329" y="815237"/>
                    <a:pt x="1102519" y="811427"/>
                  </a:cubicBezTo>
                  <a:lnTo>
                    <a:pt x="1068229" y="774280"/>
                  </a:lnTo>
                  <a:lnTo>
                    <a:pt x="1175861" y="671410"/>
                  </a:lnTo>
                  <a:lnTo>
                    <a:pt x="1376839" y="710462"/>
                  </a:lnTo>
                  <a:lnTo>
                    <a:pt x="1258729" y="877150"/>
                  </a:lnTo>
                  <a:lnTo>
                    <a:pt x="1257776" y="879055"/>
                  </a:lnTo>
                  <a:close/>
                  <a:moveTo>
                    <a:pt x="1059656" y="879055"/>
                  </a:moveTo>
                  <a:lnTo>
                    <a:pt x="1060609" y="929537"/>
                  </a:lnTo>
                  <a:lnTo>
                    <a:pt x="1061561" y="969542"/>
                  </a:lnTo>
                  <a:lnTo>
                    <a:pt x="1032034" y="997165"/>
                  </a:lnTo>
                  <a:lnTo>
                    <a:pt x="994886" y="1031455"/>
                  </a:lnTo>
                  <a:lnTo>
                    <a:pt x="965359" y="1059077"/>
                  </a:lnTo>
                  <a:lnTo>
                    <a:pt x="925354" y="1060030"/>
                  </a:lnTo>
                  <a:lnTo>
                    <a:pt x="874871" y="1060982"/>
                  </a:lnTo>
                  <a:lnTo>
                    <a:pt x="834866" y="1061935"/>
                  </a:lnTo>
                  <a:lnTo>
                    <a:pt x="807244" y="1032407"/>
                  </a:lnTo>
                  <a:lnTo>
                    <a:pt x="772954" y="995260"/>
                  </a:lnTo>
                  <a:lnTo>
                    <a:pt x="745331" y="965732"/>
                  </a:lnTo>
                  <a:lnTo>
                    <a:pt x="744379" y="925727"/>
                  </a:lnTo>
                  <a:lnTo>
                    <a:pt x="743426" y="875245"/>
                  </a:lnTo>
                  <a:lnTo>
                    <a:pt x="742474" y="835240"/>
                  </a:lnTo>
                  <a:lnTo>
                    <a:pt x="772001" y="807617"/>
                  </a:lnTo>
                  <a:lnTo>
                    <a:pt x="809149" y="773327"/>
                  </a:lnTo>
                  <a:lnTo>
                    <a:pt x="838676" y="745705"/>
                  </a:lnTo>
                  <a:lnTo>
                    <a:pt x="878681" y="744752"/>
                  </a:lnTo>
                  <a:lnTo>
                    <a:pt x="929164" y="743800"/>
                  </a:lnTo>
                  <a:lnTo>
                    <a:pt x="969169" y="742847"/>
                  </a:lnTo>
                  <a:lnTo>
                    <a:pt x="996791" y="772375"/>
                  </a:lnTo>
                  <a:lnTo>
                    <a:pt x="1031081" y="809522"/>
                  </a:lnTo>
                  <a:lnTo>
                    <a:pt x="1057751" y="839050"/>
                  </a:lnTo>
                  <a:lnTo>
                    <a:pt x="1059656" y="879055"/>
                  </a:lnTo>
                  <a:close/>
                  <a:moveTo>
                    <a:pt x="1178719" y="1150517"/>
                  </a:moveTo>
                  <a:lnTo>
                    <a:pt x="1066324" y="1033360"/>
                  </a:lnTo>
                  <a:lnTo>
                    <a:pt x="1103471" y="999070"/>
                  </a:lnTo>
                  <a:cubicBezTo>
                    <a:pt x="1109186" y="994307"/>
                    <a:pt x="1112044" y="987640"/>
                    <a:pt x="1112044" y="980020"/>
                  </a:cubicBezTo>
                  <a:lnTo>
                    <a:pt x="1111091" y="929537"/>
                  </a:lnTo>
                  <a:lnTo>
                    <a:pt x="1272064" y="928585"/>
                  </a:lnTo>
                  <a:lnTo>
                    <a:pt x="1384459" y="1107655"/>
                  </a:lnTo>
                  <a:lnTo>
                    <a:pt x="1178719" y="1150517"/>
                  </a:lnTo>
                  <a:close/>
                  <a:moveTo>
                    <a:pt x="926306" y="1260055"/>
                  </a:moveTo>
                  <a:lnTo>
                    <a:pt x="925354" y="1111465"/>
                  </a:lnTo>
                  <a:lnTo>
                    <a:pt x="975836" y="1110513"/>
                  </a:lnTo>
                  <a:cubicBezTo>
                    <a:pt x="982504" y="1110513"/>
                    <a:pt x="988219" y="1107655"/>
                    <a:pt x="992981" y="1103845"/>
                  </a:cubicBezTo>
                  <a:lnTo>
                    <a:pt x="1030129" y="1069555"/>
                  </a:lnTo>
                  <a:lnTo>
                    <a:pt x="1132999" y="1177188"/>
                  </a:lnTo>
                  <a:lnTo>
                    <a:pt x="1093946" y="1378165"/>
                  </a:lnTo>
                  <a:lnTo>
                    <a:pt x="926306" y="1260055"/>
                  </a:lnTo>
                  <a:close/>
                  <a:moveTo>
                    <a:pt x="652939" y="1179092"/>
                  </a:moveTo>
                  <a:lnTo>
                    <a:pt x="769144" y="1067650"/>
                  </a:lnTo>
                  <a:lnTo>
                    <a:pt x="803434" y="1104797"/>
                  </a:lnTo>
                  <a:cubicBezTo>
                    <a:pt x="809149" y="1110513"/>
                    <a:pt x="815816" y="1113370"/>
                    <a:pt x="822484" y="1112417"/>
                  </a:cubicBezTo>
                  <a:lnTo>
                    <a:pt x="872966" y="1111465"/>
                  </a:lnTo>
                  <a:lnTo>
                    <a:pt x="872966" y="1274342"/>
                  </a:lnTo>
                  <a:lnTo>
                    <a:pt x="694849" y="1386738"/>
                  </a:lnTo>
                  <a:lnTo>
                    <a:pt x="652939" y="1179092"/>
                  </a:lnTo>
                  <a:close/>
                  <a:moveTo>
                    <a:pt x="545306" y="926680"/>
                  </a:moveTo>
                  <a:lnTo>
                    <a:pt x="693896" y="925727"/>
                  </a:lnTo>
                  <a:lnTo>
                    <a:pt x="694849" y="976210"/>
                  </a:lnTo>
                  <a:cubicBezTo>
                    <a:pt x="694849" y="981925"/>
                    <a:pt x="697706" y="988592"/>
                    <a:pt x="701516" y="993355"/>
                  </a:cubicBezTo>
                  <a:lnTo>
                    <a:pt x="735806" y="1030502"/>
                  </a:lnTo>
                  <a:lnTo>
                    <a:pt x="628174" y="1132420"/>
                  </a:lnTo>
                  <a:lnTo>
                    <a:pt x="627221" y="1131467"/>
                  </a:lnTo>
                  <a:lnTo>
                    <a:pt x="426244" y="1093367"/>
                  </a:lnTo>
                  <a:lnTo>
                    <a:pt x="545306" y="926680"/>
                  </a:lnTo>
                  <a:close/>
                  <a:moveTo>
                    <a:pt x="626269" y="654265"/>
                  </a:moveTo>
                  <a:lnTo>
                    <a:pt x="737711" y="770470"/>
                  </a:lnTo>
                  <a:lnTo>
                    <a:pt x="700564" y="804760"/>
                  </a:lnTo>
                  <a:cubicBezTo>
                    <a:pt x="694849" y="809522"/>
                    <a:pt x="691991" y="817142"/>
                    <a:pt x="691991" y="823810"/>
                  </a:cubicBezTo>
                  <a:lnTo>
                    <a:pt x="692944" y="875245"/>
                  </a:lnTo>
                  <a:lnTo>
                    <a:pt x="531971" y="876197"/>
                  </a:lnTo>
                  <a:lnTo>
                    <a:pt x="418624" y="697127"/>
                  </a:lnTo>
                  <a:lnTo>
                    <a:pt x="626269" y="654265"/>
                  </a:lnTo>
                  <a:close/>
                  <a:moveTo>
                    <a:pt x="877729" y="545680"/>
                  </a:moveTo>
                  <a:lnTo>
                    <a:pt x="877729" y="695222"/>
                  </a:lnTo>
                  <a:lnTo>
                    <a:pt x="827246" y="696175"/>
                  </a:lnTo>
                  <a:cubicBezTo>
                    <a:pt x="824389" y="696175"/>
                    <a:pt x="820579" y="696175"/>
                    <a:pt x="817721" y="698080"/>
                  </a:cubicBezTo>
                  <a:cubicBezTo>
                    <a:pt x="814864" y="699032"/>
                    <a:pt x="812959" y="700937"/>
                    <a:pt x="810101" y="703795"/>
                  </a:cubicBezTo>
                  <a:lnTo>
                    <a:pt x="773906" y="738085"/>
                  </a:lnTo>
                  <a:lnTo>
                    <a:pt x="671989" y="629500"/>
                  </a:lnTo>
                  <a:lnTo>
                    <a:pt x="711041" y="428522"/>
                  </a:lnTo>
                  <a:lnTo>
                    <a:pt x="877729" y="545680"/>
                  </a:lnTo>
                  <a:close/>
                  <a:moveTo>
                    <a:pt x="1151096" y="626642"/>
                  </a:moveTo>
                  <a:lnTo>
                    <a:pt x="1034891" y="738085"/>
                  </a:lnTo>
                  <a:lnTo>
                    <a:pt x="999649" y="699985"/>
                  </a:lnTo>
                  <a:cubicBezTo>
                    <a:pt x="994886" y="695222"/>
                    <a:pt x="987266" y="691412"/>
                    <a:pt x="980599" y="692365"/>
                  </a:cubicBezTo>
                  <a:lnTo>
                    <a:pt x="929164" y="693317"/>
                  </a:lnTo>
                  <a:lnTo>
                    <a:pt x="928211" y="532345"/>
                  </a:lnTo>
                  <a:lnTo>
                    <a:pt x="1107281" y="419950"/>
                  </a:lnTo>
                  <a:lnTo>
                    <a:pt x="1151096" y="626642"/>
                  </a:ln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87755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2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+mn-ea"/>
                <a:cs typeface="+mn-cs"/>
              </a:endParaRPr>
            </a:p>
          </p:txBody>
        </p:sp>
        <p:sp>
          <p:nvSpPr>
            <p:cNvPr id="13" name="Graphic 47">
              <a:extLst>
                <a:ext uri="{FF2B5EF4-FFF2-40B4-BE49-F238E27FC236}">
                  <a16:creationId xmlns:a16="http://schemas.microsoft.com/office/drawing/2014/main" id="{3332F807-75AC-48B4-9FAC-CDF03747B6ED}"/>
                </a:ext>
              </a:extLst>
            </p:cNvPr>
            <p:cNvSpPr/>
            <p:nvPr userDrawn="1"/>
          </p:nvSpPr>
          <p:spPr>
            <a:xfrm>
              <a:off x="9625750" y="4063403"/>
              <a:ext cx="1514475" cy="2271713"/>
            </a:xfrm>
            <a:custGeom>
              <a:avLst/>
              <a:gdLst>
                <a:gd name="connsiteX0" fmla="*/ 949088 w 2076450"/>
                <a:gd name="connsiteY0" fmla="*/ 7144 h 3114675"/>
                <a:gd name="connsiteX1" fmla="*/ 883365 w 2076450"/>
                <a:gd name="connsiteY1" fmla="*/ 105251 h 3114675"/>
                <a:gd name="connsiteX2" fmla="*/ 909083 w 2076450"/>
                <a:gd name="connsiteY2" fmla="*/ 238601 h 3114675"/>
                <a:gd name="connsiteX3" fmla="*/ 833835 w 2076450"/>
                <a:gd name="connsiteY3" fmla="*/ 193834 h 3114675"/>
                <a:gd name="connsiteX4" fmla="*/ 817643 w 2076450"/>
                <a:gd name="connsiteY4" fmla="*/ 301466 h 3114675"/>
                <a:gd name="connsiteX5" fmla="*/ 810023 w 2076450"/>
                <a:gd name="connsiteY5" fmla="*/ 328136 h 3114675"/>
                <a:gd name="connsiteX6" fmla="*/ 684293 w 2076450"/>
                <a:gd name="connsiteY6" fmla="*/ 381476 h 3114675"/>
                <a:gd name="connsiteX7" fmla="*/ 703343 w 2076450"/>
                <a:gd name="connsiteY7" fmla="*/ 451009 h 3114675"/>
                <a:gd name="connsiteX8" fmla="*/ 714773 w 2076450"/>
                <a:gd name="connsiteY8" fmla="*/ 539591 h 3114675"/>
                <a:gd name="connsiteX9" fmla="*/ 828120 w 2076450"/>
                <a:gd name="connsiteY9" fmla="*/ 573881 h 3114675"/>
                <a:gd name="connsiteX10" fmla="*/ 947183 w 2076450"/>
                <a:gd name="connsiteY10" fmla="*/ 577691 h 3114675"/>
                <a:gd name="connsiteX11" fmla="*/ 731918 w 2076450"/>
                <a:gd name="connsiteY11" fmla="*/ 618649 h 3114675"/>
                <a:gd name="connsiteX12" fmla="*/ 530940 w 2076450"/>
                <a:gd name="connsiteY12" fmla="*/ 601504 h 3114675"/>
                <a:gd name="connsiteX13" fmla="*/ 597615 w 2076450"/>
                <a:gd name="connsiteY13" fmla="*/ 649129 h 3114675"/>
                <a:gd name="connsiteX14" fmla="*/ 629048 w 2076450"/>
                <a:gd name="connsiteY14" fmla="*/ 688181 h 3114675"/>
                <a:gd name="connsiteX15" fmla="*/ 714773 w 2076450"/>
                <a:gd name="connsiteY15" fmla="*/ 728186 h 3114675"/>
                <a:gd name="connsiteX16" fmla="*/ 947183 w 2076450"/>
                <a:gd name="connsiteY16" fmla="*/ 689134 h 3114675"/>
                <a:gd name="connsiteX17" fmla="*/ 674768 w 2076450"/>
                <a:gd name="connsiteY17" fmla="*/ 758666 h 3114675"/>
                <a:gd name="connsiteX18" fmla="*/ 528083 w 2076450"/>
                <a:gd name="connsiteY18" fmla="*/ 788194 h 3114675"/>
                <a:gd name="connsiteX19" fmla="*/ 530940 w 2076450"/>
                <a:gd name="connsiteY19" fmla="*/ 846296 h 3114675"/>
                <a:gd name="connsiteX20" fmla="*/ 569040 w 2076450"/>
                <a:gd name="connsiteY20" fmla="*/ 912971 h 3114675"/>
                <a:gd name="connsiteX21" fmla="*/ 502365 w 2076450"/>
                <a:gd name="connsiteY21" fmla="*/ 958691 h 3114675"/>
                <a:gd name="connsiteX22" fmla="*/ 409973 w 2076450"/>
                <a:gd name="connsiteY22" fmla="*/ 972979 h 3114675"/>
                <a:gd name="connsiteX23" fmla="*/ 547133 w 2076450"/>
                <a:gd name="connsiteY23" fmla="*/ 1067276 h 3114675"/>
                <a:gd name="connsiteX24" fmla="*/ 730013 w 2076450"/>
                <a:gd name="connsiteY24" fmla="*/ 1155859 h 3114675"/>
                <a:gd name="connsiteX25" fmla="*/ 409020 w 2076450"/>
                <a:gd name="connsiteY25" fmla="*/ 1204436 h 3114675"/>
                <a:gd name="connsiteX26" fmla="*/ 530940 w 2076450"/>
                <a:gd name="connsiteY26" fmla="*/ 1310164 h 3114675"/>
                <a:gd name="connsiteX27" fmla="*/ 366158 w 2076450"/>
                <a:gd name="connsiteY27" fmla="*/ 1365409 h 3114675"/>
                <a:gd name="connsiteX28" fmla="*/ 637620 w 2076450"/>
                <a:gd name="connsiteY28" fmla="*/ 1413034 h 3114675"/>
                <a:gd name="connsiteX29" fmla="*/ 617618 w 2076450"/>
                <a:gd name="connsiteY29" fmla="*/ 1487329 h 3114675"/>
                <a:gd name="connsiteX30" fmla="*/ 286148 w 2076450"/>
                <a:gd name="connsiteY30" fmla="*/ 1588294 h 3114675"/>
                <a:gd name="connsiteX31" fmla="*/ 550943 w 2076450"/>
                <a:gd name="connsiteY31" fmla="*/ 1688306 h 3114675"/>
                <a:gd name="connsiteX32" fmla="*/ 627143 w 2076450"/>
                <a:gd name="connsiteY32" fmla="*/ 1666399 h 3114675"/>
                <a:gd name="connsiteX33" fmla="*/ 734775 w 2076450"/>
                <a:gd name="connsiteY33" fmla="*/ 1662589 h 3114675"/>
                <a:gd name="connsiteX34" fmla="*/ 604283 w 2076450"/>
                <a:gd name="connsiteY34" fmla="*/ 1759744 h 3114675"/>
                <a:gd name="connsiteX35" fmla="*/ 217568 w 2076450"/>
                <a:gd name="connsiteY35" fmla="*/ 1794986 h 3114675"/>
                <a:gd name="connsiteX36" fmla="*/ 214710 w 2076450"/>
                <a:gd name="connsiteY36" fmla="*/ 1862614 h 3114675"/>
                <a:gd name="connsiteX37" fmla="*/ 335678 w 2076450"/>
                <a:gd name="connsiteY37" fmla="*/ 1914049 h 3114675"/>
                <a:gd name="connsiteX38" fmla="*/ 472838 w 2076450"/>
                <a:gd name="connsiteY38" fmla="*/ 1916906 h 3114675"/>
                <a:gd name="connsiteX39" fmla="*/ 553800 w 2076450"/>
                <a:gd name="connsiteY39" fmla="*/ 1953101 h 3114675"/>
                <a:gd name="connsiteX40" fmla="*/ 602378 w 2076450"/>
                <a:gd name="connsiteY40" fmla="*/ 2004536 h 3114675"/>
                <a:gd name="connsiteX41" fmla="*/ 275670 w 2076450"/>
                <a:gd name="connsiteY41" fmla="*/ 2024539 h 3114675"/>
                <a:gd name="connsiteX42" fmla="*/ 236618 w 2076450"/>
                <a:gd name="connsiteY42" fmla="*/ 2049304 h 3114675"/>
                <a:gd name="connsiteX43" fmla="*/ 262335 w 2076450"/>
                <a:gd name="connsiteY43" fmla="*/ 2092166 h 3114675"/>
                <a:gd name="connsiteX44" fmla="*/ 420450 w 2076450"/>
                <a:gd name="connsiteY44" fmla="*/ 2151221 h 3114675"/>
                <a:gd name="connsiteX45" fmla="*/ 480458 w 2076450"/>
                <a:gd name="connsiteY45" fmla="*/ 2174081 h 3114675"/>
                <a:gd name="connsiteX46" fmla="*/ 269955 w 2076450"/>
                <a:gd name="connsiteY46" fmla="*/ 2228374 h 3114675"/>
                <a:gd name="connsiteX47" fmla="*/ 106125 w 2076450"/>
                <a:gd name="connsiteY47" fmla="*/ 2250281 h 3114675"/>
                <a:gd name="connsiteX48" fmla="*/ 45165 w 2076450"/>
                <a:gd name="connsiteY48" fmla="*/ 2290286 h 3114675"/>
                <a:gd name="connsiteX49" fmla="*/ 84218 w 2076450"/>
                <a:gd name="connsiteY49" fmla="*/ 2353151 h 3114675"/>
                <a:gd name="connsiteX50" fmla="*/ 203280 w 2076450"/>
                <a:gd name="connsiteY50" fmla="*/ 2444591 h 3114675"/>
                <a:gd name="connsiteX51" fmla="*/ 172800 w 2076450"/>
                <a:gd name="connsiteY51" fmla="*/ 2478881 h 3114675"/>
                <a:gd name="connsiteX52" fmla="*/ 201375 w 2076450"/>
                <a:gd name="connsiteY52" fmla="*/ 2519839 h 3114675"/>
                <a:gd name="connsiteX53" fmla="*/ 301388 w 2076450"/>
                <a:gd name="connsiteY53" fmla="*/ 2558891 h 3114675"/>
                <a:gd name="connsiteX54" fmla="*/ 76598 w 2076450"/>
                <a:gd name="connsiteY54" fmla="*/ 2589371 h 3114675"/>
                <a:gd name="connsiteX55" fmla="*/ 58500 w 2076450"/>
                <a:gd name="connsiteY55" fmla="*/ 2659856 h 3114675"/>
                <a:gd name="connsiteX56" fmla="*/ 110888 w 2076450"/>
                <a:gd name="connsiteY56" fmla="*/ 2693194 h 3114675"/>
                <a:gd name="connsiteX57" fmla="*/ 214710 w 2076450"/>
                <a:gd name="connsiteY57" fmla="*/ 2727484 h 3114675"/>
                <a:gd name="connsiteX58" fmla="*/ 262335 w 2076450"/>
                <a:gd name="connsiteY58" fmla="*/ 2756059 h 3114675"/>
                <a:gd name="connsiteX59" fmla="*/ 358538 w 2076450"/>
                <a:gd name="connsiteY59" fmla="*/ 2733199 h 3114675"/>
                <a:gd name="connsiteX60" fmla="*/ 254715 w 2076450"/>
                <a:gd name="connsiteY60" fmla="*/ 2758916 h 3114675"/>
                <a:gd name="connsiteX61" fmla="*/ 45165 w 2076450"/>
                <a:gd name="connsiteY61" fmla="*/ 2806541 h 3114675"/>
                <a:gd name="connsiteX62" fmla="*/ 46118 w 2076450"/>
                <a:gd name="connsiteY62" fmla="*/ 2865596 h 3114675"/>
                <a:gd name="connsiteX63" fmla="*/ 88980 w 2076450"/>
                <a:gd name="connsiteY63" fmla="*/ 2895124 h 3114675"/>
                <a:gd name="connsiteX64" fmla="*/ 155655 w 2076450"/>
                <a:gd name="connsiteY64" fmla="*/ 2902744 h 3114675"/>
                <a:gd name="connsiteX65" fmla="*/ 343298 w 2076450"/>
                <a:gd name="connsiteY65" fmla="*/ 2914174 h 3114675"/>
                <a:gd name="connsiteX66" fmla="*/ 301388 w 2076450"/>
                <a:gd name="connsiteY66" fmla="*/ 2956084 h 3114675"/>
                <a:gd name="connsiteX67" fmla="*/ 361395 w 2076450"/>
                <a:gd name="connsiteY67" fmla="*/ 2980849 h 3114675"/>
                <a:gd name="connsiteX68" fmla="*/ 511890 w 2076450"/>
                <a:gd name="connsiteY68" fmla="*/ 3029426 h 3114675"/>
                <a:gd name="connsiteX69" fmla="*/ 603330 w 2076450"/>
                <a:gd name="connsiteY69" fmla="*/ 3058001 h 3114675"/>
                <a:gd name="connsiteX70" fmla="*/ 825263 w 2076450"/>
                <a:gd name="connsiteY70" fmla="*/ 2954179 h 3114675"/>
                <a:gd name="connsiteX71" fmla="*/ 957660 w 2076450"/>
                <a:gd name="connsiteY71" fmla="*/ 2927509 h 3114675"/>
                <a:gd name="connsiteX72" fmla="*/ 1013858 w 2076450"/>
                <a:gd name="connsiteY72" fmla="*/ 3102769 h 3114675"/>
                <a:gd name="connsiteX73" fmla="*/ 1119585 w 2076450"/>
                <a:gd name="connsiteY73" fmla="*/ 3020854 h 3114675"/>
                <a:gd name="connsiteX74" fmla="*/ 1191975 w 2076450"/>
                <a:gd name="connsiteY74" fmla="*/ 2997041 h 3114675"/>
                <a:gd name="connsiteX75" fmla="*/ 1468200 w 2076450"/>
                <a:gd name="connsiteY75" fmla="*/ 3026569 h 3114675"/>
                <a:gd name="connsiteX76" fmla="*/ 1561545 w 2076450"/>
                <a:gd name="connsiteY76" fmla="*/ 3002756 h 3114675"/>
                <a:gd name="connsiteX77" fmla="*/ 1679655 w 2076450"/>
                <a:gd name="connsiteY77" fmla="*/ 3030379 h 3114675"/>
                <a:gd name="connsiteX78" fmla="*/ 1748235 w 2076450"/>
                <a:gd name="connsiteY78" fmla="*/ 2996089 h 3114675"/>
                <a:gd name="connsiteX79" fmla="*/ 1893968 w 2076450"/>
                <a:gd name="connsiteY79" fmla="*/ 3009424 h 3114675"/>
                <a:gd name="connsiteX80" fmla="*/ 1888253 w 2076450"/>
                <a:gd name="connsiteY80" fmla="*/ 2944654 h 3114675"/>
                <a:gd name="connsiteX81" fmla="*/ 1964453 w 2076450"/>
                <a:gd name="connsiteY81" fmla="*/ 2947511 h 3114675"/>
                <a:gd name="connsiteX82" fmla="*/ 1948260 w 2076450"/>
                <a:gd name="connsiteY82" fmla="*/ 2913221 h 3114675"/>
                <a:gd name="connsiteX83" fmla="*/ 1843485 w 2076450"/>
                <a:gd name="connsiteY83" fmla="*/ 2853214 h 3114675"/>
                <a:gd name="connsiteX84" fmla="*/ 1883490 w 2076450"/>
                <a:gd name="connsiteY84" fmla="*/ 2818924 h 3114675"/>
                <a:gd name="connsiteX85" fmla="*/ 1909208 w 2076450"/>
                <a:gd name="connsiteY85" fmla="*/ 2790349 h 3114675"/>
                <a:gd name="connsiteX86" fmla="*/ 2032080 w 2076450"/>
                <a:gd name="connsiteY86" fmla="*/ 2757964 h 3114675"/>
                <a:gd name="connsiteX87" fmla="*/ 2036843 w 2076450"/>
                <a:gd name="connsiteY87" fmla="*/ 2711291 h 3114675"/>
                <a:gd name="connsiteX88" fmla="*/ 2008268 w 2076450"/>
                <a:gd name="connsiteY88" fmla="*/ 2670334 h 3114675"/>
                <a:gd name="connsiteX89" fmla="*/ 1943498 w 2076450"/>
                <a:gd name="connsiteY89" fmla="*/ 2645569 h 3114675"/>
                <a:gd name="connsiteX90" fmla="*/ 1793003 w 2076450"/>
                <a:gd name="connsiteY90" fmla="*/ 2651284 h 3114675"/>
                <a:gd name="connsiteX91" fmla="*/ 1497728 w 2076450"/>
                <a:gd name="connsiteY91" fmla="*/ 2538889 h 3114675"/>
                <a:gd name="connsiteX92" fmla="*/ 1592025 w 2076450"/>
                <a:gd name="connsiteY92" fmla="*/ 2535079 h 3114675"/>
                <a:gd name="connsiteX93" fmla="*/ 1824435 w 2076450"/>
                <a:gd name="connsiteY93" fmla="*/ 2566511 h 3114675"/>
                <a:gd name="connsiteX94" fmla="*/ 1938735 w 2076450"/>
                <a:gd name="connsiteY94" fmla="*/ 2449354 h 3114675"/>
                <a:gd name="connsiteX95" fmla="*/ 2000648 w 2076450"/>
                <a:gd name="connsiteY95" fmla="*/ 2416969 h 3114675"/>
                <a:gd name="connsiteX96" fmla="*/ 1993028 w 2076450"/>
                <a:gd name="connsiteY96" fmla="*/ 2387441 h 3114675"/>
                <a:gd name="connsiteX97" fmla="*/ 1549163 w 2076450"/>
                <a:gd name="connsiteY97" fmla="*/ 2328386 h 3114675"/>
                <a:gd name="connsiteX98" fmla="*/ 1554878 w 2076450"/>
                <a:gd name="connsiteY98" fmla="*/ 2282666 h 3114675"/>
                <a:gd name="connsiteX99" fmla="*/ 1823483 w 2076450"/>
                <a:gd name="connsiteY99" fmla="*/ 2291239 h 3114675"/>
                <a:gd name="connsiteX100" fmla="*/ 1994933 w 2076450"/>
                <a:gd name="connsiteY100" fmla="*/ 2158841 h 3114675"/>
                <a:gd name="connsiteX101" fmla="*/ 2013983 w 2076450"/>
                <a:gd name="connsiteY101" fmla="*/ 2124551 h 3114675"/>
                <a:gd name="connsiteX102" fmla="*/ 1699658 w 2076450"/>
                <a:gd name="connsiteY102" fmla="*/ 2061686 h 3114675"/>
                <a:gd name="connsiteX103" fmla="*/ 1808243 w 2076450"/>
                <a:gd name="connsiteY103" fmla="*/ 2027396 h 3114675"/>
                <a:gd name="connsiteX104" fmla="*/ 1836818 w 2076450"/>
                <a:gd name="connsiteY104" fmla="*/ 2000726 h 3114675"/>
                <a:gd name="connsiteX105" fmla="*/ 1875870 w 2076450"/>
                <a:gd name="connsiteY105" fmla="*/ 1935004 h 3114675"/>
                <a:gd name="connsiteX106" fmla="*/ 1600598 w 2076450"/>
                <a:gd name="connsiteY106" fmla="*/ 1869281 h 3114675"/>
                <a:gd name="connsiteX107" fmla="*/ 1823483 w 2076450"/>
                <a:gd name="connsiteY107" fmla="*/ 1737836 h 3114675"/>
                <a:gd name="connsiteX108" fmla="*/ 1592025 w 2076450"/>
                <a:gd name="connsiteY108" fmla="*/ 1729264 h 3114675"/>
                <a:gd name="connsiteX109" fmla="*/ 1639650 w 2076450"/>
                <a:gd name="connsiteY109" fmla="*/ 1693069 h 3114675"/>
                <a:gd name="connsiteX110" fmla="*/ 1648223 w 2076450"/>
                <a:gd name="connsiteY110" fmla="*/ 1652111 h 3114675"/>
                <a:gd name="connsiteX111" fmla="*/ 1437720 w 2076450"/>
                <a:gd name="connsiteY111" fmla="*/ 1613059 h 3114675"/>
                <a:gd name="connsiteX112" fmla="*/ 1519635 w 2076450"/>
                <a:gd name="connsiteY112" fmla="*/ 1556861 h 3114675"/>
                <a:gd name="connsiteX113" fmla="*/ 1697753 w 2076450"/>
                <a:gd name="connsiteY113" fmla="*/ 1459706 h 3114675"/>
                <a:gd name="connsiteX114" fmla="*/ 1539638 w 2076450"/>
                <a:gd name="connsiteY114" fmla="*/ 1435894 h 3114675"/>
                <a:gd name="connsiteX115" fmla="*/ 1520588 w 2076450"/>
                <a:gd name="connsiteY115" fmla="*/ 1388269 h 3114675"/>
                <a:gd name="connsiteX116" fmla="*/ 1282463 w 2076450"/>
                <a:gd name="connsiteY116" fmla="*/ 1360646 h 3114675"/>
                <a:gd name="connsiteX117" fmla="*/ 1568213 w 2076450"/>
                <a:gd name="connsiteY117" fmla="*/ 1328261 h 3114675"/>
                <a:gd name="connsiteX118" fmla="*/ 1593930 w 2076450"/>
                <a:gd name="connsiteY118" fmla="*/ 1209199 h 3114675"/>
                <a:gd name="connsiteX119" fmla="*/ 1440578 w 2076450"/>
                <a:gd name="connsiteY119" fmla="*/ 1151096 h 3114675"/>
                <a:gd name="connsiteX120" fmla="*/ 1127205 w 2076450"/>
                <a:gd name="connsiteY120" fmla="*/ 1094899 h 3114675"/>
                <a:gd name="connsiteX121" fmla="*/ 1310085 w 2076450"/>
                <a:gd name="connsiteY121" fmla="*/ 1109186 h 3114675"/>
                <a:gd name="connsiteX122" fmla="*/ 1406288 w 2076450"/>
                <a:gd name="connsiteY122" fmla="*/ 1094899 h 3114675"/>
                <a:gd name="connsiteX123" fmla="*/ 1508205 w 2076450"/>
                <a:gd name="connsiteY123" fmla="*/ 1040606 h 3114675"/>
                <a:gd name="connsiteX124" fmla="*/ 1532018 w 2076450"/>
                <a:gd name="connsiteY124" fmla="*/ 969169 h 3114675"/>
                <a:gd name="connsiteX125" fmla="*/ 1421528 w 2076450"/>
                <a:gd name="connsiteY125" fmla="*/ 938689 h 3114675"/>
                <a:gd name="connsiteX126" fmla="*/ 1154828 w 2076450"/>
                <a:gd name="connsiteY126" fmla="*/ 903446 h 3114675"/>
                <a:gd name="connsiteX127" fmla="*/ 1304370 w 2076450"/>
                <a:gd name="connsiteY127" fmla="*/ 884396 h 3114675"/>
                <a:gd name="connsiteX128" fmla="*/ 1351995 w 2076450"/>
                <a:gd name="connsiteY128" fmla="*/ 868204 h 3114675"/>
                <a:gd name="connsiteX129" fmla="*/ 1480583 w 2076450"/>
                <a:gd name="connsiteY129" fmla="*/ 832009 h 3114675"/>
                <a:gd name="connsiteX130" fmla="*/ 1363425 w 2076450"/>
                <a:gd name="connsiteY130" fmla="*/ 798671 h 3114675"/>
                <a:gd name="connsiteX131" fmla="*/ 1131015 w 2076450"/>
                <a:gd name="connsiteY131" fmla="*/ 755809 h 3114675"/>
                <a:gd name="connsiteX132" fmla="*/ 1019573 w 2076450"/>
                <a:gd name="connsiteY132" fmla="*/ 655796 h 3114675"/>
                <a:gd name="connsiteX133" fmla="*/ 1088153 w 2076450"/>
                <a:gd name="connsiteY133" fmla="*/ 673894 h 3114675"/>
                <a:gd name="connsiteX134" fmla="*/ 1244363 w 2076450"/>
                <a:gd name="connsiteY134" fmla="*/ 727234 h 3114675"/>
                <a:gd name="connsiteX135" fmla="*/ 1389143 w 2076450"/>
                <a:gd name="connsiteY135" fmla="*/ 667226 h 3114675"/>
                <a:gd name="connsiteX136" fmla="*/ 1174830 w 2076450"/>
                <a:gd name="connsiteY136" fmla="*/ 590074 h 3114675"/>
                <a:gd name="connsiteX137" fmla="*/ 1180545 w 2076450"/>
                <a:gd name="connsiteY137" fmla="*/ 513874 h 3114675"/>
                <a:gd name="connsiteX138" fmla="*/ 1228170 w 2076450"/>
                <a:gd name="connsiteY138" fmla="*/ 415766 h 3114675"/>
                <a:gd name="connsiteX139" fmla="*/ 1251983 w 2076450"/>
                <a:gd name="connsiteY139" fmla="*/ 298609 h 3114675"/>
                <a:gd name="connsiteX140" fmla="*/ 1035765 w 2076450"/>
                <a:gd name="connsiteY140" fmla="*/ 451009 h 3114675"/>
                <a:gd name="connsiteX141" fmla="*/ 1058625 w 2076450"/>
                <a:gd name="connsiteY141" fmla="*/ 322421 h 3114675"/>
                <a:gd name="connsiteX142" fmla="*/ 1052910 w 2076450"/>
                <a:gd name="connsiteY142" fmla="*/ 251936 h 3114675"/>
                <a:gd name="connsiteX143" fmla="*/ 1112918 w 2076450"/>
                <a:gd name="connsiteY143" fmla="*/ 211931 h 3114675"/>
                <a:gd name="connsiteX144" fmla="*/ 1064340 w 2076450"/>
                <a:gd name="connsiteY144" fmla="*/ 185261 h 3114675"/>
                <a:gd name="connsiteX145" fmla="*/ 991950 w 2076450"/>
                <a:gd name="connsiteY145" fmla="*/ 191929 h 3114675"/>
                <a:gd name="connsiteX146" fmla="*/ 996713 w 2076450"/>
                <a:gd name="connsiteY146" fmla="*/ 111919 h 3114675"/>
                <a:gd name="connsiteX147" fmla="*/ 949088 w 2076450"/>
                <a:gd name="connsiteY147" fmla="*/ 7144 h 3114675"/>
                <a:gd name="connsiteX148" fmla="*/ 949088 w 2076450"/>
                <a:gd name="connsiteY148" fmla="*/ 7144 h 3114675"/>
                <a:gd name="connsiteX149" fmla="*/ 949088 w 2076450"/>
                <a:gd name="connsiteY149" fmla="*/ 7144 h 3114675"/>
                <a:gd name="connsiteX150" fmla="*/ 886223 w 2076450"/>
                <a:gd name="connsiteY150" fmla="*/ 287179 h 3114675"/>
                <a:gd name="connsiteX151" fmla="*/ 908130 w 2076450"/>
                <a:gd name="connsiteY151" fmla="*/ 327184 h 3114675"/>
                <a:gd name="connsiteX152" fmla="*/ 886223 w 2076450"/>
                <a:gd name="connsiteY152" fmla="*/ 287179 h 3114675"/>
                <a:gd name="connsiteX153" fmla="*/ 863363 w 2076450"/>
                <a:gd name="connsiteY153" fmla="*/ 404336 h 3114675"/>
                <a:gd name="connsiteX154" fmla="*/ 876698 w 2076450"/>
                <a:gd name="connsiteY154" fmla="*/ 435769 h 3114675"/>
                <a:gd name="connsiteX155" fmla="*/ 863363 w 2076450"/>
                <a:gd name="connsiteY155" fmla="*/ 404336 h 3114675"/>
                <a:gd name="connsiteX156" fmla="*/ 1116728 w 2076450"/>
                <a:gd name="connsiteY156" fmla="*/ 470059 h 3114675"/>
                <a:gd name="connsiteX157" fmla="*/ 1066245 w 2076450"/>
                <a:gd name="connsiteY157" fmla="*/ 511016 h 3114675"/>
                <a:gd name="connsiteX158" fmla="*/ 1116728 w 2076450"/>
                <a:gd name="connsiteY158" fmla="*/ 470059 h 3114675"/>
                <a:gd name="connsiteX159" fmla="*/ 1009095 w 2076450"/>
                <a:gd name="connsiteY159" fmla="*/ 584359 h 3114675"/>
                <a:gd name="connsiteX160" fmla="*/ 1029098 w 2076450"/>
                <a:gd name="connsiteY160" fmla="*/ 599599 h 3114675"/>
                <a:gd name="connsiteX161" fmla="*/ 1009095 w 2076450"/>
                <a:gd name="connsiteY161" fmla="*/ 584359 h 3114675"/>
                <a:gd name="connsiteX162" fmla="*/ 1009095 w 2076450"/>
                <a:gd name="connsiteY162" fmla="*/ 584359 h 3114675"/>
                <a:gd name="connsiteX163" fmla="*/ 1111013 w 2076450"/>
                <a:gd name="connsiteY163" fmla="*/ 603409 h 3114675"/>
                <a:gd name="connsiteX164" fmla="*/ 1111013 w 2076450"/>
                <a:gd name="connsiteY164" fmla="*/ 603409 h 3114675"/>
                <a:gd name="connsiteX165" fmla="*/ 1251030 w 2076450"/>
                <a:gd name="connsiteY165" fmla="*/ 632936 h 3114675"/>
                <a:gd name="connsiteX166" fmla="*/ 1251030 w 2076450"/>
                <a:gd name="connsiteY166" fmla="*/ 632936 h 3114675"/>
                <a:gd name="connsiteX167" fmla="*/ 1032908 w 2076450"/>
                <a:gd name="connsiteY167" fmla="*/ 760571 h 3114675"/>
                <a:gd name="connsiteX168" fmla="*/ 1028145 w 2076450"/>
                <a:gd name="connsiteY168" fmla="*/ 780574 h 3114675"/>
                <a:gd name="connsiteX169" fmla="*/ 1032908 w 2076450"/>
                <a:gd name="connsiteY169" fmla="*/ 760571 h 3114675"/>
                <a:gd name="connsiteX170" fmla="*/ 1032908 w 2076450"/>
                <a:gd name="connsiteY170" fmla="*/ 760571 h 3114675"/>
                <a:gd name="connsiteX171" fmla="*/ 961470 w 2076450"/>
                <a:gd name="connsiteY171" fmla="*/ 867251 h 3114675"/>
                <a:gd name="connsiteX172" fmla="*/ 961470 w 2076450"/>
                <a:gd name="connsiteY172" fmla="*/ 867251 h 3114675"/>
                <a:gd name="connsiteX173" fmla="*/ 1036718 w 2076450"/>
                <a:gd name="connsiteY173" fmla="*/ 884396 h 3114675"/>
                <a:gd name="connsiteX174" fmla="*/ 1036718 w 2076450"/>
                <a:gd name="connsiteY174" fmla="*/ 884396 h 3114675"/>
                <a:gd name="connsiteX175" fmla="*/ 921465 w 2076450"/>
                <a:gd name="connsiteY175" fmla="*/ 888206 h 3114675"/>
                <a:gd name="connsiteX176" fmla="*/ 921465 w 2076450"/>
                <a:gd name="connsiteY176" fmla="*/ 888206 h 3114675"/>
                <a:gd name="connsiteX177" fmla="*/ 874793 w 2076450"/>
                <a:gd name="connsiteY177" fmla="*/ 904399 h 3114675"/>
                <a:gd name="connsiteX178" fmla="*/ 874793 w 2076450"/>
                <a:gd name="connsiteY178" fmla="*/ 904399 h 3114675"/>
                <a:gd name="connsiteX179" fmla="*/ 681435 w 2076450"/>
                <a:gd name="connsiteY179" fmla="*/ 904399 h 3114675"/>
                <a:gd name="connsiteX180" fmla="*/ 777638 w 2076450"/>
                <a:gd name="connsiteY180" fmla="*/ 946309 h 3114675"/>
                <a:gd name="connsiteX181" fmla="*/ 681435 w 2076450"/>
                <a:gd name="connsiteY181" fmla="*/ 904399 h 3114675"/>
                <a:gd name="connsiteX182" fmla="*/ 1532970 w 2076450"/>
                <a:gd name="connsiteY182" fmla="*/ 1327309 h 3114675"/>
                <a:gd name="connsiteX183" fmla="*/ 1532970 w 2076450"/>
                <a:gd name="connsiteY183" fmla="*/ 1327309 h 3114675"/>
                <a:gd name="connsiteX184" fmla="*/ 757635 w 2076450"/>
                <a:gd name="connsiteY184" fmla="*/ 1423511 h 3114675"/>
                <a:gd name="connsiteX185" fmla="*/ 757635 w 2076450"/>
                <a:gd name="connsiteY185" fmla="*/ 1423511 h 3114675"/>
                <a:gd name="connsiteX186" fmla="*/ 1558688 w 2076450"/>
                <a:gd name="connsiteY186" fmla="*/ 1764506 h 3114675"/>
                <a:gd name="connsiteX187" fmla="*/ 1558688 w 2076450"/>
                <a:gd name="connsiteY187" fmla="*/ 1764506 h 3114675"/>
                <a:gd name="connsiteX188" fmla="*/ 1766333 w 2076450"/>
                <a:gd name="connsiteY188" fmla="*/ 1807369 h 3114675"/>
                <a:gd name="connsiteX189" fmla="*/ 1766333 w 2076450"/>
                <a:gd name="connsiteY189" fmla="*/ 1807369 h 3114675"/>
                <a:gd name="connsiteX190" fmla="*/ 1769190 w 2076450"/>
                <a:gd name="connsiteY190" fmla="*/ 2006441 h 3114675"/>
                <a:gd name="connsiteX191" fmla="*/ 1769190 w 2076450"/>
                <a:gd name="connsiteY191" fmla="*/ 2006441 h 3114675"/>
                <a:gd name="connsiteX192" fmla="*/ 151845 w 2076450"/>
                <a:gd name="connsiteY192" fmla="*/ 2329339 h 3114675"/>
                <a:gd name="connsiteX193" fmla="*/ 151845 w 2076450"/>
                <a:gd name="connsiteY193" fmla="*/ 2329339 h 3114675"/>
                <a:gd name="connsiteX194" fmla="*/ 301388 w 2076450"/>
                <a:gd name="connsiteY194" fmla="*/ 2397919 h 3114675"/>
                <a:gd name="connsiteX195" fmla="*/ 469028 w 2076450"/>
                <a:gd name="connsiteY195" fmla="*/ 2426494 h 3114675"/>
                <a:gd name="connsiteX196" fmla="*/ 301388 w 2076450"/>
                <a:gd name="connsiteY196" fmla="*/ 2397919 h 3114675"/>
                <a:gd name="connsiteX197" fmla="*/ 517605 w 2076450"/>
                <a:gd name="connsiteY197" fmla="*/ 2406491 h 3114675"/>
                <a:gd name="connsiteX198" fmla="*/ 517605 w 2076450"/>
                <a:gd name="connsiteY198" fmla="*/ 2406491 h 3114675"/>
                <a:gd name="connsiteX199" fmla="*/ 423308 w 2076450"/>
                <a:gd name="connsiteY199" fmla="*/ 2736056 h 3114675"/>
                <a:gd name="connsiteX200" fmla="*/ 423308 w 2076450"/>
                <a:gd name="connsiteY200" fmla="*/ 2736056 h 3114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</a:cxnLst>
              <a:rect l="l" t="t" r="r" b="b"/>
              <a:pathLst>
                <a:path w="2076450" h="3114675">
                  <a:moveTo>
                    <a:pt x="949088" y="7144"/>
                  </a:moveTo>
                  <a:cubicBezTo>
                    <a:pt x="938610" y="62389"/>
                    <a:pt x="972900" y="200501"/>
                    <a:pt x="883365" y="105251"/>
                  </a:cubicBezTo>
                  <a:cubicBezTo>
                    <a:pt x="870983" y="105251"/>
                    <a:pt x="992903" y="314801"/>
                    <a:pt x="909083" y="238601"/>
                  </a:cubicBezTo>
                  <a:cubicBezTo>
                    <a:pt x="898605" y="171926"/>
                    <a:pt x="863363" y="174784"/>
                    <a:pt x="833835" y="193834"/>
                  </a:cubicBezTo>
                  <a:cubicBezTo>
                    <a:pt x="732870" y="154781"/>
                    <a:pt x="858600" y="285274"/>
                    <a:pt x="817643" y="301466"/>
                  </a:cubicBezTo>
                  <a:cubicBezTo>
                    <a:pt x="895748" y="301466"/>
                    <a:pt x="870030" y="356711"/>
                    <a:pt x="810023" y="328136"/>
                  </a:cubicBezTo>
                  <a:cubicBezTo>
                    <a:pt x="906225" y="459581"/>
                    <a:pt x="686198" y="348139"/>
                    <a:pt x="684293" y="381476"/>
                  </a:cubicBezTo>
                  <a:cubicBezTo>
                    <a:pt x="777638" y="421481"/>
                    <a:pt x="622380" y="411004"/>
                    <a:pt x="703343" y="451009"/>
                  </a:cubicBezTo>
                  <a:cubicBezTo>
                    <a:pt x="833835" y="496729"/>
                    <a:pt x="615713" y="505301"/>
                    <a:pt x="714773" y="539591"/>
                  </a:cubicBezTo>
                  <a:cubicBezTo>
                    <a:pt x="761445" y="555784"/>
                    <a:pt x="860505" y="517684"/>
                    <a:pt x="828120" y="573881"/>
                  </a:cubicBezTo>
                  <a:cubicBezTo>
                    <a:pt x="890033" y="568166"/>
                    <a:pt x="887175" y="616744"/>
                    <a:pt x="947183" y="577691"/>
                  </a:cubicBezTo>
                  <a:cubicBezTo>
                    <a:pt x="977663" y="712946"/>
                    <a:pt x="680483" y="534829"/>
                    <a:pt x="731918" y="618649"/>
                  </a:cubicBezTo>
                  <a:cubicBezTo>
                    <a:pt x="670005" y="621506"/>
                    <a:pt x="575708" y="525304"/>
                    <a:pt x="530940" y="601504"/>
                  </a:cubicBezTo>
                  <a:cubicBezTo>
                    <a:pt x="396638" y="611981"/>
                    <a:pt x="563325" y="655796"/>
                    <a:pt x="597615" y="649129"/>
                  </a:cubicBezTo>
                  <a:cubicBezTo>
                    <a:pt x="487125" y="737711"/>
                    <a:pt x="741443" y="614839"/>
                    <a:pt x="629048" y="688181"/>
                  </a:cubicBezTo>
                  <a:cubicBezTo>
                    <a:pt x="648098" y="779621"/>
                    <a:pt x="834788" y="621506"/>
                    <a:pt x="714773" y="728186"/>
                  </a:cubicBezTo>
                  <a:cubicBezTo>
                    <a:pt x="762398" y="785336"/>
                    <a:pt x="937658" y="659606"/>
                    <a:pt x="947183" y="689134"/>
                  </a:cubicBezTo>
                  <a:cubicBezTo>
                    <a:pt x="884318" y="784384"/>
                    <a:pt x="764303" y="785336"/>
                    <a:pt x="674768" y="758666"/>
                  </a:cubicBezTo>
                  <a:cubicBezTo>
                    <a:pt x="734775" y="821531"/>
                    <a:pt x="570945" y="739616"/>
                    <a:pt x="528083" y="788194"/>
                  </a:cubicBezTo>
                  <a:cubicBezTo>
                    <a:pt x="468075" y="789146"/>
                    <a:pt x="536655" y="836771"/>
                    <a:pt x="530940" y="846296"/>
                  </a:cubicBezTo>
                  <a:cubicBezTo>
                    <a:pt x="598568" y="865346"/>
                    <a:pt x="709058" y="934879"/>
                    <a:pt x="569040" y="912971"/>
                  </a:cubicBezTo>
                  <a:cubicBezTo>
                    <a:pt x="508080" y="912019"/>
                    <a:pt x="602378" y="1022509"/>
                    <a:pt x="502365" y="958691"/>
                  </a:cubicBezTo>
                  <a:cubicBezTo>
                    <a:pt x="451883" y="931069"/>
                    <a:pt x="479505" y="1007269"/>
                    <a:pt x="409973" y="972979"/>
                  </a:cubicBezTo>
                  <a:cubicBezTo>
                    <a:pt x="347108" y="988219"/>
                    <a:pt x="509985" y="1057751"/>
                    <a:pt x="547133" y="1067276"/>
                  </a:cubicBezTo>
                  <a:cubicBezTo>
                    <a:pt x="619523" y="1065371"/>
                    <a:pt x="693818" y="1189196"/>
                    <a:pt x="730013" y="1155859"/>
                  </a:cubicBezTo>
                  <a:cubicBezTo>
                    <a:pt x="636668" y="1233964"/>
                    <a:pt x="512843" y="1162526"/>
                    <a:pt x="409020" y="1204436"/>
                  </a:cubicBezTo>
                  <a:cubicBezTo>
                    <a:pt x="366158" y="1237774"/>
                    <a:pt x="517605" y="1304449"/>
                    <a:pt x="530940" y="1310164"/>
                  </a:cubicBezTo>
                  <a:cubicBezTo>
                    <a:pt x="681435" y="1376839"/>
                    <a:pt x="344250" y="1305401"/>
                    <a:pt x="366158" y="1365409"/>
                  </a:cubicBezTo>
                  <a:cubicBezTo>
                    <a:pt x="458550" y="1420654"/>
                    <a:pt x="541418" y="1491139"/>
                    <a:pt x="637620" y="1413034"/>
                  </a:cubicBezTo>
                  <a:cubicBezTo>
                    <a:pt x="670005" y="1436846"/>
                    <a:pt x="579518" y="1429226"/>
                    <a:pt x="617618" y="1487329"/>
                  </a:cubicBezTo>
                  <a:cubicBezTo>
                    <a:pt x="522368" y="1531144"/>
                    <a:pt x="340440" y="1537811"/>
                    <a:pt x="286148" y="1588294"/>
                  </a:cubicBezTo>
                  <a:cubicBezTo>
                    <a:pt x="365205" y="1664494"/>
                    <a:pt x="451883" y="1673066"/>
                    <a:pt x="550943" y="1688306"/>
                  </a:cubicBezTo>
                  <a:cubicBezTo>
                    <a:pt x="602378" y="1669256"/>
                    <a:pt x="582375" y="1654016"/>
                    <a:pt x="627143" y="1666399"/>
                  </a:cubicBezTo>
                  <a:cubicBezTo>
                    <a:pt x="664290" y="1686401"/>
                    <a:pt x="692865" y="1613059"/>
                    <a:pt x="734775" y="1662589"/>
                  </a:cubicBezTo>
                  <a:cubicBezTo>
                    <a:pt x="690008" y="1710214"/>
                    <a:pt x="452835" y="1702594"/>
                    <a:pt x="604283" y="1759744"/>
                  </a:cubicBezTo>
                  <a:cubicBezTo>
                    <a:pt x="479505" y="1794986"/>
                    <a:pt x="344250" y="1767364"/>
                    <a:pt x="217568" y="1794986"/>
                  </a:cubicBezTo>
                  <a:cubicBezTo>
                    <a:pt x="143273" y="1828324"/>
                    <a:pt x="304245" y="1820704"/>
                    <a:pt x="214710" y="1862614"/>
                  </a:cubicBezTo>
                  <a:cubicBezTo>
                    <a:pt x="175658" y="1910239"/>
                    <a:pt x="361395" y="1859756"/>
                    <a:pt x="335678" y="1914049"/>
                  </a:cubicBezTo>
                  <a:cubicBezTo>
                    <a:pt x="396638" y="1903571"/>
                    <a:pt x="425213" y="1929289"/>
                    <a:pt x="472838" y="1916906"/>
                  </a:cubicBezTo>
                  <a:cubicBezTo>
                    <a:pt x="469028" y="1982629"/>
                    <a:pt x="542370" y="1894999"/>
                    <a:pt x="553800" y="1953101"/>
                  </a:cubicBezTo>
                  <a:cubicBezTo>
                    <a:pt x="615713" y="1943576"/>
                    <a:pt x="709058" y="1981676"/>
                    <a:pt x="602378" y="2004536"/>
                  </a:cubicBezTo>
                  <a:cubicBezTo>
                    <a:pt x="489030" y="2033111"/>
                    <a:pt x="378540" y="2021681"/>
                    <a:pt x="275670" y="2024539"/>
                  </a:cubicBezTo>
                  <a:cubicBezTo>
                    <a:pt x="208995" y="2001679"/>
                    <a:pt x="117555" y="2018824"/>
                    <a:pt x="236618" y="2049304"/>
                  </a:cubicBezTo>
                  <a:cubicBezTo>
                    <a:pt x="332820" y="2060734"/>
                    <a:pt x="145178" y="2068354"/>
                    <a:pt x="262335" y="2092166"/>
                  </a:cubicBezTo>
                  <a:cubicBezTo>
                    <a:pt x="280433" y="2148364"/>
                    <a:pt x="381398" y="2103596"/>
                    <a:pt x="420450" y="2151221"/>
                  </a:cubicBezTo>
                  <a:cubicBezTo>
                    <a:pt x="509033" y="2108359"/>
                    <a:pt x="390923" y="2195036"/>
                    <a:pt x="480458" y="2174081"/>
                  </a:cubicBezTo>
                  <a:cubicBezTo>
                    <a:pt x="575708" y="2192179"/>
                    <a:pt x="324248" y="2267426"/>
                    <a:pt x="269955" y="2228374"/>
                  </a:cubicBezTo>
                  <a:cubicBezTo>
                    <a:pt x="213758" y="2232184"/>
                    <a:pt x="143273" y="2230279"/>
                    <a:pt x="106125" y="2250281"/>
                  </a:cubicBezTo>
                  <a:cubicBezTo>
                    <a:pt x="206138" y="2296001"/>
                    <a:pt x="-65325" y="2235041"/>
                    <a:pt x="45165" y="2290286"/>
                  </a:cubicBezTo>
                  <a:cubicBezTo>
                    <a:pt x="112793" y="2290286"/>
                    <a:pt x="125175" y="2298859"/>
                    <a:pt x="84218" y="2353151"/>
                  </a:cubicBezTo>
                  <a:cubicBezTo>
                    <a:pt x="115650" y="2409349"/>
                    <a:pt x="321390" y="2387441"/>
                    <a:pt x="203280" y="2444591"/>
                  </a:cubicBezTo>
                  <a:cubicBezTo>
                    <a:pt x="147083" y="2440781"/>
                    <a:pt x="65168" y="2474119"/>
                    <a:pt x="172800" y="2478881"/>
                  </a:cubicBezTo>
                  <a:cubicBezTo>
                    <a:pt x="257573" y="2456021"/>
                    <a:pt x="98505" y="2546509"/>
                    <a:pt x="201375" y="2519839"/>
                  </a:cubicBezTo>
                  <a:cubicBezTo>
                    <a:pt x="231855" y="2566511"/>
                    <a:pt x="284243" y="2528411"/>
                    <a:pt x="301388" y="2558891"/>
                  </a:cubicBezTo>
                  <a:cubicBezTo>
                    <a:pt x="372825" y="2593181"/>
                    <a:pt x="107078" y="2573179"/>
                    <a:pt x="76598" y="2589371"/>
                  </a:cubicBezTo>
                  <a:cubicBezTo>
                    <a:pt x="179468" y="2628424"/>
                    <a:pt x="-65325" y="2632234"/>
                    <a:pt x="58500" y="2659856"/>
                  </a:cubicBezTo>
                  <a:cubicBezTo>
                    <a:pt x="100410" y="2649379"/>
                    <a:pt x="183278" y="2635091"/>
                    <a:pt x="110888" y="2693194"/>
                  </a:cubicBezTo>
                  <a:cubicBezTo>
                    <a:pt x="167085" y="2674144"/>
                    <a:pt x="196613" y="2711291"/>
                    <a:pt x="214710" y="2727484"/>
                  </a:cubicBezTo>
                  <a:cubicBezTo>
                    <a:pt x="247095" y="2699861"/>
                    <a:pt x="297578" y="2700814"/>
                    <a:pt x="262335" y="2756059"/>
                  </a:cubicBezTo>
                  <a:cubicBezTo>
                    <a:pt x="318533" y="2733199"/>
                    <a:pt x="387113" y="2651284"/>
                    <a:pt x="358538" y="2733199"/>
                  </a:cubicBezTo>
                  <a:cubicBezTo>
                    <a:pt x="470933" y="2695099"/>
                    <a:pt x="299483" y="2803684"/>
                    <a:pt x="254715" y="2758916"/>
                  </a:cubicBezTo>
                  <a:cubicBezTo>
                    <a:pt x="164228" y="2746534"/>
                    <a:pt x="93743" y="2773204"/>
                    <a:pt x="45165" y="2806541"/>
                  </a:cubicBezTo>
                  <a:cubicBezTo>
                    <a:pt x="161370" y="2800826"/>
                    <a:pt x="-83423" y="2882741"/>
                    <a:pt x="46118" y="2865596"/>
                  </a:cubicBezTo>
                  <a:cubicBezTo>
                    <a:pt x="120413" y="2833211"/>
                    <a:pt x="88028" y="2862739"/>
                    <a:pt x="88980" y="2895124"/>
                  </a:cubicBezTo>
                  <a:cubicBezTo>
                    <a:pt x="132795" y="2875121"/>
                    <a:pt x="93743" y="2942749"/>
                    <a:pt x="155655" y="2902744"/>
                  </a:cubicBezTo>
                  <a:cubicBezTo>
                    <a:pt x="209948" y="2924651"/>
                    <a:pt x="280433" y="2904649"/>
                    <a:pt x="343298" y="2914174"/>
                  </a:cubicBezTo>
                  <a:cubicBezTo>
                    <a:pt x="274718" y="2910364"/>
                    <a:pt x="168038" y="2980849"/>
                    <a:pt x="301388" y="2956084"/>
                  </a:cubicBezTo>
                  <a:cubicBezTo>
                    <a:pt x="209948" y="3007519"/>
                    <a:pt x="314723" y="3013234"/>
                    <a:pt x="361395" y="2980849"/>
                  </a:cubicBezTo>
                  <a:cubicBezTo>
                    <a:pt x="302340" y="3085624"/>
                    <a:pt x="505223" y="3017996"/>
                    <a:pt x="511890" y="3029426"/>
                  </a:cubicBezTo>
                  <a:cubicBezTo>
                    <a:pt x="501413" y="3104674"/>
                    <a:pt x="612855" y="2953226"/>
                    <a:pt x="603330" y="3058001"/>
                  </a:cubicBezTo>
                  <a:cubicBezTo>
                    <a:pt x="692865" y="3028474"/>
                    <a:pt x="764303" y="3011329"/>
                    <a:pt x="825263" y="2954179"/>
                  </a:cubicBezTo>
                  <a:cubicBezTo>
                    <a:pt x="868125" y="3001804"/>
                    <a:pt x="922418" y="2812256"/>
                    <a:pt x="957660" y="2927509"/>
                  </a:cubicBezTo>
                  <a:cubicBezTo>
                    <a:pt x="950993" y="3005614"/>
                    <a:pt x="858600" y="3144679"/>
                    <a:pt x="1013858" y="3102769"/>
                  </a:cubicBezTo>
                  <a:cubicBezTo>
                    <a:pt x="1088153" y="3107531"/>
                    <a:pt x="1167210" y="3117056"/>
                    <a:pt x="1119585" y="3020854"/>
                  </a:cubicBezTo>
                  <a:cubicBezTo>
                    <a:pt x="1095773" y="2920841"/>
                    <a:pt x="1165305" y="2995136"/>
                    <a:pt x="1191975" y="2997041"/>
                  </a:cubicBezTo>
                  <a:cubicBezTo>
                    <a:pt x="1258650" y="3067526"/>
                    <a:pt x="1392953" y="3040856"/>
                    <a:pt x="1468200" y="3026569"/>
                  </a:cubicBezTo>
                  <a:cubicBezTo>
                    <a:pt x="1457723" y="2961799"/>
                    <a:pt x="1529160" y="3010376"/>
                    <a:pt x="1561545" y="3002756"/>
                  </a:cubicBezTo>
                  <a:cubicBezTo>
                    <a:pt x="1593930" y="3038951"/>
                    <a:pt x="1657748" y="3041809"/>
                    <a:pt x="1679655" y="3030379"/>
                  </a:cubicBezTo>
                  <a:cubicBezTo>
                    <a:pt x="1735853" y="3070384"/>
                    <a:pt x="1690133" y="2906554"/>
                    <a:pt x="1748235" y="2996089"/>
                  </a:cubicBezTo>
                  <a:cubicBezTo>
                    <a:pt x="1790145" y="3019901"/>
                    <a:pt x="1871108" y="2994184"/>
                    <a:pt x="1893968" y="3009424"/>
                  </a:cubicBezTo>
                  <a:cubicBezTo>
                    <a:pt x="1889205" y="2959894"/>
                    <a:pt x="1945403" y="2984659"/>
                    <a:pt x="1888253" y="2944654"/>
                  </a:cubicBezTo>
                  <a:cubicBezTo>
                    <a:pt x="1905398" y="2942749"/>
                    <a:pt x="2032080" y="2999899"/>
                    <a:pt x="1964453" y="2947511"/>
                  </a:cubicBezTo>
                  <a:cubicBezTo>
                    <a:pt x="2079705" y="2950369"/>
                    <a:pt x="2036843" y="2899886"/>
                    <a:pt x="1948260" y="2913221"/>
                  </a:cubicBezTo>
                  <a:cubicBezTo>
                    <a:pt x="1883490" y="2907506"/>
                    <a:pt x="1767285" y="2873216"/>
                    <a:pt x="1843485" y="2853214"/>
                  </a:cubicBezTo>
                  <a:cubicBezTo>
                    <a:pt x="1859678" y="2837021"/>
                    <a:pt x="1951118" y="2853214"/>
                    <a:pt x="1883490" y="2818924"/>
                  </a:cubicBezTo>
                  <a:cubicBezTo>
                    <a:pt x="1929210" y="2839879"/>
                    <a:pt x="1994933" y="2790349"/>
                    <a:pt x="1909208" y="2790349"/>
                  </a:cubicBezTo>
                  <a:cubicBezTo>
                    <a:pt x="1962548" y="2784634"/>
                    <a:pt x="1960643" y="2735104"/>
                    <a:pt x="2032080" y="2757964"/>
                  </a:cubicBezTo>
                  <a:cubicBezTo>
                    <a:pt x="1946355" y="2722721"/>
                    <a:pt x="2002553" y="2723674"/>
                    <a:pt x="2036843" y="2711291"/>
                  </a:cubicBezTo>
                  <a:cubicBezTo>
                    <a:pt x="1972073" y="2706529"/>
                    <a:pt x="1884443" y="2674144"/>
                    <a:pt x="2008268" y="2670334"/>
                  </a:cubicBezTo>
                  <a:cubicBezTo>
                    <a:pt x="2132093" y="2620804"/>
                    <a:pt x="1982550" y="2644616"/>
                    <a:pt x="1943498" y="2645569"/>
                  </a:cubicBezTo>
                  <a:cubicBezTo>
                    <a:pt x="2009220" y="2564606"/>
                    <a:pt x="1844438" y="2680811"/>
                    <a:pt x="1793003" y="2651284"/>
                  </a:cubicBezTo>
                  <a:cubicBezTo>
                    <a:pt x="1703468" y="2657951"/>
                    <a:pt x="1501538" y="2570321"/>
                    <a:pt x="1497728" y="2538889"/>
                  </a:cubicBezTo>
                  <a:cubicBezTo>
                    <a:pt x="1528208" y="2533174"/>
                    <a:pt x="1620600" y="2608421"/>
                    <a:pt x="1592025" y="2535079"/>
                  </a:cubicBezTo>
                  <a:cubicBezTo>
                    <a:pt x="1682513" y="2614136"/>
                    <a:pt x="1734900" y="2472214"/>
                    <a:pt x="1824435" y="2566511"/>
                  </a:cubicBezTo>
                  <a:cubicBezTo>
                    <a:pt x="1703468" y="2427446"/>
                    <a:pt x="2134950" y="2525554"/>
                    <a:pt x="1938735" y="2449354"/>
                  </a:cubicBezTo>
                  <a:cubicBezTo>
                    <a:pt x="1915875" y="2436971"/>
                    <a:pt x="2165430" y="2449354"/>
                    <a:pt x="2000648" y="2416969"/>
                  </a:cubicBezTo>
                  <a:cubicBezTo>
                    <a:pt x="1945403" y="2423636"/>
                    <a:pt x="2077800" y="2375059"/>
                    <a:pt x="1993028" y="2387441"/>
                  </a:cubicBezTo>
                  <a:cubicBezTo>
                    <a:pt x="1840628" y="2373154"/>
                    <a:pt x="1705373" y="2382679"/>
                    <a:pt x="1549163" y="2328386"/>
                  </a:cubicBezTo>
                  <a:cubicBezTo>
                    <a:pt x="1451055" y="2308384"/>
                    <a:pt x="1461533" y="2256949"/>
                    <a:pt x="1554878" y="2282666"/>
                  </a:cubicBezTo>
                  <a:cubicBezTo>
                    <a:pt x="1673940" y="2311241"/>
                    <a:pt x="1712040" y="2290286"/>
                    <a:pt x="1823483" y="2291239"/>
                  </a:cubicBezTo>
                  <a:cubicBezTo>
                    <a:pt x="1848248" y="2213134"/>
                    <a:pt x="2103518" y="2260759"/>
                    <a:pt x="1994933" y="2158841"/>
                  </a:cubicBezTo>
                  <a:cubicBezTo>
                    <a:pt x="2052083" y="2127409"/>
                    <a:pt x="2122568" y="2111216"/>
                    <a:pt x="2013983" y="2124551"/>
                  </a:cubicBezTo>
                  <a:cubicBezTo>
                    <a:pt x="1910160" y="2121694"/>
                    <a:pt x="1786335" y="2110264"/>
                    <a:pt x="1699658" y="2061686"/>
                  </a:cubicBezTo>
                  <a:cubicBezTo>
                    <a:pt x="1721565" y="2011204"/>
                    <a:pt x="1873965" y="2095976"/>
                    <a:pt x="1808243" y="2027396"/>
                  </a:cubicBezTo>
                  <a:cubicBezTo>
                    <a:pt x="1845390" y="2033111"/>
                    <a:pt x="1914923" y="2015966"/>
                    <a:pt x="1836818" y="2000726"/>
                  </a:cubicBezTo>
                  <a:cubicBezTo>
                    <a:pt x="1905398" y="1995011"/>
                    <a:pt x="2018745" y="1882616"/>
                    <a:pt x="1875870" y="1935004"/>
                  </a:cubicBezTo>
                  <a:cubicBezTo>
                    <a:pt x="1803480" y="1892141"/>
                    <a:pt x="1605360" y="1962626"/>
                    <a:pt x="1600598" y="1869281"/>
                  </a:cubicBezTo>
                  <a:cubicBezTo>
                    <a:pt x="1705373" y="1889284"/>
                    <a:pt x="1819673" y="1872139"/>
                    <a:pt x="1823483" y="1737836"/>
                  </a:cubicBezTo>
                  <a:cubicBezTo>
                    <a:pt x="1751093" y="1747361"/>
                    <a:pt x="1638698" y="1814036"/>
                    <a:pt x="1592025" y="1729264"/>
                  </a:cubicBezTo>
                  <a:cubicBezTo>
                    <a:pt x="1623458" y="1750219"/>
                    <a:pt x="1690133" y="1734979"/>
                    <a:pt x="1639650" y="1693069"/>
                  </a:cubicBezTo>
                  <a:cubicBezTo>
                    <a:pt x="1694895" y="1704499"/>
                    <a:pt x="1723470" y="1603534"/>
                    <a:pt x="1648223" y="1652111"/>
                  </a:cubicBezTo>
                  <a:cubicBezTo>
                    <a:pt x="1592025" y="1662589"/>
                    <a:pt x="1391048" y="1666399"/>
                    <a:pt x="1437720" y="1613059"/>
                  </a:cubicBezTo>
                  <a:cubicBezTo>
                    <a:pt x="1490108" y="1631156"/>
                    <a:pt x="1612028" y="1607344"/>
                    <a:pt x="1519635" y="1556861"/>
                  </a:cubicBezTo>
                  <a:cubicBezTo>
                    <a:pt x="1584405" y="1579721"/>
                    <a:pt x="1719660" y="1506379"/>
                    <a:pt x="1697753" y="1459706"/>
                  </a:cubicBezTo>
                  <a:cubicBezTo>
                    <a:pt x="1650128" y="1406366"/>
                    <a:pt x="1590120" y="1445419"/>
                    <a:pt x="1539638" y="1435894"/>
                  </a:cubicBezTo>
                  <a:cubicBezTo>
                    <a:pt x="1603455" y="1393984"/>
                    <a:pt x="1538685" y="1420654"/>
                    <a:pt x="1520588" y="1388269"/>
                  </a:cubicBezTo>
                  <a:cubicBezTo>
                    <a:pt x="1471058" y="1479709"/>
                    <a:pt x="1237695" y="1392079"/>
                    <a:pt x="1282463" y="1360646"/>
                  </a:cubicBezTo>
                  <a:cubicBezTo>
                    <a:pt x="1390095" y="1360646"/>
                    <a:pt x="1469153" y="1357789"/>
                    <a:pt x="1568213" y="1328261"/>
                  </a:cubicBezTo>
                  <a:cubicBezTo>
                    <a:pt x="1540590" y="1255871"/>
                    <a:pt x="1746330" y="1225391"/>
                    <a:pt x="1593930" y="1209199"/>
                  </a:cubicBezTo>
                  <a:cubicBezTo>
                    <a:pt x="1560593" y="1139666"/>
                    <a:pt x="1406288" y="1264444"/>
                    <a:pt x="1440578" y="1151096"/>
                  </a:cubicBezTo>
                  <a:cubicBezTo>
                    <a:pt x="1348185" y="1224439"/>
                    <a:pt x="1149113" y="1139666"/>
                    <a:pt x="1127205" y="1094899"/>
                  </a:cubicBezTo>
                  <a:cubicBezTo>
                    <a:pt x="1214835" y="1122521"/>
                    <a:pt x="1236743" y="1092041"/>
                    <a:pt x="1310085" y="1109186"/>
                  </a:cubicBezTo>
                  <a:cubicBezTo>
                    <a:pt x="1300560" y="1078706"/>
                    <a:pt x="1375808" y="1166336"/>
                    <a:pt x="1406288" y="1094899"/>
                  </a:cubicBezTo>
                  <a:cubicBezTo>
                    <a:pt x="1479630" y="1092041"/>
                    <a:pt x="1424385" y="984409"/>
                    <a:pt x="1508205" y="1040606"/>
                  </a:cubicBezTo>
                  <a:cubicBezTo>
                    <a:pt x="1529160" y="993934"/>
                    <a:pt x="1647270" y="970121"/>
                    <a:pt x="1532018" y="969169"/>
                  </a:cubicBezTo>
                  <a:cubicBezTo>
                    <a:pt x="1498680" y="936784"/>
                    <a:pt x="1427243" y="1008221"/>
                    <a:pt x="1421528" y="938689"/>
                  </a:cubicBezTo>
                  <a:cubicBezTo>
                    <a:pt x="1342470" y="1012031"/>
                    <a:pt x="1203405" y="991076"/>
                    <a:pt x="1154828" y="903446"/>
                  </a:cubicBezTo>
                  <a:cubicBezTo>
                    <a:pt x="1199595" y="899636"/>
                    <a:pt x="1305323" y="967264"/>
                    <a:pt x="1304370" y="884396"/>
                  </a:cubicBezTo>
                  <a:cubicBezTo>
                    <a:pt x="1348185" y="928211"/>
                    <a:pt x="1442483" y="914876"/>
                    <a:pt x="1351995" y="868204"/>
                  </a:cubicBezTo>
                  <a:cubicBezTo>
                    <a:pt x="1412003" y="912019"/>
                    <a:pt x="1490108" y="871061"/>
                    <a:pt x="1480583" y="832009"/>
                  </a:cubicBezTo>
                  <a:cubicBezTo>
                    <a:pt x="1625363" y="814864"/>
                    <a:pt x="1407240" y="763429"/>
                    <a:pt x="1363425" y="798671"/>
                  </a:cubicBezTo>
                  <a:cubicBezTo>
                    <a:pt x="1310085" y="684371"/>
                    <a:pt x="1158638" y="849154"/>
                    <a:pt x="1131015" y="755809"/>
                  </a:cubicBezTo>
                  <a:cubicBezTo>
                    <a:pt x="1102440" y="740569"/>
                    <a:pt x="956708" y="677704"/>
                    <a:pt x="1019573" y="655796"/>
                  </a:cubicBezTo>
                  <a:cubicBezTo>
                    <a:pt x="1029098" y="698659"/>
                    <a:pt x="1091963" y="752951"/>
                    <a:pt x="1088153" y="673894"/>
                  </a:cubicBezTo>
                  <a:cubicBezTo>
                    <a:pt x="1124348" y="778669"/>
                    <a:pt x="1187213" y="639604"/>
                    <a:pt x="1244363" y="727234"/>
                  </a:cubicBezTo>
                  <a:cubicBezTo>
                    <a:pt x="1271033" y="670084"/>
                    <a:pt x="1362473" y="748189"/>
                    <a:pt x="1389143" y="667226"/>
                  </a:cubicBezTo>
                  <a:cubicBezTo>
                    <a:pt x="1335803" y="624364"/>
                    <a:pt x="1186260" y="578644"/>
                    <a:pt x="1174830" y="590074"/>
                  </a:cubicBezTo>
                  <a:cubicBezTo>
                    <a:pt x="1230075" y="543401"/>
                    <a:pt x="1273890" y="526256"/>
                    <a:pt x="1180545" y="513874"/>
                  </a:cubicBezTo>
                  <a:cubicBezTo>
                    <a:pt x="1169115" y="479584"/>
                    <a:pt x="1356758" y="462439"/>
                    <a:pt x="1228170" y="415766"/>
                  </a:cubicBezTo>
                  <a:cubicBezTo>
                    <a:pt x="1322468" y="381476"/>
                    <a:pt x="1196738" y="349091"/>
                    <a:pt x="1251983" y="298609"/>
                  </a:cubicBezTo>
                  <a:cubicBezTo>
                    <a:pt x="1150065" y="302419"/>
                    <a:pt x="1100535" y="370046"/>
                    <a:pt x="1035765" y="451009"/>
                  </a:cubicBezTo>
                  <a:cubicBezTo>
                    <a:pt x="960518" y="465296"/>
                    <a:pt x="970995" y="241459"/>
                    <a:pt x="1058625" y="322421"/>
                  </a:cubicBezTo>
                  <a:cubicBezTo>
                    <a:pt x="1152923" y="327184"/>
                    <a:pt x="1126253" y="254794"/>
                    <a:pt x="1052910" y="251936"/>
                  </a:cubicBezTo>
                  <a:cubicBezTo>
                    <a:pt x="1091010" y="247174"/>
                    <a:pt x="1221503" y="242411"/>
                    <a:pt x="1112918" y="211931"/>
                  </a:cubicBezTo>
                  <a:cubicBezTo>
                    <a:pt x="1191023" y="135731"/>
                    <a:pt x="1113870" y="174784"/>
                    <a:pt x="1064340" y="185261"/>
                  </a:cubicBezTo>
                  <a:cubicBezTo>
                    <a:pt x="1030050" y="136684"/>
                    <a:pt x="969090" y="322421"/>
                    <a:pt x="991950" y="191929"/>
                  </a:cubicBezTo>
                  <a:cubicBezTo>
                    <a:pt x="1009095" y="137636"/>
                    <a:pt x="1116728" y="33814"/>
                    <a:pt x="996713" y="111919"/>
                  </a:cubicBezTo>
                  <a:cubicBezTo>
                    <a:pt x="947183" y="118586"/>
                    <a:pt x="1017668" y="24289"/>
                    <a:pt x="949088" y="7144"/>
                  </a:cubicBezTo>
                  <a:lnTo>
                    <a:pt x="949088" y="7144"/>
                  </a:lnTo>
                  <a:lnTo>
                    <a:pt x="949088" y="7144"/>
                  </a:lnTo>
                  <a:close/>
                  <a:moveTo>
                    <a:pt x="886223" y="287179"/>
                  </a:moveTo>
                  <a:cubicBezTo>
                    <a:pt x="950993" y="293846"/>
                    <a:pt x="936705" y="430054"/>
                    <a:pt x="908130" y="327184"/>
                  </a:cubicBezTo>
                  <a:cubicBezTo>
                    <a:pt x="904320" y="313849"/>
                    <a:pt x="879555" y="305276"/>
                    <a:pt x="886223" y="287179"/>
                  </a:cubicBezTo>
                  <a:close/>
                  <a:moveTo>
                    <a:pt x="863363" y="404336"/>
                  </a:moveTo>
                  <a:cubicBezTo>
                    <a:pt x="931943" y="406241"/>
                    <a:pt x="947183" y="504349"/>
                    <a:pt x="876698" y="435769"/>
                  </a:cubicBezTo>
                  <a:cubicBezTo>
                    <a:pt x="877650" y="436721"/>
                    <a:pt x="842408" y="406241"/>
                    <a:pt x="863363" y="404336"/>
                  </a:cubicBezTo>
                  <a:close/>
                  <a:moveTo>
                    <a:pt x="1116728" y="470059"/>
                  </a:moveTo>
                  <a:cubicBezTo>
                    <a:pt x="1142445" y="539591"/>
                    <a:pt x="916703" y="542449"/>
                    <a:pt x="1066245" y="511016"/>
                  </a:cubicBezTo>
                  <a:cubicBezTo>
                    <a:pt x="1087200" y="502444"/>
                    <a:pt x="1096725" y="479584"/>
                    <a:pt x="1116728" y="470059"/>
                  </a:cubicBezTo>
                  <a:close/>
                  <a:moveTo>
                    <a:pt x="1009095" y="584359"/>
                  </a:moveTo>
                  <a:cubicBezTo>
                    <a:pt x="1068150" y="591026"/>
                    <a:pt x="1128158" y="624364"/>
                    <a:pt x="1029098" y="599599"/>
                  </a:cubicBezTo>
                  <a:lnTo>
                    <a:pt x="1009095" y="584359"/>
                  </a:lnTo>
                  <a:lnTo>
                    <a:pt x="1009095" y="584359"/>
                  </a:lnTo>
                  <a:close/>
                  <a:moveTo>
                    <a:pt x="1111013" y="603409"/>
                  </a:moveTo>
                  <a:cubicBezTo>
                    <a:pt x="1179593" y="587216"/>
                    <a:pt x="1100535" y="662464"/>
                    <a:pt x="1111013" y="603409"/>
                  </a:cubicBezTo>
                  <a:close/>
                  <a:moveTo>
                    <a:pt x="1251030" y="632936"/>
                  </a:moveTo>
                  <a:cubicBezTo>
                    <a:pt x="1281510" y="652939"/>
                    <a:pt x="1209120" y="642461"/>
                    <a:pt x="1251030" y="632936"/>
                  </a:cubicBezTo>
                  <a:close/>
                  <a:moveTo>
                    <a:pt x="1032908" y="760571"/>
                  </a:moveTo>
                  <a:cubicBezTo>
                    <a:pt x="1069103" y="813911"/>
                    <a:pt x="1010048" y="875824"/>
                    <a:pt x="1028145" y="780574"/>
                  </a:cubicBezTo>
                  <a:lnTo>
                    <a:pt x="1032908" y="760571"/>
                  </a:lnTo>
                  <a:lnTo>
                    <a:pt x="1032908" y="760571"/>
                  </a:lnTo>
                  <a:close/>
                  <a:moveTo>
                    <a:pt x="961470" y="867251"/>
                  </a:moveTo>
                  <a:cubicBezTo>
                    <a:pt x="989093" y="885349"/>
                    <a:pt x="919560" y="881539"/>
                    <a:pt x="961470" y="867251"/>
                  </a:cubicBezTo>
                  <a:close/>
                  <a:moveTo>
                    <a:pt x="1036718" y="884396"/>
                  </a:moveTo>
                  <a:cubicBezTo>
                    <a:pt x="1052910" y="926306"/>
                    <a:pt x="1022430" y="907256"/>
                    <a:pt x="1036718" y="884396"/>
                  </a:cubicBezTo>
                  <a:close/>
                  <a:moveTo>
                    <a:pt x="921465" y="888206"/>
                  </a:moveTo>
                  <a:cubicBezTo>
                    <a:pt x="952898" y="901541"/>
                    <a:pt x="887175" y="904399"/>
                    <a:pt x="921465" y="888206"/>
                  </a:cubicBezTo>
                  <a:close/>
                  <a:moveTo>
                    <a:pt x="874793" y="904399"/>
                  </a:moveTo>
                  <a:cubicBezTo>
                    <a:pt x="906225" y="917734"/>
                    <a:pt x="840503" y="920591"/>
                    <a:pt x="874793" y="904399"/>
                  </a:cubicBezTo>
                  <a:close/>
                  <a:moveTo>
                    <a:pt x="681435" y="904399"/>
                  </a:moveTo>
                  <a:cubicBezTo>
                    <a:pt x="718583" y="948214"/>
                    <a:pt x="920513" y="896779"/>
                    <a:pt x="777638" y="946309"/>
                  </a:cubicBezTo>
                  <a:cubicBezTo>
                    <a:pt x="745253" y="952976"/>
                    <a:pt x="654765" y="966311"/>
                    <a:pt x="681435" y="904399"/>
                  </a:cubicBezTo>
                  <a:close/>
                  <a:moveTo>
                    <a:pt x="1532970" y="1327309"/>
                  </a:moveTo>
                  <a:cubicBezTo>
                    <a:pt x="1567260" y="1342549"/>
                    <a:pt x="1512015" y="1349216"/>
                    <a:pt x="1532970" y="1327309"/>
                  </a:cubicBezTo>
                  <a:close/>
                  <a:moveTo>
                    <a:pt x="757635" y="1423511"/>
                  </a:moveTo>
                  <a:cubicBezTo>
                    <a:pt x="685245" y="1477804"/>
                    <a:pt x="650003" y="1441609"/>
                    <a:pt x="757635" y="1423511"/>
                  </a:cubicBezTo>
                  <a:close/>
                  <a:moveTo>
                    <a:pt x="1558688" y="1764506"/>
                  </a:moveTo>
                  <a:cubicBezTo>
                    <a:pt x="1654890" y="1774984"/>
                    <a:pt x="1460580" y="1774031"/>
                    <a:pt x="1558688" y="1764506"/>
                  </a:cubicBezTo>
                  <a:close/>
                  <a:moveTo>
                    <a:pt x="1766333" y="1807369"/>
                  </a:moveTo>
                  <a:cubicBezTo>
                    <a:pt x="1818720" y="1806416"/>
                    <a:pt x="1736805" y="1819751"/>
                    <a:pt x="1766333" y="1807369"/>
                  </a:cubicBezTo>
                  <a:close/>
                  <a:moveTo>
                    <a:pt x="1769190" y="2006441"/>
                  </a:moveTo>
                  <a:cubicBezTo>
                    <a:pt x="1833008" y="2002631"/>
                    <a:pt x="1785383" y="2038826"/>
                    <a:pt x="1769190" y="2006441"/>
                  </a:cubicBezTo>
                  <a:close/>
                  <a:moveTo>
                    <a:pt x="151845" y="2329339"/>
                  </a:moveTo>
                  <a:cubicBezTo>
                    <a:pt x="171848" y="2352199"/>
                    <a:pt x="91838" y="2336006"/>
                    <a:pt x="151845" y="2329339"/>
                  </a:cubicBezTo>
                  <a:close/>
                  <a:moveTo>
                    <a:pt x="301388" y="2397919"/>
                  </a:moveTo>
                  <a:cubicBezTo>
                    <a:pt x="343298" y="2445544"/>
                    <a:pt x="410925" y="2404586"/>
                    <a:pt x="469028" y="2426494"/>
                  </a:cubicBezTo>
                  <a:cubicBezTo>
                    <a:pt x="496650" y="2436971"/>
                    <a:pt x="202328" y="2484596"/>
                    <a:pt x="301388" y="2397919"/>
                  </a:cubicBezTo>
                  <a:close/>
                  <a:moveTo>
                    <a:pt x="517605" y="2406491"/>
                  </a:moveTo>
                  <a:cubicBezTo>
                    <a:pt x="548085" y="2420779"/>
                    <a:pt x="455693" y="2415064"/>
                    <a:pt x="517605" y="2406491"/>
                  </a:cubicBezTo>
                  <a:close/>
                  <a:moveTo>
                    <a:pt x="423308" y="2736056"/>
                  </a:moveTo>
                  <a:cubicBezTo>
                    <a:pt x="450930" y="2753201"/>
                    <a:pt x="381398" y="2750344"/>
                    <a:pt x="423308" y="2736056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87755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2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+mn-ea"/>
                <a:cs typeface="+mn-cs"/>
              </a:endParaRPr>
            </a:p>
          </p:txBody>
        </p:sp>
        <p:sp>
          <p:nvSpPr>
            <p:cNvPr id="14" name="Graphic 47">
              <a:extLst>
                <a:ext uri="{FF2B5EF4-FFF2-40B4-BE49-F238E27FC236}">
                  <a16:creationId xmlns:a16="http://schemas.microsoft.com/office/drawing/2014/main" id="{E22D7D4C-E345-4105-9542-18185BDD3656}"/>
                </a:ext>
              </a:extLst>
            </p:cNvPr>
            <p:cNvSpPr/>
            <p:nvPr userDrawn="1"/>
          </p:nvSpPr>
          <p:spPr>
            <a:xfrm>
              <a:off x="10621899" y="4800037"/>
              <a:ext cx="1181002" cy="1771503"/>
            </a:xfrm>
            <a:custGeom>
              <a:avLst/>
              <a:gdLst>
                <a:gd name="connsiteX0" fmla="*/ 949088 w 2076450"/>
                <a:gd name="connsiteY0" fmla="*/ 7144 h 3114675"/>
                <a:gd name="connsiteX1" fmla="*/ 883365 w 2076450"/>
                <a:gd name="connsiteY1" fmla="*/ 105251 h 3114675"/>
                <a:gd name="connsiteX2" fmla="*/ 909083 w 2076450"/>
                <a:gd name="connsiteY2" fmla="*/ 238601 h 3114675"/>
                <a:gd name="connsiteX3" fmla="*/ 833835 w 2076450"/>
                <a:gd name="connsiteY3" fmla="*/ 193834 h 3114675"/>
                <a:gd name="connsiteX4" fmla="*/ 817643 w 2076450"/>
                <a:gd name="connsiteY4" fmla="*/ 301466 h 3114675"/>
                <a:gd name="connsiteX5" fmla="*/ 810023 w 2076450"/>
                <a:gd name="connsiteY5" fmla="*/ 328136 h 3114675"/>
                <a:gd name="connsiteX6" fmla="*/ 684293 w 2076450"/>
                <a:gd name="connsiteY6" fmla="*/ 381476 h 3114675"/>
                <a:gd name="connsiteX7" fmla="*/ 703343 w 2076450"/>
                <a:gd name="connsiteY7" fmla="*/ 451009 h 3114675"/>
                <a:gd name="connsiteX8" fmla="*/ 714773 w 2076450"/>
                <a:gd name="connsiteY8" fmla="*/ 539591 h 3114675"/>
                <a:gd name="connsiteX9" fmla="*/ 828120 w 2076450"/>
                <a:gd name="connsiteY9" fmla="*/ 573881 h 3114675"/>
                <a:gd name="connsiteX10" fmla="*/ 947183 w 2076450"/>
                <a:gd name="connsiteY10" fmla="*/ 577691 h 3114675"/>
                <a:gd name="connsiteX11" fmla="*/ 731918 w 2076450"/>
                <a:gd name="connsiteY11" fmla="*/ 618649 h 3114675"/>
                <a:gd name="connsiteX12" fmla="*/ 530940 w 2076450"/>
                <a:gd name="connsiteY12" fmla="*/ 601504 h 3114675"/>
                <a:gd name="connsiteX13" fmla="*/ 597615 w 2076450"/>
                <a:gd name="connsiteY13" fmla="*/ 649129 h 3114675"/>
                <a:gd name="connsiteX14" fmla="*/ 629048 w 2076450"/>
                <a:gd name="connsiteY14" fmla="*/ 688181 h 3114675"/>
                <a:gd name="connsiteX15" fmla="*/ 714773 w 2076450"/>
                <a:gd name="connsiteY15" fmla="*/ 728186 h 3114675"/>
                <a:gd name="connsiteX16" fmla="*/ 947183 w 2076450"/>
                <a:gd name="connsiteY16" fmla="*/ 689134 h 3114675"/>
                <a:gd name="connsiteX17" fmla="*/ 674768 w 2076450"/>
                <a:gd name="connsiteY17" fmla="*/ 758666 h 3114675"/>
                <a:gd name="connsiteX18" fmla="*/ 528083 w 2076450"/>
                <a:gd name="connsiteY18" fmla="*/ 788194 h 3114675"/>
                <a:gd name="connsiteX19" fmla="*/ 530940 w 2076450"/>
                <a:gd name="connsiteY19" fmla="*/ 846296 h 3114675"/>
                <a:gd name="connsiteX20" fmla="*/ 569040 w 2076450"/>
                <a:gd name="connsiteY20" fmla="*/ 912971 h 3114675"/>
                <a:gd name="connsiteX21" fmla="*/ 502365 w 2076450"/>
                <a:gd name="connsiteY21" fmla="*/ 958691 h 3114675"/>
                <a:gd name="connsiteX22" fmla="*/ 409973 w 2076450"/>
                <a:gd name="connsiteY22" fmla="*/ 972979 h 3114675"/>
                <a:gd name="connsiteX23" fmla="*/ 547133 w 2076450"/>
                <a:gd name="connsiteY23" fmla="*/ 1067276 h 3114675"/>
                <a:gd name="connsiteX24" fmla="*/ 730013 w 2076450"/>
                <a:gd name="connsiteY24" fmla="*/ 1155859 h 3114675"/>
                <a:gd name="connsiteX25" fmla="*/ 409020 w 2076450"/>
                <a:gd name="connsiteY25" fmla="*/ 1204436 h 3114675"/>
                <a:gd name="connsiteX26" fmla="*/ 530940 w 2076450"/>
                <a:gd name="connsiteY26" fmla="*/ 1310164 h 3114675"/>
                <a:gd name="connsiteX27" fmla="*/ 366158 w 2076450"/>
                <a:gd name="connsiteY27" fmla="*/ 1365409 h 3114675"/>
                <a:gd name="connsiteX28" fmla="*/ 637620 w 2076450"/>
                <a:gd name="connsiteY28" fmla="*/ 1413034 h 3114675"/>
                <a:gd name="connsiteX29" fmla="*/ 617618 w 2076450"/>
                <a:gd name="connsiteY29" fmla="*/ 1487329 h 3114675"/>
                <a:gd name="connsiteX30" fmla="*/ 286148 w 2076450"/>
                <a:gd name="connsiteY30" fmla="*/ 1588294 h 3114675"/>
                <a:gd name="connsiteX31" fmla="*/ 550943 w 2076450"/>
                <a:gd name="connsiteY31" fmla="*/ 1688306 h 3114675"/>
                <a:gd name="connsiteX32" fmla="*/ 627143 w 2076450"/>
                <a:gd name="connsiteY32" fmla="*/ 1666399 h 3114675"/>
                <a:gd name="connsiteX33" fmla="*/ 734775 w 2076450"/>
                <a:gd name="connsiteY33" fmla="*/ 1662589 h 3114675"/>
                <a:gd name="connsiteX34" fmla="*/ 604283 w 2076450"/>
                <a:gd name="connsiteY34" fmla="*/ 1759744 h 3114675"/>
                <a:gd name="connsiteX35" fmla="*/ 217568 w 2076450"/>
                <a:gd name="connsiteY35" fmla="*/ 1794986 h 3114675"/>
                <a:gd name="connsiteX36" fmla="*/ 214710 w 2076450"/>
                <a:gd name="connsiteY36" fmla="*/ 1862614 h 3114675"/>
                <a:gd name="connsiteX37" fmla="*/ 335678 w 2076450"/>
                <a:gd name="connsiteY37" fmla="*/ 1914049 h 3114675"/>
                <a:gd name="connsiteX38" fmla="*/ 472838 w 2076450"/>
                <a:gd name="connsiteY38" fmla="*/ 1916906 h 3114675"/>
                <a:gd name="connsiteX39" fmla="*/ 553800 w 2076450"/>
                <a:gd name="connsiteY39" fmla="*/ 1953101 h 3114675"/>
                <a:gd name="connsiteX40" fmla="*/ 602378 w 2076450"/>
                <a:gd name="connsiteY40" fmla="*/ 2004536 h 3114675"/>
                <a:gd name="connsiteX41" fmla="*/ 275670 w 2076450"/>
                <a:gd name="connsiteY41" fmla="*/ 2024539 h 3114675"/>
                <a:gd name="connsiteX42" fmla="*/ 236618 w 2076450"/>
                <a:gd name="connsiteY42" fmla="*/ 2049304 h 3114675"/>
                <a:gd name="connsiteX43" fmla="*/ 262335 w 2076450"/>
                <a:gd name="connsiteY43" fmla="*/ 2092166 h 3114675"/>
                <a:gd name="connsiteX44" fmla="*/ 420450 w 2076450"/>
                <a:gd name="connsiteY44" fmla="*/ 2151221 h 3114675"/>
                <a:gd name="connsiteX45" fmla="*/ 480458 w 2076450"/>
                <a:gd name="connsiteY45" fmla="*/ 2174081 h 3114675"/>
                <a:gd name="connsiteX46" fmla="*/ 269955 w 2076450"/>
                <a:gd name="connsiteY46" fmla="*/ 2228374 h 3114675"/>
                <a:gd name="connsiteX47" fmla="*/ 106125 w 2076450"/>
                <a:gd name="connsiteY47" fmla="*/ 2250281 h 3114675"/>
                <a:gd name="connsiteX48" fmla="*/ 45165 w 2076450"/>
                <a:gd name="connsiteY48" fmla="*/ 2290286 h 3114675"/>
                <a:gd name="connsiteX49" fmla="*/ 84218 w 2076450"/>
                <a:gd name="connsiteY49" fmla="*/ 2353151 h 3114675"/>
                <a:gd name="connsiteX50" fmla="*/ 203280 w 2076450"/>
                <a:gd name="connsiteY50" fmla="*/ 2444591 h 3114675"/>
                <a:gd name="connsiteX51" fmla="*/ 172800 w 2076450"/>
                <a:gd name="connsiteY51" fmla="*/ 2478881 h 3114675"/>
                <a:gd name="connsiteX52" fmla="*/ 201375 w 2076450"/>
                <a:gd name="connsiteY52" fmla="*/ 2519839 h 3114675"/>
                <a:gd name="connsiteX53" fmla="*/ 301388 w 2076450"/>
                <a:gd name="connsiteY53" fmla="*/ 2558891 h 3114675"/>
                <a:gd name="connsiteX54" fmla="*/ 76598 w 2076450"/>
                <a:gd name="connsiteY54" fmla="*/ 2589371 h 3114675"/>
                <a:gd name="connsiteX55" fmla="*/ 58500 w 2076450"/>
                <a:gd name="connsiteY55" fmla="*/ 2659856 h 3114675"/>
                <a:gd name="connsiteX56" fmla="*/ 110888 w 2076450"/>
                <a:gd name="connsiteY56" fmla="*/ 2693194 h 3114675"/>
                <a:gd name="connsiteX57" fmla="*/ 214710 w 2076450"/>
                <a:gd name="connsiteY57" fmla="*/ 2727484 h 3114675"/>
                <a:gd name="connsiteX58" fmla="*/ 262335 w 2076450"/>
                <a:gd name="connsiteY58" fmla="*/ 2756059 h 3114675"/>
                <a:gd name="connsiteX59" fmla="*/ 358538 w 2076450"/>
                <a:gd name="connsiteY59" fmla="*/ 2733199 h 3114675"/>
                <a:gd name="connsiteX60" fmla="*/ 254715 w 2076450"/>
                <a:gd name="connsiteY60" fmla="*/ 2758916 h 3114675"/>
                <a:gd name="connsiteX61" fmla="*/ 45165 w 2076450"/>
                <a:gd name="connsiteY61" fmla="*/ 2806541 h 3114675"/>
                <a:gd name="connsiteX62" fmla="*/ 46118 w 2076450"/>
                <a:gd name="connsiteY62" fmla="*/ 2865596 h 3114675"/>
                <a:gd name="connsiteX63" fmla="*/ 88980 w 2076450"/>
                <a:gd name="connsiteY63" fmla="*/ 2895124 h 3114675"/>
                <a:gd name="connsiteX64" fmla="*/ 155655 w 2076450"/>
                <a:gd name="connsiteY64" fmla="*/ 2902744 h 3114675"/>
                <a:gd name="connsiteX65" fmla="*/ 343298 w 2076450"/>
                <a:gd name="connsiteY65" fmla="*/ 2914174 h 3114675"/>
                <a:gd name="connsiteX66" fmla="*/ 301388 w 2076450"/>
                <a:gd name="connsiteY66" fmla="*/ 2956084 h 3114675"/>
                <a:gd name="connsiteX67" fmla="*/ 361395 w 2076450"/>
                <a:gd name="connsiteY67" fmla="*/ 2980849 h 3114675"/>
                <a:gd name="connsiteX68" fmla="*/ 511890 w 2076450"/>
                <a:gd name="connsiteY68" fmla="*/ 3029426 h 3114675"/>
                <a:gd name="connsiteX69" fmla="*/ 603330 w 2076450"/>
                <a:gd name="connsiteY69" fmla="*/ 3058001 h 3114675"/>
                <a:gd name="connsiteX70" fmla="*/ 825263 w 2076450"/>
                <a:gd name="connsiteY70" fmla="*/ 2954179 h 3114675"/>
                <a:gd name="connsiteX71" fmla="*/ 957660 w 2076450"/>
                <a:gd name="connsiteY71" fmla="*/ 2927509 h 3114675"/>
                <a:gd name="connsiteX72" fmla="*/ 1013858 w 2076450"/>
                <a:gd name="connsiteY72" fmla="*/ 3102769 h 3114675"/>
                <a:gd name="connsiteX73" fmla="*/ 1119585 w 2076450"/>
                <a:gd name="connsiteY73" fmla="*/ 3020854 h 3114675"/>
                <a:gd name="connsiteX74" fmla="*/ 1191975 w 2076450"/>
                <a:gd name="connsiteY74" fmla="*/ 2997041 h 3114675"/>
                <a:gd name="connsiteX75" fmla="*/ 1468200 w 2076450"/>
                <a:gd name="connsiteY75" fmla="*/ 3026569 h 3114675"/>
                <a:gd name="connsiteX76" fmla="*/ 1561545 w 2076450"/>
                <a:gd name="connsiteY76" fmla="*/ 3002756 h 3114675"/>
                <a:gd name="connsiteX77" fmla="*/ 1679655 w 2076450"/>
                <a:gd name="connsiteY77" fmla="*/ 3030379 h 3114675"/>
                <a:gd name="connsiteX78" fmla="*/ 1748235 w 2076450"/>
                <a:gd name="connsiteY78" fmla="*/ 2996089 h 3114675"/>
                <a:gd name="connsiteX79" fmla="*/ 1893968 w 2076450"/>
                <a:gd name="connsiteY79" fmla="*/ 3009424 h 3114675"/>
                <a:gd name="connsiteX80" fmla="*/ 1888253 w 2076450"/>
                <a:gd name="connsiteY80" fmla="*/ 2944654 h 3114675"/>
                <a:gd name="connsiteX81" fmla="*/ 1964453 w 2076450"/>
                <a:gd name="connsiteY81" fmla="*/ 2947511 h 3114675"/>
                <a:gd name="connsiteX82" fmla="*/ 1948260 w 2076450"/>
                <a:gd name="connsiteY82" fmla="*/ 2913221 h 3114675"/>
                <a:gd name="connsiteX83" fmla="*/ 1843485 w 2076450"/>
                <a:gd name="connsiteY83" fmla="*/ 2853214 h 3114675"/>
                <a:gd name="connsiteX84" fmla="*/ 1883490 w 2076450"/>
                <a:gd name="connsiteY84" fmla="*/ 2818924 h 3114675"/>
                <a:gd name="connsiteX85" fmla="*/ 1909208 w 2076450"/>
                <a:gd name="connsiteY85" fmla="*/ 2790349 h 3114675"/>
                <a:gd name="connsiteX86" fmla="*/ 2032080 w 2076450"/>
                <a:gd name="connsiteY86" fmla="*/ 2757964 h 3114675"/>
                <a:gd name="connsiteX87" fmla="*/ 2036843 w 2076450"/>
                <a:gd name="connsiteY87" fmla="*/ 2711291 h 3114675"/>
                <a:gd name="connsiteX88" fmla="*/ 2008268 w 2076450"/>
                <a:gd name="connsiteY88" fmla="*/ 2670334 h 3114675"/>
                <a:gd name="connsiteX89" fmla="*/ 1943498 w 2076450"/>
                <a:gd name="connsiteY89" fmla="*/ 2645569 h 3114675"/>
                <a:gd name="connsiteX90" fmla="*/ 1793003 w 2076450"/>
                <a:gd name="connsiteY90" fmla="*/ 2651284 h 3114675"/>
                <a:gd name="connsiteX91" fmla="*/ 1497728 w 2076450"/>
                <a:gd name="connsiteY91" fmla="*/ 2538889 h 3114675"/>
                <a:gd name="connsiteX92" fmla="*/ 1592025 w 2076450"/>
                <a:gd name="connsiteY92" fmla="*/ 2535079 h 3114675"/>
                <a:gd name="connsiteX93" fmla="*/ 1824435 w 2076450"/>
                <a:gd name="connsiteY93" fmla="*/ 2566511 h 3114675"/>
                <a:gd name="connsiteX94" fmla="*/ 1938735 w 2076450"/>
                <a:gd name="connsiteY94" fmla="*/ 2449354 h 3114675"/>
                <a:gd name="connsiteX95" fmla="*/ 2000648 w 2076450"/>
                <a:gd name="connsiteY95" fmla="*/ 2416969 h 3114675"/>
                <a:gd name="connsiteX96" fmla="*/ 1993028 w 2076450"/>
                <a:gd name="connsiteY96" fmla="*/ 2387441 h 3114675"/>
                <a:gd name="connsiteX97" fmla="*/ 1549163 w 2076450"/>
                <a:gd name="connsiteY97" fmla="*/ 2328386 h 3114675"/>
                <a:gd name="connsiteX98" fmla="*/ 1554878 w 2076450"/>
                <a:gd name="connsiteY98" fmla="*/ 2282666 h 3114675"/>
                <a:gd name="connsiteX99" fmla="*/ 1823483 w 2076450"/>
                <a:gd name="connsiteY99" fmla="*/ 2291239 h 3114675"/>
                <a:gd name="connsiteX100" fmla="*/ 1994933 w 2076450"/>
                <a:gd name="connsiteY100" fmla="*/ 2158841 h 3114675"/>
                <a:gd name="connsiteX101" fmla="*/ 2013983 w 2076450"/>
                <a:gd name="connsiteY101" fmla="*/ 2124551 h 3114675"/>
                <a:gd name="connsiteX102" fmla="*/ 1699658 w 2076450"/>
                <a:gd name="connsiteY102" fmla="*/ 2061686 h 3114675"/>
                <a:gd name="connsiteX103" fmla="*/ 1808243 w 2076450"/>
                <a:gd name="connsiteY103" fmla="*/ 2027396 h 3114675"/>
                <a:gd name="connsiteX104" fmla="*/ 1836818 w 2076450"/>
                <a:gd name="connsiteY104" fmla="*/ 2000726 h 3114675"/>
                <a:gd name="connsiteX105" fmla="*/ 1875870 w 2076450"/>
                <a:gd name="connsiteY105" fmla="*/ 1935004 h 3114675"/>
                <a:gd name="connsiteX106" fmla="*/ 1600598 w 2076450"/>
                <a:gd name="connsiteY106" fmla="*/ 1869281 h 3114675"/>
                <a:gd name="connsiteX107" fmla="*/ 1823483 w 2076450"/>
                <a:gd name="connsiteY107" fmla="*/ 1737836 h 3114675"/>
                <a:gd name="connsiteX108" fmla="*/ 1592025 w 2076450"/>
                <a:gd name="connsiteY108" fmla="*/ 1729264 h 3114675"/>
                <a:gd name="connsiteX109" fmla="*/ 1639650 w 2076450"/>
                <a:gd name="connsiteY109" fmla="*/ 1693069 h 3114675"/>
                <a:gd name="connsiteX110" fmla="*/ 1648223 w 2076450"/>
                <a:gd name="connsiteY110" fmla="*/ 1652111 h 3114675"/>
                <a:gd name="connsiteX111" fmla="*/ 1437720 w 2076450"/>
                <a:gd name="connsiteY111" fmla="*/ 1613059 h 3114675"/>
                <a:gd name="connsiteX112" fmla="*/ 1519635 w 2076450"/>
                <a:gd name="connsiteY112" fmla="*/ 1556861 h 3114675"/>
                <a:gd name="connsiteX113" fmla="*/ 1697753 w 2076450"/>
                <a:gd name="connsiteY113" fmla="*/ 1459706 h 3114675"/>
                <a:gd name="connsiteX114" fmla="*/ 1539638 w 2076450"/>
                <a:gd name="connsiteY114" fmla="*/ 1435894 h 3114675"/>
                <a:gd name="connsiteX115" fmla="*/ 1520588 w 2076450"/>
                <a:gd name="connsiteY115" fmla="*/ 1388269 h 3114675"/>
                <a:gd name="connsiteX116" fmla="*/ 1282463 w 2076450"/>
                <a:gd name="connsiteY116" fmla="*/ 1360646 h 3114675"/>
                <a:gd name="connsiteX117" fmla="*/ 1568213 w 2076450"/>
                <a:gd name="connsiteY117" fmla="*/ 1328261 h 3114675"/>
                <a:gd name="connsiteX118" fmla="*/ 1593930 w 2076450"/>
                <a:gd name="connsiteY118" fmla="*/ 1209199 h 3114675"/>
                <a:gd name="connsiteX119" fmla="*/ 1440578 w 2076450"/>
                <a:gd name="connsiteY119" fmla="*/ 1151096 h 3114675"/>
                <a:gd name="connsiteX120" fmla="*/ 1127205 w 2076450"/>
                <a:gd name="connsiteY120" fmla="*/ 1094899 h 3114675"/>
                <a:gd name="connsiteX121" fmla="*/ 1310085 w 2076450"/>
                <a:gd name="connsiteY121" fmla="*/ 1109186 h 3114675"/>
                <a:gd name="connsiteX122" fmla="*/ 1406288 w 2076450"/>
                <a:gd name="connsiteY122" fmla="*/ 1094899 h 3114675"/>
                <a:gd name="connsiteX123" fmla="*/ 1508205 w 2076450"/>
                <a:gd name="connsiteY123" fmla="*/ 1040606 h 3114675"/>
                <a:gd name="connsiteX124" fmla="*/ 1532018 w 2076450"/>
                <a:gd name="connsiteY124" fmla="*/ 969169 h 3114675"/>
                <a:gd name="connsiteX125" fmla="*/ 1421528 w 2076450"/>
                <a:gd name="connsiteY125" fmla="*/ 938689 h 3114675"/>
                <a:gd name="connsiteX126" fmla="*/ 1154828 w 2076450"/>
                <a:gd name="connsiteY126" fmla="*/ 903446 h 3114675"/>
                <a:gd name="connsiteX127" fmla="*/ 1304370 w 2076450"/>
                <a:gd name="connsiteY127" fmla="*/ 884396 h 3114675"/>
                <a:gd name="connsiteX128" fmla="*/ 1351995 w 2076450"/>
                <a:gd name="connsiteY128" fmla="*/ 868204 h 3114675"/>
                <a:gd name="connsiteX129" fmla="*/ 1480583 w 2076450"/>
                <a:gd name="connsiteY129" fmla="*/ 832009 h 3114675"/>
                <a:gd name="connsiteX130" fmla="*/ 1363425 w 2076450"/>
                <a:gd name="connsiteY130" fmla="*/ 798671 h 3114675"/>
                <a:gd name="connsiteX131" fmla="*/ 1131015 w 2076450"/>
                <a:gd name="connsiteY131" fmla="*/ 755809 h 3114675"/>
                <a:gd name="connsiteX132" fmla="*/ 1019573 w 2076450"/>
                <a:gd name="connsiteY132" fmla="*/ 655796 h 3114675"/>
                <a:gd name="connsiteX133" fmla="*/ 1088153 w 2076450"/>
                <a:gd name="connsiteY133" fmla="*/ 673894 h 3114675"/>
                <a:gd name="connsiteX134" fmla="*/ 1244363 w 2076450"/>
                <a:gd name="connsiteY134" fmla="*/ 727234 h 3114675"/>
                <a:gd name="connsiteX135" fmla="*/ 1389143 w 2076450"/>
                <a:gd name="connsiteY135" fmla="*/ 667226 h 3114675"/>
                <a:gd name="connsiteX136" fmla="*/ 1174830 w 2076450"/>
                <a:gd name="connsiteY136" fmla="*/ 590074 h 3114675"/>
                <a:gd name="connsiteX137" fmla="*/ 1180545 w 2076450"/>
                <a:gd name="connsiteY137" fmla="*/ 513874 h 3114675"/>
                <a:gd name="connsiteX138" fmla="*/ 1228170 w 2076450"/>
                <a:gd name="connsiteY138" fmla="*/ 415766 h 3114675"/>
                <a:gd name="connsiteX139" fmla="*/ 1251983 w 2076450"/>
                <a:gd name="connsiteY139" fmla="*/ 298609 h 3114675"/>
                <a:gd name="connsiteX140" fmla="*/ 1035765 w 2076450"/>
                <a:gd name="connsiteY140" fmla="*/ 451009 h 3114675"/>
                <a:gd name="connsiteX141" fmla="*/ 1058625 w 2076450"/>
                <a:gd name="connsiteY141" fmla="*/ 322421 h 3114675"/>
                <a:gd name="connsiteX142" fmla="*/ 1052910 w 2076450"/>
                <a:gd name="connsiteY142" fmla="*/ 251936 h 3114675"/>
                <a:gd name="connsiteX143" fmla="*/ 1112918 w 2076450"/>
                <a:gd name="connsiteY143" fmla="*/ 211931 h 3114675"/>
                <a:gd name="connsiteX144" fmla="*/ 1064340 w 2076450"/>
                <a:gd name="connsiteY144" fmla="*/ 185261 h 3114675"/>
                <a:gd name="connsiteX145" fmla="*/ 991950 w 2076450"/>
                <a:gd name="connsiteY145" fmla="*/ 191929 h 3114675"/>
                <a:gd name="connsiteX146" fmla="*/ 996713 w 2076450"/>
                <a:gd name="connsiteY146" fmla="*/ 111919 h 3114675"/>
                <a:gd name="connsiteX147" fmla="*/ 949088 w 2076450"/>
                <a:gd name="connsiteY147" fmla="*/ 7144 h 3114675"/>
                <a:gd name="connsiteX148" fmla="*/ 949088 w 2076450"/>
                <a:gd name="connsiteY148" fmla="*/ 7144 h 3114675"/>
                <a:gd name="connsiteX149" fmla="*/ 949088 w 2076450"/>
                <a:gd name="connsiteY149" fmla="*/ 7144 h 3114675"/>
                <a:gd name="connsiteX150" fmla="*/ 886223 w 2076450"/>
                <a:gd name="connsiteY150" fmla="*/ 287179 h 3114675"/>
                <a:gd name="connsiteX151" fmla="*/ 908130 w 2076450"/>
                <a:gd name="connsiteY151" fmla="*/ 327184 h 3114675"/>
                <a:gd name="connsiteX152" fmla="*/ 886223 w 2076450"/>
                <a:gd name="connsiteY152" fmla="*/ 287179 h 3114675"/>
                <a:gd name="connsiteX153" fmla="*/ 863363 w 2076450"/>
                <a:gd name="connsiteY153" fmla="*/ 404336 h 3114675"/>
                <a:gd name="connsiteX154" fmla="*/ 876698 w 2076450"/>
                <a:gd name="connsiteY154" fmla="*/ 435769 h 3114675"/>
                <a:gd name="connsiteX155" fmla="*/ 863363 w 2076450"/>
                <a:gd name="connsiteY155" fmla="*/ 404336 h 3114675"/>
                <a:gd name="connsiteX156" fmla="*/ 1116728 w 2076450"/>
                <a:gd name="connsiteY156" fmla="*/ 470059 h 3114675"/>
                <a:gd name="connsiteX157" fmla="*/ 1066245 w 2076450"/>
                <a:gd name="connsiteY157" fmla="*/ 511016 h 3114675"/>
                <a:gd name="connsiteX158" fmla="*/ 1116728 w 2076450"/>
                <a:gd name="connsiteY158" fmla="*/ 470059 h 3114675"/>
                <a:gd name="connsiteX159" fmla="*/ 1009095 w 2076450"/>
                <a:gd name="connsiteY159" fmla="*/ 584359 h 3114675"/>
                <a:gd name="connsiteX160" fmla="*/ 1029098 w 2076450"/>
                <a:gd name="connsiteY160" fmla="*/ 599599 h 3114675"/>
                <a:gd name="connsiteX161" fmla="*/ 1009095 w 2076450"/>
                <a:gd name="connsiteY161" fmla="*/ 584359 h 3114675"/>
                <a:gd name="connsiteX162" fmla="*/ 1009095 w 2076450"/>
                <a:gd name="connsiteY162" fmla="*/ 584359 h 3114675"/>
                <a:gd name="connsiteX163" fmla="*/ 1111013 w 2076450"/>
                <a:gd name="connsiteY163" fmla="*/ 603409 h 3114675"/>
                <a:gd name="connsiteX164" fmla="*/ 1111013 w 2076450"/>
                <a:gd name="connsiteY164" fmla="*/ 603409 h 3114675"/>
                <a:gd name="connsiteX165" fmla="*/ 1251030 w 2076450"/>
                <a:gd name="connsiteY165" fmla="*/ 632936 h 3114675"/>
                <a:gd name="connsiteX166" fmla="*/ 1251030 w 2076450"/>
                <a:gd name="connsiteY166" fmla="*/ 632936 h 3114675"/>
                <a:gd name="connsiteX167" fmla="*/ 1032908 w 2076450"/>
                <a:gd name="connsiteY167" fmla="*/ 760571 h 3114675"/>
                <a:gd name="connsiteX168" fmla="*/ 1028145 w 2076450"/>
                <a:gd name="connsiteY168" fmla="*/ 780574 h 3114675"/>
                <a:gd name="connsiteX169" fmla="*/ 1032908 w 2076450"/>
                <a:gd name="connsiteY169" fmla="*/ 760571 h 3114675"/>
                <a:gd name="connsiteX170" fmla="*/ 1032908 w 2076450"/>
                <a:gd name="connsiteY170" fmla="*/ 760571 h 3114675"/>
                <a:gd name="connsiteX171" fmla="*/ 961470 w 2076450"/>
                <a:gd name="connsiteY171" fmla="*/ 867251 h 3114675"/>
                <a:gd name="connsiteX172" fmla="*/ 961470 w 2076450"/>
                <a:gd name="connsiteY172" fmla="*/ 867251 h 3114675"/>
                <a:gd name="connsiteX173" fmla="*/ 1036718 w 2076450"/>
                <a:gd name="connsiteY173" fmla="*/ 884396 h 3114675"/>
                <a:gd name="connsiteX174" fmla="*/ 1036718 w 2076450"/>
                <a:gd name="connsiteY174" fmla="*/ 884396 h 3114675"/>
                <a:gd name="connsiteX175" fmla="*/ 921465 w 2076450"/>
                <a:gd name="connsiteY175" fmla="*/ 888206 h 3114675"/>
                <a:gd name="connsiteX176" fmla="*/ 921465 w 2076450"/>
                <a:gd name="connsiteY176" fmla="*/ 888206 h 3114675"/>
                <a:gd name="connsiteX177" fmla="*/ 874793 w 2076450"/>
                <a:gd name="connsiteY177" fmla="*/ 904399 h 3114675"/>
                <a:gd name="connsiteX178" fmla="*/ 874793 w 2076450"/>
                <a:gd name="connsiteY178" fmla="*/ 904399 h 3114675"/>
                <a:gd name="connsiteX179" fmla="*/ 681435 w 2076450"/>
                <a:gd name="connsiteY179" fmla="*/ 904399 h 3114675"/>
                <a:gd name="connsiteX180" fmla="*/ 777638 w 2076450"/>
                <a:gd name="connsiteY180" fmla="*/ 946309 h 3114675"/>
                <a:gd name="connsiteX181" fmla="*/ 681435 w 2076450"/>
                <a:gd name="connsiteY181" fmla="*/ 904399 h 3114675"/>
                <a:gd name="connsiteX182" fmla="*/ 1532970 w 2076450"/>
                <a:gd name="connsiteY182" fmla="*/ 1327309 h 3114675"/>
                <a:gd name="connsiteX183" fmla="*/ 1532970 w 2076450"/>
                <a:gd name="connsiteY183" fmla="*/ 1327309 h 3114675"/>
                <a:gd name="connsiteX184" fmla="*/ 757635 w 2076450"/>
                <a:gd name="connsiteY184" fmla="*/ 1423511 h 3114675"/>
                <a:gd name="connsiteX185" fmla="*/ 757635 w 2076450"/>
                <a:gd name="connsiteY185" fmla="*/ 1423511 h 3114675"/>
                <a:gd name="connsiteX186" fmla="*/ 1558688 w 2076450"/>
                <a:gd name="connsiteY186" fmla="*/ 1764506 h 3114675"/>
                <a:gd name="connsiteX187" fmla="*/ 1558688 w 2076450"/>
                <a:gd name="connsiteY187" fmla="*/ 1764506 h 3114675"/>
                <a:gd name="connsiteX188" fmla="*/ 1766333 w 2076450"/>
                <a:gd name="connsiteY188" fmla="*/ 1807369 h 3114675"/>
                <a:gd name="connsiteX189" fmla="*/ 1766333 w 2076450"/>
                <a:gd name="connsiteY189" fmla="*/ 1807369 h 3114675"/>
                <a:gd name="connsiteX190" fmla="*/ 1769190 w 2076450"/>
                <a:gd name="connsiteY190" fmla="*/ 2006441 h 3114675"/>
                <a:gd name="connsiteX191" fmla="*/ 1769190 w 2076450"/>
                <a:gd name="connsiteY191" fmla="*/ 2006441 h 3114675"/>
                <a:gd name="connsiteX192" fmla="*/ 151845 w 2076450"/>
                <a:gd name="connsiteY192" fmla="*/ 2329339 h 3114675"/>
                <a:gd name="connsiteX193" fmla="*/ 151845 w 2076450"/>
                <a:gd name="connsiteY193" fmla="*/ 2329339 h 3114675"/>
                <a:gd name="connsiteX194" fmla="*/ 301388 w 2076450"/>
                <a:gd name="connsiteY194" fmla="*/ 2397919 h 3114675"/>
                <a:gd name="connsiteX195" fmla="*/ 469028 w 2076450"/>
                <a:gd name="connsiteY195" fmla="*/ 2426494 h 3114675"/>
                <a:gd name="connsiteX196" fmla="*/ 301388 w 2076450"/>
                <a:gd name="connsiteY196" fmla="*/ 2397919 h 3114675"/>
                <a:gd name="connsiteX197" fmla="*/ 517605 w 2076450"/>
                <a:gd name="connsiteY197" fmla="*/ 2406491 h 3114675"/>
                <a:gd name="connsiteX198" fmla="*/ 517605 w 2076450"/>
                <a:gd name="connsiteY198" fmla="*/ 2406491 h 3114675"/>
                <a:gd name="connsiteX199" fmla="*/ 423308 w 2076450"/>
                <a:gd name="connsiteY199" fmla="*/ 2736056 h 3114675"/>
                <a:gd name="connsiteX200" fmla="*/ 423308 w 2076450"/>
                <a:gd name="connsiteY200" fmla="*/ 2736056 h 3114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</a:cxnLst>
              <a:rect l="l" t="t" r="r" b="b"/>
              <a:pathLst>
                <a:path w="2076450" h="3114675">
                  <a:moveTo>
                    <a:pt x="949088" y="7144"/>
                  </a:moveTo>
                  <a:cubicBezTo>
                    <a:pt x="938610" y="62389"/>
                    <a:pt x="972900" y="200501"/>
                    <a:pt x="883365" y="105251"/>
                  </a:cubicBezTo>
                  <a:cubicBezTo>
                    <a:pt x="870983" y="105251"/>
                    <a:pt x="992903" y="314801"/>
                    <a:pt x="909083" y="238601"/>
                  </a:cubicBezTo>
                  <a:cubicBezTo>
                    <a:pt x="898605" y="171926"/>
                    <a:pt x="863363" y="174784"/>
                    <a:pt x="833835" y="193834"/>
                  </a:cubicBezTo>
                  <a:cubicBezTo>
                    <a:pt x="732870" y="154781"/>
                    <a:pt x="858600" y="285274"/>
                    <a:pt x="817643" y="301466"/>
                  </a:cubicBezTo>
                  <a:cubicBezTo>
                    <a:pt x="895748" y="301466"/>
                    <a:pt x="870030" y="356711"/>
                    <a:pt x="810023" y="328136"/>
                  </a:cubicBezTo>
                  <a:cubicBezTo>
                    <a:pt x="906225" y="459581"/>
                    <a:pt x="686198" y="348139"/>
                    <a:pt x="684293" y="381476"/>
                  </a:cubicBezTo>
                  <a:cubicBezTo>
                    <a:pt x="777638" y="421481"/>
                    <a:pt x="622380" y="411004"/>
                    <a:pt x="703343" y="451009"/>
                  </a:cubicBezTo>
                  <a:cubicBezTo>
                    <a:pt x="833835" y="496729"/>
                    <a:pt x="615713" y="505301"/>
                    <a:pt x="714773" y="539591"/>
                  </a:cubicBezTo>
                  <a:cubicBezTo>
                    <a:pt x="761445" y="555784"/>
                    <a:pt x="860505" y="517684"/>
                    <a:pt x="828120" y="573881"/>
                  </a:cubicBezTo>
                  <a:cubicBezTo>
                    <a:pt x="890033" y="568166"/>
                    <a:pt x="887175" y="616744"/>
                    <a:pt x="947183" y="577691"/>
                  </a:cubicBezTo>
                  <a:cubicBezTo>
                    <a:pt x="977663" y="712946"/>
                    <a:pt x="680483" y="534829"/>
                    <a:pt x="731918" y="618649"/>
                  </a:cubicBezTo>
                  <a:cubicBezTo>
                    <a:pt x="670005" y="621506"/>
                    <a:pt x="575708" y="525304"/>
                    <a:pt x="530940" y="601504"/>
                  </a:cubicBezTo>
                  <a:cubicBezTo>
                    <a:pt x="396638" y="611981"/>
                    <a:pt x="563325" y="655796"/>
                    <a:pt x="597615" y="649129"/>
                  </a:cubicBezTo>
                  <a:cubicBezTo>
                    <a:pt x="487125" y="737711"/>
                    <a:pt x="741443" y="614839"/>
                    <a:pt x="629048" y="688181"/>
                  </a:cubicBezTo>
                  <a:cubicBezTo>
                    <a:pt x="648098" y="779621"/>
                    <a:pt x="834788" y="621506"/>
                    <a:pt x="714773" y="728186"/>
                  </a:cubicBezTo>
                  <a:cubicBezTo>
                    <a:pt x="762398" y="785336"/>
                    <a:pt x="937658" y="659606"/>
                    <a:pt x="947183" y="689134"/>
                  </a:cubicBezTo>
                  <a:cubicBezTo>
                    <a:pt x="884318" y="784384"/>
                    <a:pt x="764303" y="785336"/>
                    <a:pt x="674768" y="758666"/>
                  </a:cubicBezTo>
                  <a:cubicBezTo>
                    <a:pt x="734775" y="821531"/>
                    <a:pt x="570945" y="739616"/>
                    <a:pt x="528083" y="788194"/>
                  </a:cubicBezTo>
                  <a:cubicBezTo>
                    <a:pt x="468075" y="789146"/>
                    <a:pt x="536655" y="836771"/>
                    <a:pt x="530940" y="846296"/>
                  </a:cubicBezTo>
                  <a:cubicBezTo>
                    <a:pt x="598568" y="865346"/>
                    <a:pt x="709058" y="934879"/>
                    <a:pt x="569040" y="912971"/>
                  </a:cubicBezTo>
                  <a:cubicBezTo>
                    <a:pt x="508080" y="912019"/>
                    <a:pt x="602378" y="1022509"/>
                    <a:pt x="502365" y="958691"/>
                  </a:cubicBezTo>
                  <a:cubicBezTo>
                    <a:pt x="451883" y="931069"/>
                    <a:pt x="479505" y="1007269"/>
                    <a:pt x="409973" y="972979"/>
                  </a:cubicBezTo>
                  <a:cubicBezTo>
                    <a:pt x="347108" y="988219"/>
                    <a:pt x="509985" y="1057751"/>
                    <a:pt x="547133" y="1067276"/>
                  </a:cubicBezTo>
                  <a:cubicBezTo>
                    <a:pt x="619523" y="1065371"/>
                    <a:pt x="693818" y="1189196"/>
                    <a:pt x="730013" y="1155859"/>
                  </a:cubicBezTo>
                  <a:cubicBezTo>
                    <a:pt x="636668" y="1233964"/>
                    <a:pt x="512843" y="1162526"/>
                    <a:pt x="409020" y="1204436"/>
                  </a:cubicBezTo>
                  <a:cubicBezTo>
                    <a:pt x="366158" y="1237774"/>
                    <a:pt x="517605" y="1304449"/>
                    <a:pt x="530940" y="1310164"/>
                  </a:cubicBezTo>
                  <a:cubicBezTo>
                    <a:pt x="681435" y="1376839"/>
                    <a:pt x="344250" y="1305401"/>
                    <a:pt x="366158" y="1365409"/>
                  </a:cubicBezTo>
                  <a:cubicBezTo>
                    <a:pt x="458550" y="1420654"/>
                    <a:pt x="541418" y="1491139"/>
                    <a:pt x="637620" y="1413034"/>
                  </a:cubicBezTo>
                  <a:cubicBezTo>
                    <a:pt x="670005" y="1436846"/>
                    <a:pt x="579518" y="1429226"/>
                    <a:pt x="617618" y="1487329"/>
                  </a:cubicBezTo>
                  <a:cubicBezTo>
                    <a:pt x="522368" y="1531144"/>
                    <a:pt x="340440" y="1537811"/>
                    <a:pt x="286148" y="1588294"/>
                  </a:cubicBezTo>
                  <a:cubicBezTo>
                    <a:pt x="365205" y="1664494"/>
                    <a:pt x="451883" y="1673066"/>
                    <a:pt x="550943" y="1688306"/>
                  </a:cubicBezTo>
                  <a:cubicBezTo>
                    <a:pt x="602378" y="1669256"/>
                    <a:pt x="582375" y="1654016"/>
                    <a:pt x="627143" y="1666399"/>
                  </a:cubicBezTo>
                  <a:cubicBezTo>
                    <a:pt x="664290" y="1686401"/>
                    <a:pt x="692865" y="1613059"/>
                    <a:pt x="734775" y="1662589"/>
                  </a:cubicBezTo>
                  <a:cubicBezTo>
                    <a:pt x="690008" y="1710214"/>
                    <a:pt x="452835" y="1702594"/>
                    <a:pt x="604283" y="1759744"/>
                  </a:cubicBezTo>
                  <a:cubicBezTo>
                    <a:pt x="479505" y="1794986"/>
                    <a:pt x="344250" y="1767364"/>
                    <a:pt x="217568" y="1794986"/>
                  </a:cubicBezTo>
                  <a:cubicBezTo>
                    <a:pt x="143273" y="1828324"/>
                    <a:pt x="304245" y="1820704"/>
                    <a:pt x="214710" y="1862614"/>
                  </a:cubicBezTo>
                  <a:cubicBezTo>
                    <a:pt x="175658" y="1910239"/>
                    <a:pt x="361395" y="1859756"/>
                    <a:pt x="335678" y="1914049"/>
                  </a:cubicBezTo>
                  <a:cubicBezTo>
                    <a:pt x="396638" y="1903571"/>
                    <a:pt x="425213" y="1929289"/>
                    <a:pt x="472838" y="1916906"/>
                  </a:cubicBezTo>
                  <a:cubicBezTo>
                    <a:pt x="469028" y="1982629"/>
                    <a:pt x="542370" y="1894999"/>
                    <a:pt x="553800" y="1953101"/>
                  </a:cubicBezTo>
                  <a:cubicBezTo>
                    <a:pt x="615713" y="1943576"/>
                    <a:pt x="709058" y="1981676"/>
                    <a:pt x="602378" y="2004536"/>
                  </a:cubicBezTo>
                  <a:cubicBezTo>
                    <a:pt x="489030" y="2033111"/>
                    <a:pt x="378540" y="2021681"/>
                    <a:pt x="275670" y="2024539"/>
                  </a:cubicBezTo>
                  <a:cubicBezTo>
                    <a:pt x="208995" y="2001679"/>
                    <a:pt x="117555" y="2018824"/>
                    <a:pt x="236618" y="2049304"/>
                  </a:cubicBezTo>
                  <a:cubicBezTo>
                    <a:pt x="332820" y="2060734"/>
                    <a:pt x="145178" y="2068354"/>
                    <a:pt x="262335" y="2092166"/>
                  </a:cubicBezTo>
                  <a:cubicBezTo>
                    <a:pt x="280433" y="2148364"/>
                    <a:pt x="381398" y="2103596"/>
                    <a:pt x="420450" y="2151221"/>
                  </a:cubicBezTo>
                  <a:cubicBezTo>
                    <a:pt x="509033" y="2108359"/>
                    <a:pt x="390923" y="2195036"/>
                    <a:pt x="480458" y="2174081"/>
                  </a:cubicBezTo>
                  <a:cubicBezTo>
                    <a:pt x="575708" y="2192179"/>
                    <a:pt x="324248" y="2267426"/>
                    <a:pt x="269955" y="2228374"/>
                  </a:cubicBezTo>
                  <a:cubicBezTo>
                    <a:pt x="213758" y="2232184"/>
                    <a:pt x="143273" y="2230279"/>
                    <a:pt x="106125" y="2250281"/>
                  </a:cubicBezTo>
                  <a:cubicBezTo>
                    <a:pt x="206138" y="2296001"/>
                    <a:pt x="-65325" y="2235041"/>
                    <a:pt x="45165" y="2290286"/>
                  </a:cubicBezTo>
                  <a:cubicBezTo>
                    <a:pt x="112793" y="2290286"/>
                    <a:pt x="125175" y="2298859"/>
                    <a:pt x="84218" y="2353151"/>
                  </a:cubicBezTo>
                  <a:cubicBezTo>
                    <a:pt x="115650" y="2409349"/>
                    <a:pt x="321390" y="2387441"/>
                    <a:pt x="203280" y="2444591"/>
                  </a:cubicBezTo>
                  <a:cubicBezTo>
                    <a:pt x="147083" y="2440781"/>
                    <a:pt x="65168" y="2474119"/>
                    <a:pt x="172800" y="2478881"/>
                  </a:cubicBezTo>
                  <a:cubicBezTo>
                    <a:pt x="257573" y="2456021"/>
                    <a:pt x="98505" y="2546509"/>
                    <a:pt x="201375" y="2519839"/>
                  </a:cubicBezTo>
                  <a:cubicBezTo>
                    <a:pt x="231855" y="2566511"/>
                    <a:pt x="284243" y="2528411"/>
                    <a:pt x="301388" y="2558891"/>
                  </a:cubicBezTo>
                  <a:cubicBezTo>
                    <a:pt x="372825" y="2593181"/>
                    <a:pt x="107078" y="2573179"/>
                    <a:pt x="76598" y="2589371"/>
                  </a:cubicBezTo>
                  <a:cubicBezTo>
                    <a:pt x="179468" y="2628424"/>
                    <a:pt x="-65325" y="2632234"/>
                    <a:pt x="58500" y="2659856"/>
                  </a:cubicBezTo>
                  <a:cubicBezTo>
                    <a:pt x="100410" y="2649379"/>
                    <a:pt x="183278" y="2635091"/>
                    <a:pt x="110888" y="2693194"/>
                  </a:cubicBezTo>
                  <a:cubicBezTo>
                    <a:pt x="167085" y="2674144"/>
                    <a:pt x="196613" y="2711291"/>
                    <a:pt x="214710" y="2727484"/>
                  </a:cubicBezTo>
                  <a:cubicBezTo>
                    <a:pt x="247095" y="2699861"/>
                    <a:pt x="297578" y="2700814"/>
                    <a:pt x="262335" y="2756059"/>
                  </a:cubicBezTo>
                  <a:cubicBezTo>
                    <a:pt x="318533" y="2733199"/>
                    <a:pt x="387113" y="2651284"/>
                    <a:pt x="358538" y="2733199"/>
                  </a:cubicBezTo>
                  <a:cubicBezTo>
                    <a:pt x="470933" y="2695099"/>
                    <a:pt x="299483" y="2803684"/>
                    <a:pt x="254715" y="2758916"/>
                  </a:cubicBezTo>
                  <a:cubicBezTo>
                    <a:pt x="164228" y="2746534"/>
                    <a:pt x="93743" y="2773204"/>
                    <a:pt x="45165" y="2806541"/>
                  </a:cubicBezTo>
                  <a:cubicBezTo>
                    <a:pt x="161370" y="2800826"/>
                    <a:pt x="-83423" y="2882741"/>
                    <a:pt x="46118" y="2865596"/>
                  </a:cubicBezTo>
                  <a:cubicBezTo>
                    <a:pt x="120413" y="2833211"/>
                    <a:pt x="88028" y="2862739"/>
                    <a:pt x="88980" y="2895124"/>
                  </a:cubicBezTo>
                  <a:cubicBezTo>
                    <a:pt x="132795" y="2875121"/>
                    <a:pt x="93743" y="2942749"/>
                    <a:pt x="155655" y="2902744"/>
                  </a:cubicBezTo>
                  <a:cubicBezTo>
                    <a:pt x="209948" y="2924651"/>
                    <a:pt x="280433" y="2904649"/>
                    <a:pt x="343298" y="2914174"/>
                  </a:cubicBezTo>
                  <a:cubicBezTo>
                    <a:pt x="274718" y="2910364"/>
                    <a:pt x="168038" y="2980849"/>
                    <a:pt x="301388" y="2956084"/>
                  </a:cubicBezTo>
                  <a:cubicBezTo>
                    <a:pt x="209948" y="3007519"/>
                    <a:pt x="314723" y="3013234"/>
                    <a:pt x="361395" y="2980849"/>
                  </a:cubicBezTo>
                  <a:cubicBezTo>
                    <a:pt x="302340" y="3085624"/>
                    <a:pt x="505223" y="3017996"/>
                    <a:pt x="511890" y="3029426"/>
                  </a:cubicBezTo>
                  <a:cubicBezTo>
                    <a:pt x="501413" y="3104674"/>
                    <a:pt x="612855" y="2953226"/>
                    <a:pt x="603330" y="3058001"/>
                  </a:cubicBezTo>
                  <a:cubicBezTo>
                    <a:pt x="692865" y="3028474"/>
                    <a:pt x="764303" y="3011329"/>
                    <a:pt x="825263" y="2954179"/>
                  </a:cubicBezTo>
                  <a:cubicBezTo>
                    <a:pt x="868125" y="3001804"/>
                    <a:pt x="922418" y="2812256"/>
                    <a:pt x="957660" y="2927509"/>
                  </a:cubicBezTo>
                  <a:cubicBezTo>
                    <a:pt x="950993" y="3005614"/>
                    <a:pt x="858600" y="3144679"/>
                    <a:pt x="1013858" y="3102769"/>
                  </a:cubicBezTo>
                  <a:cubicBezTo>
                    <a:pt x="1088153" y="3107531"/>
                    <a:pt x="1167210" y="3117056"/>
                    <a:pt x="1119585" y="3020854"/>
                  </a:cubicBezTo>
                  <a:cubicBezTo>
                    <a:pt x="1095773" y="2920841"/>
                    <a:pt x="1165305" y="2995136"/>
                    <a:pt x="1191975" y="2997041"/>
                  </a:cubicBezTo>
                  <a:cubicBezTo>
                    <a:pt x="1258650" y="3067526"/>
                    <a:pt x="1392953" y="3040856"/>
                    <a:pt x="1468200" y="3026569"/>
                  </a:cubicBezTo>
                  <a:cubicBezTo>
                    <a:pt x="1457723" y="2961799"/>
                    <a:pt x="1529160" y="3010376"/>
                    <a:pt x="1561545" y="3002756"/>
                  </a:cubicBezTo>
                  <a:cubicBezTo>
                    <a:pt x="1593930" y="3038951"/>
                    <a:pt x="1657748" y="3041809"/>
                    <a:pt x="1679655" y="3030379"/>
                  </a:cubicBezTo>
                  <a:cubicBezTo>
                    <a:pt x="1735853" y="3070384"/>
                    <a:pt x="1690133" y="2906554"/>
                    <a:pt x="1748235" y="2996089"/>
                  </a:cubicBezTo>
                  <a:cubicBezTo>
                    <a:pt x="1790145" y="3019901"/>
                    <a:pt x="1871108" y="2994184"/>
                    <a:pt x="1893968" y="3009424"/>
                  </a:cubicBezTo>
                  <a:cubicBezTo>
                    <a:pt x="1889205" y="2959894"/>
                    <a:pt x="1945403" y="2984659"/>
                    <a:pt x="1888253" y="2944654"/>
                  </a:cubicBezTo>
                  <a:cubicBezTo>
                    <a:pt x="1905398" y="2942749"/>
                    <a:pt x="2032080" y="2999899"/>
                    <a:pt x="1964453" y="2947511"/>
                  </a:cubicBezTo>
                  <a:cubicBezTo>
                    <a:pt x="2079705" y="2950369"/>
                    <a:pt x="2036843" y="2899886"/>
                    <a:pt x="1948260" y="2913221"/>
                  </a:cubicBezTo>
                  <a:cubicBezTo>
                    <a:pt x="1883490" y="2907506"/>
                    <a:pt x="1767285" y="2873216"/>
                    <a:pt x="1843485" y="2853214"/>
                  </a:cubicBezTo>
                  <a:cubicBezTo>
                    <a:pt x="1859678" y="2837021"/>
                    <a:pt x="1951118" y="2853214"/>
                    <a:pt x="1883490" y="2818924"/>
                  </a:cubicBezTo>
                  <a:cubicBezTo>
                    <a:pt x="1929210" y="2839879"/>
                    <a:pt x="1994933" y="2790349"/>
                    <a:pt x="1909208" y="2790349"/>
                  </a:cubicBezTo>
                  <a:cubicBezTo>
                    <a:pt x="1962548" y="2784634"/>
                    <a:pt x="1960643" y="2735104"/>
                    <a:pt x="2032080" y="2757964"/>
                  </a:cubicBezTo>
                  <a:cubicBezTo>
                    <a:pt x="1946355" y="2722721"/>
                    <a:pt x="2002553" y="2723674"/>
                    <a:pt x="2036843" y="2711291"/>
                  </a:cubicBezTo>
                  <a:cubicBezTo>
                    <a:pt x="1972073" y="2706529"/>
                    <a:pt x="1884443" y="2674144"/>
                    <a:pt x="2008268" y="2670334"/>
                  </a:cubicBezTo>
                  <a:cubicBezTo>
                    <a:pt x="2132093" y="2620804"/>
                    <a:pt x="1982550" y="2644616"/>
                    <a:pt x="1943498" y="2645569"/>
                  </a:cubicBezTo>
                  <a:cubicBezTo>
                    <a:pt x="2009220" y="2564606"/>
                    <a:pt x="1844438" y="2680811"/>
                    <a:pt x="1793003" y="2651284"/>
                  </a:cubicBezTo>
                  <a:cubicBezTo>
                    <a:pt x="1703468" y="2657951"/>
                    <a:pt x="1501538" y="2570321"/>
                    <a:pt x="1497728" y="2538889"/>
                  </a:cubicBezTo>
                  <a:cubicBezTo>
                    <a:pt x="1528208" y="2533174"/>
                    <a:pt x="1620600" y="2608421"/>
                    <a:pt x="1592025" y="2535079"/>
                  </a:cubicBezTo>
                  <a:cubicBezTo>
                    <a:pt x="1682513" y="2614136"/>
                    <a:pt x="1734900" y="2472214"/>
                    <a:pt x="1824435" y="2566511"/>
                  </a:cubicBezTo>
                  <a:cubicBezTo>
                    <a:pt x="1703468" y="2427446"/>
                    <a:pt x="2134950" y="2525554"/>
                    <a:pt x="1938735" y="2449354"/>
                  </a:cubicBezTo>
                  <a:cubicBezTo>
                    <a:pt x="1915875" y="2436971"/>
                    <a:pt x="2165430" y="2449354"/>
                    <a:pt x="2000648" y="2416969"/>
                  </a:cubicBezTo>
                  <a:cubicBezTo>
                    <a:pt x="1945403" y="2423636"/>
                    <a:pt x="2077800" y="2375059"/>
                    <a:pt x="1993028" y="2387441"/>
                  </a:cubicBezTo>
                  <a:cubicBezTo>
                    <a:pt x="1840628" y="2373154"/>
                    <a:pt x="1705373" y="2382679"/>
                    <a:pt x="1549163" y="2328386"/>
                  </a:cubicBezTo>
                  <a:cubicBezTo>
                    <a:pt x="1451055" y="2308384"/>
                    <a:pt x="1461533" y="2256949"/>
                    <a:pt x="1554878" y="2282666"/>
                  </a:cubicBezTo>
                  <a:cubicBezTo>
                    <a:pt x="1673940" y="2311241"/>
                    <a:pt x="1712040" y="2290286"/>
                    <a:pt x="1823483" y="2291239"/>
                  </a:cubicBezTo>
                  <a:cubicBezTo>
                    <a:pt x="1848248" y="2213134"/>
                    <a:pt x="2103518" y="2260759"/>
                    <a:pt x="1994933" y="2158841"/>
                  </a:cubicBezTo>
                  <a:cubicBezTo>
                    <a:pt x="2052083" y="2127409"/>
                    <a:pt x="2122568" y="2111216"/>
                    <a:pt x="2013983" y="2124551"/>
                  </a:cubicBezTo>
                  <a:cubicBezTo>
                    <a:pt x="1910160" y="2121694"/>
                    <a:pt x="1786335" y="2110264"/>
                    <a:pt x="1699658" y="2061686"/>
                  </a:cubicBezTo>
                  <a:cubicBezTo>
                    <a:pt x="1721565" y="2011204"/>
                    <a:pt x="1873965" y="2095976"/>
                    <a:pt x="1808243" y="2027396"/>
                  </a:cubicBezTo>
                  <a:cubicBezTo>
                    <a:pt x="1845390" y="2033111"/>
                    <a:pt x="1914923" y="2015966"/>
                    <a:pt x="1836818" y="2000726"/>
                  </a:cubicBezTo>
                  <a:cubicBezTo>
                    <a:pt x="1905398" y="1995011"/>
                    <a:pt x="2018745" y="1882616"/>
                    <a:pt x="1875870" y="1935004"/>
                  </a:cubicBezTo>
                  <a:cubicBezTo>
                    <a:pt x="1803480" y="1892141"/>
                    <a:pt x="1605360" y="1962626"/>
                    <a:pt x="1600598" y="1869281"/>
                  </a:cubicBezTo>
                  <a:cubicBezTo>
                    <a:pt x="1705373" y="1889284"/>
                    <a:pt x="1819673" y="1872139"/>
                    <a:pt x="1823483" y="1737836"/>
                  </a:cubicBezTo>
                  <a:cubicBezTo>
                    <a:pt x="1751093" y="1747361"/>
                    <a:pt x="1638698" y="1814036"/>
                    <a:pt x="1592025" y="1729264"/>
                  </a:cubicBezTo>
                  <a:cubicBezTo>
                    <a:pt x="1623458" y="1750219"/>
                    <a:pt x="1690133" y="1734979"/>
                    <a:pt x="1639650" y="1693069"/>
                  </a:cubicBezTo>
                  <a:cubicBezTo>
                    <a:pt x="1694895" y="1704499"/>
                    <a:pt x="1723470" y="1603534"/>
                    <a:pt x="1648223" y="1652111"/>
                  </a:cubicBezTo>
                  <a:cubicBezTo>
                    <a:pt x="1592025" y="1662589"/>
                    <a:pt x="1391048" y="1666399"/>
                    <a:pt x="1437720" y="1613059"/>
                  </a:cubicBezTo>
                  <a:cubicBezTo>
                    <a:pt x="1490108" y="1631156"/>
                    <a:pt x="1612028" y="1607344"/>
                    <a:pt x="1519635" y="1556861"/>
                  </a:cubicBezTo>
                  <a:cubicBezTo>
                    <a:pt x="1584405" y="1579721"/>
                    <a:pt x="1719660" y="1506379"/>
                    <a:pt x="1697753" y="1459706"/>
                  </a:cubicBezTo>
                  <a:cubicBezTo>
                    <a:pt x="1650128" y="1406366"/>
                    <a:pt x="1590120" y="1445419"/>
                    <a:pt x="1539638" y="1435894"/>
                  </a:cubicBezTo>
                  <a:cubicBezTo>
                    <a:pt x="1603455" y="1393984"/>
                    <a:pt x="1538685" y="1420654"/>
                    <a:pt x="1520588" y="1388269"/>
                  </a:cubicBezTo>
                  <a:cubicBezTo>
                    <a:pt x="1471058" y="1479709"/>
                    <a:pt x="1237695" y="1392079"/>
                    <a:pt x="1282463" y="1360646"/>
                  </a:cubicBezTo>
                  <a:cubicBezTo>
                    <a:pt x="1390095" y="1360646"/>
                    <a:pt x="1469153" y="1357789"/>
                    <a:pt x="1568213" y="1328261"/>
                  </a:cubicBezTo>
                  <a:cubicBezTo>
                    <a:pt x="1540590" y="1255871"/>
                    <a:pt x="1746330" y="1225391"/>
                    <a:pt x="1593930" y="1209199"/>
                  </a:cubicBezTo>
                  <a:cubicBezTo>
                    <a:pt x="1560593" y="1139666"/>
                    <a:pt x="1406288" y="1264444"/>
                    <a:pt x="1440578" y="1151096"/>
                  </a:cubicBezTo>
                  <a:cubicBezTo>
                    <a:pt x="1348185" y="1224439"/>
                    <a:pt x="1149113" y="1139666"/>
                    <a:pt x="1127205" y="1094899"/>
                  </a:cubicBezTo>
                  <a:cubicBezTo>
                    <a:pt x="1214835" y="1122521"/>
                    <a:pt x="1236743" y="1092041"/>
                    <a:pt x="1310085" y="1109186"/>
                  </a:cubicBezTo>
                  <a:cubicBezTo>
                    <a:pt x="1300560" y="1078706"/>
                    <a:pt x="1375808" y="1166336"/>
                    <a:pt x="1406288" y="1094899"/>
                  </a:cubicBezTo>
                  <a:cubicBezTo>
                    <a:pt x="1479630" y="1092041"/>
                    <a:pt x="1424385" y="984409"/>
                    <a:pt x="1508205" y="1040606"/>
                  </a:cubicBezTo>
                  <a:cubicBezTo>
                    <a:pt x="1529160" y="993934"/>
                    <a:pt x="1647270" y="970121"/>
                    <a:pt x="1532018" y="969169"/>
                  </a:cubicBezTo>
                  <a:cubicBezTo>
                    <a:pt x="1498680" y="936784"/>
                    <a:pt x="1427243" y="1008221"/>
                    <a:pt x="1421528" y="938689"/>
                  </a:cubicBezTo>
                  <a:cubicBezTo>
                    <a:pt x="1342470" y="1012031"/>
                    <a:pt x="1203405" y="991076"/>
                    <a:pt x="1154828" y="903446"/>
                  </a:cubicBezTo>
                  <a:cubicBezTo>
                    <a:pt x="1199595" y="899636"/>
                    <a:pt x="1305323" y="967264"/>
                    <a:pt x="1304370" y="884396"/>
                  </a:cubicBezTo>
                  <a:cubicBezTo>
                    <a:pt x="1348185" y="928211"/>
                    <a:pt x="1442483" y="914876"/>
                    <a:pt x="1351995" y="868204"/>
                  </a:cubicBezTo>
                  <a:cubicBezTo>
                    <a:pt x="1412003" y="912019"/>
                    <a:pt x="1490108" y="871061"/>
                    <a:pt x="1480583" y="832009"/>
                  </a:cubicBezTo>
                  <a:cubicBezTo>
                    <a:pt x="1625363" y="814864"/>
                    <a:pt x="1407240" y="763429"/>
                    <a:pt x="1363425" y="798671"/>
                  </a:cubicBezTo>
                  <a:cubicBezTo>
                    <a:pt x="1310085" y="684371"/>
                    <a:pt x="1158638" y="849154"/>
                    <a:pt x="1131015" y="755809"/>
                  </a:cubicBezTo>
                  <a:cubicBezTo>
                    <a:pt x="1102440" y="740569"/>
                    <a:pt x="956708" y="677704"/>
                    <a:pt x="1019573" y="655796"/>
                  </a:cubicBezTo>
                  <a:cubicBezTo>
                    <a:pt x="1029098" y="698659"/>
                    <a:pt x="1091963" y="752951"/>
                    <a:pt x="1088153" y="673894"/>
                  </a:cubicBezTo>
                  <a:cubicBezTo>
                    <a:pt x="1124348" y="778669"/>
                    <a:pt x="1187213" y="639604"/>
                    <a:pt x="1244363" y="727234"/>
                  </a:cubicBezTo>
                  <a:cubicBezTo>
                    <a:pt x="1271033" y="670084"/>
                    <a:pt x="1362473" y="748189"/>
                    <a:pt x="1389143" y="667226"/>
                  </a:cubicBezTo>
                  <a:cubicBezTo>
                    <a:pt x="1335803" y="624364"/>
                    <a:pt x="1186260" y="578644"/>
                    <a:pt x="1174830" y="590074"/>
                  </a:cubicBezTo>
                  <a:cubicBezTo>
                    <a:pt x="1230075" y="543401"/>
                    <a:pt x="1273890" y="526256"/>
                    <a:pt x="1180545" y="513874"/>
                  </a:cubicBezTo>
                  <a:cubicBezTo>
                    <a:pt x="1169115" y="479584"/>
                    <a:pt x="1356758" y="462439"/>
                    <a:pt x="1228170" y="415766"/>
                  </a:cubicBezTo>
                  <a:cubicBezTo>
                    <a:pt x="1322468" y="381476"/>
                    <a:pt x="1196738" y="349091"/>
                    <a:pt x="1251983" y="298609"/>
                  </a:cubicBezTo>
                  <a:cubicBezTo>
                    <a:pt x="1150065" y="302419"/>
                    <a:pt x="1100535" y="370046"/>
                    <a:pt x="1035765" y="451009"/>
                  </a:cubicBezTo>
                  <a:cubicBezTo>
                    <a:pt x="960518" y="465296"/>
                    <a:pt x="970995" y="241459"/>
                    <a:pt x="1058625" y="322421"/>
                  </a:cubicBezTo>
                  <a:cubicBezTo>
                    <a:pt x="1152923" y="327184"/>
                    <a:pt x="1126253" y="254794"/>
                    <a:pt x="1052910" y="251936"/>
                  </a:cubicBezTo>
                  <a:cubicBezTo>
                    <a:pt x="1091010" y="247174"/>
                    <a:pt x="1221503" y="242411"/>
                    <a:pt x="1112918" y="211931"/>
                  </a:cubicBezTo>
                  <a:cubicBezTo>
                    <a:pt x="1191023" y="135731"/>
                    <a:pt x="1113870" y="174784"/>
                    <a:pt x="1064340" y="185261"/>
                  </a:cubicBezTo>
                  <a:cubicBezTo>
                    <a:pt x="1030050" y="136684"/>
                    <a:pt x="969090" y="322421"/>
                    <a:pt x="991950" y="191929"/>
                  </a:cubicBezTo>
                  <a:cubicBezTo>
                    <a:pt x="1009095" y="137636"/>
                    <a:pt x="1116728" y="33814"/>
                    <a:pt x="996713" y="111919"/>
                  </a:cubicBezTo>
                  <a:cubicBezTo>
                    <a:pt x="947183" y="118586"/>
                    <a:pt x="1017668" y="24289"/>
                    <a:pt x="949088" y="7144"/>
                  </a:cubicBezTo>
                  <a:lnTo>
                    <a:pt x="949088" y="7144"/>
                  </a:lnTo>
                  <a:lnTo>
                    <a:pt x="949088" y="7144"/>
                  </a:lnTo>
                  <a:close/>
                  <a:moveTo>
                    <a:pt x="886223" y="287179"/>
                  </a:moveTo>
                  <a:cubicBezTo>
                    <a:pt x="950993" y="293846"/>
                    <a:pt x="936705" y="430054"/>
                    <a:pt x="908130" y="327184"/>
                  </a:cubicBezTo>
                  <a:cubicBezTo>
                    <a:pt x="904320" y="313849"/>
                    <a:pt x="879555" y="305276"/>
                    <a:pt x="886223" y="287179"/>
                  </a:cubicBezTo>
                  <a:close/>
                  <a:moveTo>
                    <a:pt x="863363" y="404336"/>
                  </a:moveTo>
                  <a:cubicBezTo>
                    <a:pt x="931943" y="406241"/>
                    <a:pt x="947183" y="504349"/>
                    <a:pt x="876698" y="435769"/>
                  </a:cubicBezTo>
                  <a:cubicBezTo>
                    <a:pt x="877650" y="436721"/>
                    <a:pt x="842408" y="406241"/>
                    <a:pt x="863363" y="404336"/>
                  </a:cubicBezTo>
                  <a:close/>
                  <a:moveTo>
                    <a:pt x="1116728" y="470059"/>
                  </a:moveTo>
                  <a:cubicBezTo>
                    <a:pt x="1142445" y="539591"/>
                    <a:pt x="916703" y="542449"/>
                    <a:pt x="1066245" y="511016"/>
                  </a:cubicBezTo>
                  <a:cubicBezTo>
                    <a:pt x="1087200" y="502444"/>
                    <a:pt x="1096725" y="479584"/>
                    <a:pt x="1116728" y="470059"/>
                  </a:cubicBezTo>
                  <a:close/>
                  <a:moveTo>
                    <a:pt x="1009095" y="584359"/>
                  </a:moveTo>
                  <a:cubicBezTo>
                    <a:pt x="1068150" y="591026"/>
                    <a:pt x="1128158" y="624364"/>
                    <a:pt x="1029098" y="599599"/>
                  </a:cubicBezTo>
                  <a:lnTo>
                    <a:pt x="1009095" y="584359"/>
                  </a:lnTo>
                  <a:lnTo>
                    <a:pt x="1009095" y="584359"/>
                  </a:lnTo>
                  <a:close/>
                  <a:moveTo>
                    <a:pt x="1111013" y="603409"/>
                  </a:moveTo>
                  <a:cubicBezTo>
                    <a:pt x="1179593" y="587216"/>
                    <a:pt x="1100535" y="662464"/>
                    <a:pt x="1111013" y="603409"/>
                  </a:cubicBezTo>
                  <a:close/>
                  <a:moveTo>
                    <a:pt x="1251030" y="632936"/>
                  </a:moveTo>
                  <a:cubicBezTo>
                    <a:pt x="1281510" y="652939"/>
                    <a:pt x="1209120" y="642461"/>
                    <a:pt x="1251030" y="632936"/>
                  </a:cubicBezTo>
                  <a:close/>
                  <a:moveTo>
                    <a:pt x="1032908" y="760571"/>
                  </a:moveTo>
                  <a:cubicBezTo>
                    <a:pt x="1069103" y="813911"/>
                    <a:pt x="1010048" y="875824"/>
                    <a:pt x="1028145" y="780574"/>
                  </a:cubicBezTo>
                  <a:lnTo>
                    <a:pt x="1032908" y="760571"/>
                  </a:lnTo>
                  <a:lnTo>
                    <a:pt x="1032908" y="760571"/>
                  </a:lnTo>
                  <a:close/>
                  <a:moveTo>
                    <a:pt x="961470" y="867251"/>
                  </a:moveTo>
                  <a:cubicBezTo>
                    <a:pt x="989093" y="885349"/>
                    <a:pt x="919560" y="881539"/>
                    <a:pt x="961470" y="867251"/>
                  </a:cubicBezTo>
                  <a:close/>
                  <a:moveTo>
                    <a:pt x="1036718" y="884396"/>
                  </a:moveTo>
                  <a:cubicBezTo>
                    <a:pt x="1052910" y="926306"/>
                    <a:pt x="1022430" y="907256"/>
                    <a:pt x="1036718" y="884396"/>
                  </a:cubicBezTo>
                  <a:close/>
                  <a:moveTo>
                    <a:pt x="921465" y="888206"/>
                  </a:moveTo>
                  <a:cubicBezTo>
                    <a:pt x="952898" y="901541"/>
                    <a:pt x="887175" y="904399"/>
                    <a:pt x="921465" y="888206"/>
                  </a:cubicBezTo>
                  <a:close/>
                  <a:moveTo>
                    <a:pt x="874793" y="904399"/>
                  </a:moveTo>
                  <a:cubicBezTo>
                    <a:pt x="906225" y="917734"/>
                    <a:pt x="840503" y="920591"/>
                    <a:pt x="874793" y="904399"/>
                  </a:cubicBezTo>
                  <a:close/>
                  <a:moveTo>
                    <a:pt x="681435" y="904399"/>
                  </a:moveTo>
                  <a:cubicBezTo>
                    <a:pt x="718583" y="948214"/>
                    <a:pt x="920513" y="896779"/>
                    <a:pt x="777638" y="946309"/>
                  </a:cubicBezTo>
                  <a:cubicBezTo>
                    <a:pt x="745253" y="952976"/>
                    <a:pt x="654765" y="966311"/>
                    <a:pt x="681435" y="904399"/>
                  </a:cubicBezTo>
                  <a:close/>
                  <a:moveTo>
                    <a:pt x="1532970" y="1327309"/>
                  </a:moveTo>
                  <a:cubicBezTo>
                    <a:pt x="1567260" y="1342549"/>
                    <a:pt x="1512015" y="1349216"/>
                    <a:pt x="1532970" y="1327309"/>
                  </a:cubicBezTo>
                  <a:close/>
                  <a:moveTo>
                    <a:pt x="757635" y="1423511"/>
                  </a:moveTo>
                  <a:cubicBezTo>
                    <a:pt x="685245" y="1477804"/>
                    <a:pt x="650003" y="1441609"/>
                    <a:pt x="757635" y="1423511"/>
                  </a:cubicBezTo>
                  <a:close/>
                  <a:moveTo>
                    <a:pt x="1558688" y="1764506"/>
                  </a:moveTo>
                  <a:cubicBezTo>
                    <a:pt x="1654890" y="1774984"/>
                    <a:pt x="1460580" y="1774031"/>
                    <a:pt x="1558688" y="1764506"/>
                  </a:cubicBezTo>
                  <a:close/>
                  <a:moveTo>
                    <a:pt x="1766333" y="1807369"/>
                  </a:moveTo>
                  <a:cubicBezTo>
                    <a:pt x="1818720" y="1806416"/>
                    <a:pt x="1736805" y="1819751"/>
                    <a:pt x="1766333" y="1807369"/>
                  </a:cubicBezTo>
                  <a:close/>
                  <a:moveTo>
                    <a:pt x="1769190" y="2006441"/>
                  </a:moveTo>
                  <a:cubicBezTo>
                    <a:pt x="1833008" y="2002631"/>
                    <a:pt x="1785383" y="2038826"/>
                    <a:pt x="1769190" y="2006441"/>
                  </a:cubicBezTo>
                  <a:close/>
                  <a:moveTo>
                    <a:pt x="151845" y="2329339"/>
                  </a:moveTo>
                  <a:cubicBezTo>
                    <a:pt x="171848" y="2352199"/>
                    <a:pt x="91838" y="2336006"/>
                    <a:pt x="151845" y="2329339"/>
                  </a:cubicBezTo>
                  <a:close/>
                  <a:moveTo>
                    <a:pt x="301388" y="2397919"/>
                  </a:moveTo>
                  <a:cubicBezTo>
                    <a:pt x="343298" y="2445544"/>
                    <a:pt x="410925" y="2404586"/>
                    <a:pt x="469028" y="2426494"/>
                  </a:cubicBezTo>
                  <a:cubicBezTo>
                    <a:pt x="496650" y="2436971"/>
                    <a:pt x="202328" y="2484596"/>
                    <a:pt x="301388" y="2397919"/>
                  </a:cubicBezTo>
                  <a:close/>
                  <a:moveTo>
                    <a:pt x="517605" y="2406491"/>
                  </a:moveTo>
                  <a:cubicBezTo>
                    <a:pt x="548085" y="2420779"/>
                    <a:pt x="455693" y="2415064"/>
                    <a:pt x="517605" y="2406491"/>
                  </a:cubicBezTo>
                  <a:close/>
                  <a:moveTo>
                    <a:pt x="423308" y="2736056"/>
                  </a:moveTo>
                  <a:cubicBezTo>
                    <a:pt x="450930" y="2753201"/>
                    <a:pt x="381398" y="2750344"/>
                    <a:pt x="423308" y="2736056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87755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2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+mn-ea"/>
                <a:cs typeface="+mn-cs"/>
              </a:endParaRPr>
            </a:p>
          </p:txBody>
        </p:sp>
        <p:sp>
          <p:nvSpPr>
            <p:cNvPr id="15" name="Freeform: Shape 8">
              <a:extLst>
                <a:ext uri="{FF2B5EF4-FFF2-40B4-BE49-F238E27FC236}">
                  <a16:creationId xmlns:a16="http://schemas.microsoft.com/office/drawing/2014/main" id="{49F4AD4C-36E8-4126-B59D-2769F95BB9D8}"/>
                </a:ext>
              </a:extLst>
            </p:cNvPr>
            <p:cNvSpPr/>
            <p:nvPr userDrawn="1"/>
          </p:nvSpPr>
          <p:spPr>
            <a:xfrm>
              <a:off x="11774817" y="5349833"/>
              <a:ext cx="417182" cy="1122552"/>
            </a:xfrm>
            <a:custGeom>
              <a:avLst/>
              <a:gdLst>
                <a:gd name="connsiteX0" fmla="*/ 150537 w 417182"/>
                <a:gd name="connsiteY0" fmla="*/ 987116 h 1122552"/>
                <a:gd name="connsiteX1" fmla="*/ 150537 w 417182"/>
                <a:gd name="connsiteY1" fmla="*/ 987116 h 1122552"/>
                <a:gd name="connsiteX2" fmla="*/ 184647 w 417182"/>
                <a:gd name="connsiteY2" fmla="*/ 867904 h 1122552"/>
                <a:gd name="connsiteX3" fmla="*/ 184647 w 417182"/>
                <a:gd name="connsiteY3" fmla="*/ 867904 h 1122552"/>
                <a:gd name="connsiteX4" fmla="*/ 106436 w 417182"/>
                <a:gd name="connsiteY4" fmla="*/ 864804 h 1122552"/>
                <a:gd name="connsiteX5" fmla="*/ 167075 w 417182"/>
                <a:gd name="connsiteY5" fmla="*/ 875140 h 1122552"/>
                <a:gd name="connsiteX6" fmla="*/ 106436 w 417182"/>
                <a:gd name="connsiteY6" fmla="*/ 864804 h 1122552"/>
                <a:gd name="connsiteX7" fmla="*/ 52342 w 417182"/>
                <a:gd name="connsiteY7" fmla="*/ 839997 h 1122552"/>
                <a:gd name="connsiteX8" fmla="*/ 52342 w 417182"/>
                <a:gd name="connsiteY8" fmla="*/ 839997 h 1122552"/>
                <a:gd name="connsiteX9" fmla="*/ 271472 w 417182"/>
                <a:gd name="connsiteY9" fmla="*/ 512336 h 1122552"/>
                <a:gd name="connsiteX10" fmla="*/ 271472 w 417182"/>
                <a:gd name="connsiteY10" fmla="*/ 512336 h 1122552"/>
                <a:gd name="connsiteX11" fmla="*/ 313851 w 417182"/>
                <a:gd name="connsiteY11" fmla="*/ 324560 h 1122552"/>
                <a:gd name="connsiteX12" fmla="*/ 313851 w 417182"/>
                <a:gd name="connsiteY12" fmla="*/ 324560 h 1122552"/>
                <a:gd name="connsiteX13" fmla="*/ 243908 w 417182"/>
                <a:gd name="connsiteY13" fmla="*/ 324560 h 1122552"/>
                <a:gd name="connsiteX14" fmla="*/ 278707 w 417182"/>
                <a:gd name="connsiteY14" fmla="*/ 339720 h 1122552"/>
                <a:gd name="connsiteX15" fmla="*/ 243908 w 417182"/>
                <a:gd name="connsiteY15" fmla="*/ 324560 h 1122552"/>
                <a:gd name="connsiteX16" fmla="*/ 330733 w 417182"/>
                <a:gd name="connsiteY16" fmla="*/ 318703 h 1122552"/>
                <a:gd name="connsiteX17" fmla="*/ 330733 w 417182"/>
                <a:gd name="connsiteY17" fmla="*/ 318703 h 1122552"/>
                <a:gd name="connsiteX18" fmla="*/ 345204 w 417182"/>
                <a:gd name="connsiteY18" fmla="*/ 311123 h 1122552"/>
                <a:gd name="connsiteX19" fmla="*/ 345204 w 417182"/>
                <a:gd name="connsiteY19" fmla="*/ 311123 h 1122552"/>
                <a:gd name="connsiteX20" fmla="*/ 371045 w 417182"/>
                <a:gd name="connsiteY20" fmla="*/ 272534 h 1122552"/>
                <a:gd name="connsiteX21" fmla="*/ 369322 w 417182"/>
                <a:gd name="connsiteY21" fmla="*/ 279769 h 1122552"/>
                <a:gd name="connsiteX22" fmla="*/ 371045 w 417182"/>
                <a:gd name="connsiteY22" fmla="*/ 272534 h 1122552"/>
                <a:gd name="connsiteX23" fmla="*/ 399297 w 417182"/>
                <a:gd name="connsiteY23" fmla="*/ 215684 h 1122552"/>
                <a:gd name="connsiteX24" fmla="*/ 399297 w 417182"/>
                <a:gd name="connsiteY24" fmla="*/ 215684 h 1122552"/>
                <a:gd name="connsiteX25" fmla="*/ 362431 w 417182"/>
                <a:gd name="connsiteY25" fmla="*/ 208794 h 1122552"/>
                <a:gd name="connsiteX26" fmla="*/ 369667 w 417182"/>
                <a:gd name="connsiteY26" fmla="*/ 214306 h 1122552"/>
                <a:gd name="connsiteX27" fmla="*/ 362431 w 417182"/>
                <a:gd name="connsiteY27" fmla="*/ 208794 h 1122552"/>
                <a:gd name="connsiteX28" fmla="*/ 401365 w 417182"/>
                <a:gd name="connsiteY28" fmla="*/ 167448 h 1122552"/>
                <a:gd name="connsiteX29" fmla="*/ 383104 w 417182"/>
                <a:gd name="connsiteY29" fmla="*/ 182264 h 1122552"/>
                <a:gd name="connsiteX30" fmla="*/ 401365 w 417182"/>
                <a:gd name="connsiteY30" fmla="*/ 167448 h 1122552"/>
                <a:gd name="connsiteX31" fmla="*/ 309716 w 417182"/>
                <a:gd name="connsiteY31" fmla="*/ 143675 h 1122552"/>
                <a:gd name="connsiteX32" fmla="*/ 314540 w 417182"/>
                <a:gd name="connsiteY32" fmla="*/ 155045 h 1122552"/>
                <a:gd name="connsiteX33" fmla="*/ 309716 w 417182"/>
                <a:gd name="connsiteY33" fmla="*/ 143675 h 1122552"/>
                <a:gd name="connsiteX34" fmla="*/ 317985 w 417182"/>
                <a:gd name="connsiteY34" fmla="*/ 101296 h 1122552"/>
                <a:gd name="connsiteX35" fmla="*/ 325909 w 417182"/>
                <a:gd name="connsiteY35" fmla="*/ 115767 h 1122552"/>
                <a:gd name="connsiteX36" fmla="*/ 317985 w 417182"/>
                <a:gd name="connsiteY36" fmla="*/ 101296 h 1122552"/>
                <a:gd name="connsiteX37" fmla="*/ 340725 w 417182"/>
                <a:gd name="connsiteY37" fmla="*/ 0 h 1122552"/>
                <a:gd name="connsiteX38" fmla="*/ 357952 w 417182"/>
                <a:gd name="connsiteY38" fmla="*/ 37900 h 1122552"/>
                <a:gd name="connsiteX39" fmla="*/ 356229 w 417182"/>
                <a:gd name="connsiteY39" fmla="*/ 66842 h 1122552"/>
                <a:gd name="connsiteX40" fmla="*/ 382414 w 417182"/>
                <a:gd name="connsiteY40" fmla="*/ 64430 h 1122552"/>
                <a:gd name="connsiteX41" fmla="*/ 399986 w 417182"/>
                <a:gd name="connsiteY41" fmla="*/ 74077 h 1122552"/>
                <a:gd name="connsiteX42" fmla="*/ 378280 w 417182"/>
                <a:gd name="connsiteY42" fmla="*/ 88548 h 1122552"/>
                <a:gd name="connsiteX43" fmla="*/ 380347 w 417182"/>
                <a:gd name="connsiteY43" fmla="*/ 114044 h 1122552"/>
                <a:gd name="connsiteX44" fmla="*/ 372078 w 417182"/>
                <a:gd name="connsiteY44" fmla="*/ 160557 h 1122552"/>
                <a:gd name="connsiteX45" fmla="*/ 406145 w 417182"/>
                <a:gd name="connsiteY45" fmla="*/ 122529 h 1122552"/>
                <a:gd name="connsiteX46" fmla="*/ 417182 w 417182"/>
                <a:gd name="connsiteY46" fmla="*/ 118254 h 1122552"/>
                <a:gd name="connsiteX47" fmla="*/ 417182 w 417182"/>
                <a:gd name="connsiteY47" fmla="*/ 252973 h 1122552"/>
                <a:gd name="connsiteX48" fmla="*/ 416438 w 417182"/>
                <a:gd name="connsiteY48" fmla="*/ 253154 h 1122552"/>
                <a:gd name="connsiteX49" fmla="*/ 391028 w 417182"/>
                <a:gd name="connsiteY49" fmla="*/ 241181 h 1122552"/>
                <a:gd name="connsiteX50" fmla="*/ 366221 w 417182"/>
                <a:gd name="connsiteY50" fmla="*/ 234634 h 1122552"/>
                <a:gd name="connsiteX51" fmla="*/ 406532 w 417182"/>
                <a:gd name="connsiteY51" fmla="*/ 270811 h 1122552"/>
                <a:gd name="connsiteX52" fmla="*/ 417182 w 417182"/>
                <a:gd name="connsiteY52" fmla="*/ 278708 h 1122552"/>
                <a:gd name="connsiteX53" fmla="*/ 417182 w 417182"/>
                <a:gd name="connsiteY53" fmla="*/ 324555 h 1122552"/>
                <a:gd name="connsiteX54" fmla="*/ 415146 w 417182"/>
                <a:gd name="connsiteY54" fmla="*/ 324215 h 1122552"/>
                <a:gd name="connsiteX55" fmla="*/ 417182 w 417182"/>
                <a:gd name="connsiteY55" fmla="*/ 326321 h 1122552"/>
                <a:gd name="connsiteX56" fmla="*/ 417182 w 417182"/>
                <a:gd name="connsiteY56" fmla="*/ 395968 h 1122552"/>
                <a:gd name="connsiteX57" fmla="*/ 405154 w 417182"/>
                <a:gd name="connsiteY57" fmla="*/ 393469 h 1122552"/>
                <a:gd name="connsiteX58" fmla="*/ 417182 w 417182"/>
                <a:gd name="connsiteY58" fmla="*/ 403573 h 1122552"/>
                <a:gd name="connsiteX59" fmla="*/ 417182 w 417182"/>
                <a:gd name="connsiteY59" fmla="*/ 1076079 h 1122552"/>
                <a:gd name="connsiteX60" fmla="*/ 408643 w 417182"/>
                <a:gd name="connsiteY60" fmla="*/ 1072003 h 1122552"/>
                <a:gd name="connsiteX61" fmla="*/ 402398 w 417182"/>
                <a:gd name="connsiteY61" fmla="*/ 1090135 h 1122552"/>
                <a:gd name="connsiteX62" fmla="*/ 364154 w 417182"/>
                <a:gd name="connsiteY62" fmla="*/ 1119765 h 1122552"/>
                <a:gd name="connsiteX63" fmla="*/ 343826 w 417182"/>
                <a:gd name="connsiteY63" fmla="*/ 1056370 h 1122552"/>
                <a:gd name="connsiteX64" fmla="*/ 295934 w 417182"/>
                <a:gd name="connsiteY64" fmla="*/ 1066017 h 1122552"/>
                <a:gd name="connsiteX65" fmla="*/ 215656 w 417182"/>
                <a:gd name="connsiteY65" fmla="*/ 1103572 h 1122552"/>
                <a:gd name="connsiteX66" fmla="*/ 182579 w 417182"/>
                <a:gd name="connsiteY66" fmla="*/ 1093235 h 1122552"/>
                <a:gd name="connsiteX67" fmla="*/ 128142 w 417182"/>
                <a:gd name="connsiteY67" fmla="*/ 1075664 h 1122552"/>
                <a:gd name="connsiteX68" fmla="*/ 106436 w 417182"/>
                <a:gd name="connsiteY68" fmla="*/ 1066706 h 1122552"/>
                <a:gd name="connsiteX69" fmla="*/ 121595 w 417182"/>
                <a:gd name="connsiteY69" fmla="*/ 1051546 h 1122552"/>
                <a:gd name="connsiteX70" fmla="*/ 53720 w 417182"/>
                <a:gd name="connsiteY70" fmla="*/ 1047411 h 1122552"/>
                <a:gd name="connsiteX71" fmla="*/ 29602 w 417182"/>
                <a:gd name="connsiteY71" fmla="*/ 1044655 h 1122552"/>
                <a:gd name="connsiteX72" fmla="*/ 14098 w 417182"/>
                <a:gd name="connsiteY72" fmla="*/ 1033974 h 1122552"/>
                <a:gd name="connsiteX73" fmla="*/ 13753 w 417182"/>
                <a:gd name="connsiteY73" fmla="*/ 1012612 h 1122552"/>
                <a:gd name="connsiteX74" fmla="*/ 89553 w 417182"/>
                <a:gd name="connsiteY74" fmla="*/ 995385 h 1122552"/>
                <a:gd name="connsiteX75" fmla="*/ 127108 w 417182"/>
                <a:gd name="connsiteY75" fmla="*/ 986083 h 1122552"/>
                <a:gd name="connsiteX76" fmla="*/ 92309 w 417182"/>
                <a:gd name="connsiteY76" fmla="*/ 994352 h 1122552"/>
                <a:gd name="connsiteX77" fmla="*/ 75082 w 417182"/>
                <a:gd name="connsiteY77" fmla="*/ 984016 h 1122552"/>
                <a:gd name="connsiteX78" fmla="*/ 37527 w 417182"/>
                <a:gd name="connsiteY78" fmla="*/ 971612 h 1122552"/>
                <a:gd name="connsiteX79" fmla="*/ 18577 w 417182"/>
                <a:gd name="connsiteY79" fmla="*/ 959553 h 1122552"/>
                <a:gd name="connsiteX80" fmla="*/ 25123 w 417182"/>
                <a:gd name="connsiteY80" fmla="*/ 934057 h 1122552"/>
                <a:gd name="connsiteX81" fmla="*/ 106436 w 417182"/>
                <a:gd name="connsiteY81" fmla="*/ 923031 h 1122552"/>
                <a:gd name="connsiteX82" fmla="*/ 70258 w 417182"/>
                <a:gd name="connsiteY82" fmla="*/ 908905 h 1122552"/>
                <a:gd name="connsiteX83" fmla="*/ 59922 w 417182"/>
                <a:gd name="connsiteY83" fmla="*/ 894090 h 1122552"/>
                <a:gd name="connsiteX84" fmla="*/ 70947 w 417182"/>
                <a:gd name="connsiteY84" fmla="*/ 881686 h 1122552"/>
                <a:gd name="connsiteX85" fmla="*/ 27880 w 417182"/>
                <a:gd name="connsiteY85" fmla="*/ 848610 h 1122552"/>
                <a:gd name="connsiteX86" fmla="*/ 13753 w 417182"/>
                <a:gd name="connsiteY86" fmla="*/ 825870 h 1122552"/>
                <a:gd name="connsiteX87" fmla="*/ 35804 w 417182"/>
                <a:gd name="connsiteY87" fmla="*/ 811399 h 1122552"/>
                <a:gd name="connsiteX88" fmla="*/ 95065 w 417182"/>
                <a:gd name="connsiteY88" fmla="*/ 803475 h 1122552"/>
                <a:gd name="connsiteX89" fmla="*/ 171210 w 417182"/>
                <a:gd name="connsiteY89" fmla="*/ 783836 h 1122552"/>
                <a:gd name="connsiteX90" fmla="*/ 149503 w 417182"/>
                <a:gd name="connsiteY90" fmla="*/ 775567 h 1122552"/>
                <a:gd name="connsiteX91" fmla="*/ 92309 w 417182"/>
                <a:gd name="connsiteY91" fmla="*/ 754205 h 1122552"/>
                <a:gd name="connsiteX92" fmla="*/ 83007 w 417182"/>
                <a:gd name="connsiteY92" fmla="*/ 738701 h 1122552"/>
                <a:gd name="connsiteX93" fmla="*/ 97133 w 417182"/>
                <a:gd name="connsiteY93" fmla="*/ 729743 h 1122552"/>
                <a:gd name="connsiteX94" fmla="*/ 215311 w 417182"/>
                <a:gd name="connsiteY94" fmla="*/ 722507 h 1122552"/>
                <a:gd name="connsiteX95" fmla="*/ 197739 w 417182"/>
                <a:gd name="connsiteY95" fmla="*/ 703902 h 1122552"/>
                <a:gd name="connsiteX96" fmla="*/ 168453 w 417182"/>
                <a:gd name="connsiteY96" fmla="*/ 690809 h 1122552"/>
                <a:gd name="connsiteX97" fmla="*/ 118839 w 417182"/>
                <a:gd name="connsiteY97" fmla="*/ 689776 h 1122552"/>
                <a:gd name="connsiteX98" fmla="*/ 75082 w 417182"/>
                <a:gd name="connsiteY98" fmla="*/ 671170 h 1122552"/>
                <a:gd name="connsiteX99" fmla="*/ 76116 w 417182"/>
                <a:gd name="connsiteY99" fmla="*/ 646708 h 1122552"/>
                <a:gd name="connsiteX100" fmla="*/ 216000 w 417182"/>
                <a:gd name="connsiteY100" fmla="*/ 633960 h 1122552"/>
                <a:gd name="connsiteX101" fmla="*/ 263203 w 417182"/>
                <a:gd name="connsiteY101" fmla="*/ 598816 h 1122552"/>
                <a:gd name="connsiteX102" fmla="*/ 224269 w 417182"/>
                <a:gd name="connsiteY102" fmla="*/ 600194 h 1122552"/>
                <a:gd name="connsiteX103" fmla="*/ 196706 w 417182"/>
                <a:gd name="connsiteY103" fmla="*/ 608119 h 1122552"/>
                <a:gd name="connsiteX104" fmla="*/ 100923 w 417182"/>
                <a:gd name="connsiteY104" fmla="*/ 571942 h 1122552"/>
                <a:gd name="connsiteX105" fmla="*/ 220824 w 417182"/>
                <a:gd name="connsiteY105" fmla="*/ 535420 h 1122552"/>
                <a:gd name="connsiteX106" fmla="*/ 228059 w 417182"/>
                <a:gd name="connsiteY106" fmla="*/ 508546 h 1122552"/>
                <a:gd name="connsiteX107" fmla="*/ 129865 w 417182"/>
                <a:gd name="connsiteY107" fmla="*/ 491319 h 1122552"/>
                <a:gd name="connsiteX108" fmla="*/ 189470 w 417182"/>
                <a:gd name="connsiteY108" fmla="*/ 471335 h 1122552"/>
                <a:gd name="connsiteX109" fmla="*/ 145369 w 417182"/>
                <a:gd name="connsiteY109" fmla="*/ 433091 h 1122552"/>
                <a:gd name="connsiteX110" fmla="*/ 261480 w 417182"/>
                <a:gd name="connsiteY110" fmla="*/ 415519 h 1122552"/>
                <a:gd name="connsiteX111" fmla="*/ 195328 w 417182"/>
                <a:gd name="connsiteY111" fmla="*/ 383477 h 1122552"/>
                <a:gd name="connsiteX112" fmla="*/ 145714 w 417182"/>
                <a:gd name="connsiteY112" fmla="*/ 349367 h 1122552"/>
                <a:gd name="connsiteX113" fmla="*/ 179134 w 417182"/>
                <a:gd name="connsiteY113" fmla="*/ 344199 h 1122552"/>
                <a:gd name="connsiteX114" fmla="*/ 203252 w 417182"/>
                <a:gd name="connsiteY114" fmla="*/ 327661 h 1122552"/>
                <a:gd name="connsiteX115" fmla="*/ 189470 w 417182"/>
                <a:gd name="connsiteY115" fmla="*/ 303543 h 1122552"/>
                <a:gd name="connsiteX116" fmla="*/ 188437 w 417182"/>
                <a:gd name="connsiteY116" fmla="*/ 282526 h 1122552"/>
                <a:gd name="connsiteX117" fmla="*/ 241497 w 417182"/>
                <a:gd name="connsiteY117" fmla="*/ 271845 h 1122552"/>
                <a:gd name="connsiteX118" fmla="*/ 340036 w 417182"/>
                <a:gd name="connsiteY118" fmla="*/ 246693 h 1122552"/>
                <a:gd name="connsiteX119" fmla="*/ 255967 w 417182"/>
                <a:gd name="connsiteY119" fmla="*/ 260819 h 1122552"/>
                <a:gd name="connsiteX120" fmla="*/ 224958 w 417182"/>
                <a:gd name="connsiteY120" fmla="*/ 246349 h 1122552"/>
                <a:gd name="connsiteX121" fmla="*/ 213588 w 417182"/>
                <a:gd name="connsiteY121" fmla="*/ 232222 h 1122552"/>
                <a:gd name="connsiteX122" fmla="*/ 189470 w 417182"/>
                <a:gd name="connsiteY122" fmla="*/ 214995 h 1122552"/>
                <a:gd name="connsiteX123" fmla="*/ 262169 w 417182"/>
                <a:gd name="connsiteY123" fmla="*/ 221197 h 1122552"/>
                <a:gd name="connsiteX124" fmla="*/ 340036 w 417182"/>
                <a:gd name="connsiteY124" fmla="*/ 206382 h 1122552"/>
                <a:gd name="connsiteX125" fmla="*/ 296968 w 417182"/>
                <a:gd name="connsiteY125" fmla="*/ 205003 h 1122552"/>
                <a:gd name="connsiteX126" fmla="*/ 255967 w 417182"/>
                <a:gd name="connsiteY126" fmla="*/ 192600 h 1122552"/>
                <a:gd name="connsiteX127" fmla="*/ 251833 w 417182"/>
                <a:gd name="connsiteY127" fmla="*/ 160557 h 1122552"/>
                <a:gd name="connsiteX128" fmla="*/ 244942 w 417182"/>
                <a:gd name="connsiteY128" fmla="*/ 135406 h 1122552"/>
                <a:gd name="connsiteX129" fmla="*/ 290422 w 417182"/>
                <a:gd name="connsiteY129" fmla="*/ 116111 h 1122552"/>
                <a:gd name="connsiteX130" fmla="*/ 293178 w 417182"/>
                <a:gd name="connsiteY130" fmla="*/ 106464 h 1122552"/>
                <a:gd name="connsiteX131" fmla="*/ 299035 w 417182"/>
                <a:gd name="connsiteY131" fmla="*/ 67531 h 1122552"/>
                <a:gd name="connsiteX132" fmla="*/ 326254 w 417182"/>
                <a:gd name="connsiteY132" fmla="*/ 83724 h 1122552"/>
                <a:gd name="connsiteX133" fmla="*/ 316951 w 417182"/>
                <a:gd name="connsiteY133" fmla="*/ 35488 h 1122552"/>
                <a:gd name="connsiteX134" fmla="*/ 340725 w 417182"/>
                <a:gd name="connsiteY134" fmla="*/ 0 h 1122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417182" h="1122552">
                  <a:moveTo>
                    <a:pt x="150537" y="987116"/>
                  </a:moveTo>
                  <a:cubicBezTo>
                    <a:pt x="135377" y="992285"/>
                    <a:pt x="160529" y="993318"/>
                    <a:pt x="150537" y="987116"/>
                  </a:cubicBezTo>
                  <a:close/>
                  <a:moveTo>
                    <a:pt x="184647" y="867904"/>
                  </a:moveTo>
                  <a:cubicBezTo>
                    <a:pt x="162252" y="871005"/>
                    <a:pt x="195672" y="873073"/>
                    <a:pt x="184647" y="867904"/>
                  </a:cubicBezTo>
                  <a:close/>
                  <a:moveTo>
                    <a:pt x="106436" y="864804"/>
                  </a:moveTo>
                  <a:cubicBezTo>
                    <a:pt x="70603" y="896157"/>
                    <a:pt x="177067" y="878930"/>
                    <a:pt x="167075" y="875140"/>
                  </a:cubicBezTo>
                  <a:cubicBezTo>
                    <a:pt x="146058" y="867215"/>
                    <a:pt x="121595" y="882031"/>
                    <a:pt x="106436" y="864804"/>
                  </a:cubicBezTo>
                  <a:close/>
                  <a:moveTo>
                    <a:pt x="52342" y="839997"/>
                  </a:moveTo>
                  <a:cubicBezTo>
                    <a:pt x="30636" y="842408"/>
                    <a:pt x="59578" y="848266"/>
                    <a:pt x="52342" y="839997"/>
                  </a:cubicBezTo>
                  <a:close/>
                  <a:moveTo>
                    <a:pt x="271472" y="512336"/>
                  </a:moveTo>
                  <a:cubicBezTo>
                    <a:pt x="232538" y="518882"/>
                    <a:pt x="245286" y="531975"/>
                    <a:pt x="271472" y="512336"/>
                  </a:cubicBezTo>
                  <a:close/>
                  <a:moveTo>
                    <a:pt x="313851" y="324560"/>
                  </a:moveTo>
                  <a:cubicBezTo>
                    <a:pt x="301447" y="330417"/>
                    <a:pt x="325220" y="329384"/>
                    <a:pt x="313851" y="324560"/>
                  </a:cubicBezTo>
                  <a:close/>
                  <a:moveTo>
                    <a:pt x="243908" y="324560"/>
                  </a:moveTo>
                  <a:cubicBezTo>
                    <a:pt x="234261" y="346955"/>
                    <a:pt x="266993" y="342132"/>
                    <a:pt x="278707" y="339720"/>
                  </a:cubicBezTo>
                  <a:cubicBezTo>
                    <a:pt x="330389" y="321804"/>
                    <a:pt x="257345" y="340409"/>
                    <a:pt x="243908" y="324560"/>
                  </a:cubicBezTo>
                  <a:close/>
                  <a:moveTo>
                    <a:pt x="330733" y="318703"/>
                  </a:moveTo>
                  <a:cubicBezTo>
                    <a:pt x="318329" y="324560"/>
                    <a:pt x="342103" y="323526"/>
                    <a:pt x="330733" y="318703"/>
                  </a:cubicBezTo>
                  <a:close/>
                  <a:moveTo>
                    <a:pt x="345204" y="311123"/>
                  </a:moveTo>
                  <a:cubicBezTo>
                    <a:pt x="330044" y="316291"/>
                    <a:pt x="355196" y="317669"/>
                    <a:pt x="345204" y="311123"/>
                  </a:cubicBezTo>
                  <a:close/>
                  <a:moveTo>
                    <a:pt x="371045" y="272534"/>
                  </a:moveTo>
                  <a:lnTo>
                    <a:pt x="369322" y="279769"/>
                  </a:lnTo>
                  <a:cubicBezTo>
                    <a:pt x="362776" y="314224"/>
                    <a:pt x="384137" y="291828"/>
                    <a:pt x="371045" y="272534"/>
                  </a:cubicBezTo>
                  <a:close/>
                  <a:moveTo>
                    <a:pt x="399297" y="215684"/>
                  </a:moveTo>
                  <a:cubicBezTo>
                    <a:pt x="395507" y="237046"/>
                    <a:pt x="424104" y="209827"/>
                    <a:pt x="399297" y="215684"/>
                  </a:cubicBezTo>
                  <a:close/>
                  <a:moveTo>
                    <a:pt x="362431" y="208794"/>
                  </a:moveTo>
                  <a:lnTo>
                    <a:pt x="369667" y="214306"/>
                  </a:lnTo>
                  <a:cubicBezTo>
                    <a:pt x="405499" y="223264"/>
                    <a:pt x="383793" y="211205"/>
                    <a:pt x="362431" y="208794"/>
                  </a:cubicBezTo>
                  <a:close/>
                  <a:moveTo>
                    <a:pt x="401365" y="167448"/>
                  </a:moveTo>
                  <a:cubicBezTo>
                    <a:pt x="394129" y="170894"/>
                    <a:pt x="390683" y="179163"/>
                    <a:pt x="383104" y="182264"/>
                  </a:cubicBezTo>
                  <a:cubicBezTo>
                    <a:pt x="329010" y="193634"/>
                    <a:pt x="410667" y="192600"/>
                    <a:pt x="401365" y="167448"/>
                  </a:cubicBezTo>
                  <a:close/>
                  <a:moveTo>
                    <a:pt x="309716" y="143675"/>
                  </a:moveTo>
                  <a:cubicBezTo>
                    <a:pt x="302136" y="144364"/>
                    <a:pt x="314884" y="155389"/>
                    <a:pt x="314540" y="155045"/>
                  </a:cubicBezTo>
                  <a:cubicBezTo>
                    <a:pt x="340036" y="179852"/>
                    <a:pt x="334523" y="144364"/>
                    <a:pt x="309716" y="143675"/>
                  </a:cubicBezTo>
                  <a:close/>
                  <a:moveTo>
                    <a:pt x="317985" y="101296"/>
                  </a:moveTo>
                  <a:cubicBezTo>
                    <a:pt x="315573" y="107842"/>
                    <a:pt x="324531" y="110943"/>
                    <a:pt x="325909" y="115767"/>
                  </a:cubicBezTo>
                  <a:cubicBezTo>
                    <a:pt x="336246" y="152978"/>
                    <a:pt x="341414" y="103708"/>
                    <a:pt x="317985" y="101296"/>
                  </a:cubicBezTo>
                  <a:close/>
                  <a:moveTo>
                    <a:pt x="340725" y="0"/>
                  </a:moveTo>
                  <a:cubicBezTo>
                    <a:pt x="365532" y="6202"/>
                    <a:pt x="340036" y="40312"/>
                    <a:pt x="357952" y="37900"/>
                  </a:cubicBezTo>
                  <a:cubicBezTo>
                    <a:pt x="401365" y="9648"/>
                    <a:pt x="362431" y="47203"/>
                    <a:pt x="356229" y="66842"/>
                  </a:cubicBezTo>
                  <a:cubicBezTo>
                    <a:pt x="347960" y="114044"/>
                    <a:pt x="370011" y="46858"/>
                    <a:pt x="382414" y="64430"/>
                  </a:cubicBezTo>
                  <a:cubicBezTo>
                    <a:pt x="400331" y="60640"/>
                    <a:pt x="428239" y="46514"/>
                    <a:pt x="399986" y="74077"/>
                  </a:cubicBezTo>
                  <a:cubicBezTo>
                    <a:pt x="439264" y="85102"/>
                    <a:pt x="392062" y="86825"/>
                    <a:pt x="378280" y="88548"/>
                  </a:cubicBezTo>
                  <a:cubicBezTo>
                    <a:pt x="404810" y="89582"/>
                    <a:pt x="414457" y="115767"/>
                    <a:pt x="380347" y="114044"/>
                  </a:cubicBezTo>
                  <a:cubicBezTo>
                    <a:pt x="348649" y="84758"/>
                    <a:pt x="344859" y="165725"/>
                    <a:pt x="372078" y="160557"/>
                  </a:cubicBezTo>
                  <a:cubicBezTo>
                    <a:pt x="383793" y="145914"/>
                    <a:pt x="394129" y="132477"/>
                    <a:pt x="406145" y="122529"/>
                  </a:cubicBezTo>
                  <a:lnTo>
                    <a:pt x="417182" y="118254"/>
                  </a:lnTo>
                  <a:lnTo>
                    <a:pt x="417182" y="252973"/>
                  </a:lnTo>
                  <a:lnTo>
                    <a:pt x="416438" y="253154"/>
                  </a:lnTo>
                  <a:cubicBezTo>
                    <a:pt x="406533" y="257030"/>
                    <a:pt x="397575" y="260131"/>
                    <a:pt x="391028" y="241181"/>
                  </a:cubicBezTo>
                  <a:cubicBezTo>
                    <a:pt x="392406" y="269777"/>
                    <a:pt x="369667" y="250139"/>
                    <a:pt x="366221" y="234634"/>
                  </a:cubicBezTo>
                  <a:cubicBezTo>
                    <a:pt x="343481" y="242559"/>
                    <a:pt x="396196" y="265299"/>
                    <a:pt x="406532" y="270811"/>
                  </a:cubicBezTo>
                  <a:lnTo>
                    <a:pt x="417182" y="278708"/>
                  </a:lnTo>
                  <a:lnTo>
                    <a:pt x="417182" y="324555"/>
                  </a:lnTo>
                  <a:lnTo>
                    <a:pt x="415146" y="324215"/>
                  </a:lnTo>
                  <a:lnTo>
                    <a:pt x="417182" y="326321"/>
                  </a:lnTo>
                  <a:lnTo>
                    <a:pt x="417182" y="395968"/>
                  </a:lnTo>
                  <a:lnTo>
                    <a:pt x="405154" y="393469"/>
                  </a:lnTo>
                  <a:lnTo>
                    <a:pt x="417182" y="403573"/>
                  </a:lnTo>
                  <a:lnTo>
                    <a:pt x="417182" y="1076079"/>
                  </a:lnTo>
                  <a:lnTo>
                    <a:pt x="408643" y="1072003"/>
                  </a:lnTo>
                  <a:cubicBezTo>
                    <a:pt x="402226" y="1069721"/>
                    <a:pt x="398092" y="1072046"/>
                    <a:pt x="402398" y="1090135"/>
                  </a:cubicBezTo>
                  <a:cubicBezTo>
                    <a:pt x="419625" y="1124933"/>
                    <a:pt x="391028" y="1121488"/>
                    <a:pt x="364154" y="1119765"/>
                  </a:cubicBezTo>
                  <a:cubicBezTo>
                    <a:pt x="307993" y="1134925"/>
                    <a:pt x="341414" y="1084622"/>
                    <a:pt x="343826" y="1056370"/>
                  </a:cubicBezTo>
                  <a:cubicBezTo>
                    <a:pt x="331078" y="1014680"/>
                    <a:pt x="311439" y="1083244"/>
                    <a:pt x="295934" y="1066017"/>
                  </a:cubicBezTo>
                  <a:cubicBezTo>
                    <a:pt x="273884" y="1086689"/>
                    <a:pt x="248043" y="1092891"/>
                    <a:pt x="215656" y="1103572"/>
                  </a:cubicBezTo>
                  <a:cubicBezTo>
                    <a:pt x="219101" y="1065672"/>
                    <a:pt x="178790" y="1120455"/>
                    <a:pt x="182579" y="1093235"/>
                  </a:cubicBezTo>
                  <a:cubicBezTo>
                    <a:pt x="180168" y="1089101"/>
                    <a:pt x="106780" y="1113564"/>
                    <a:pt x="128142" y="1075664"/>
                  </a:cubicBezTo>
                  <a:cubicBezTo>
                    <a:pt x="111259" y="1087378"/>
                    <a:pt x="73359" y="1085311"/>
                    <a:pt x="106436" y="1066706"/>
                  </a:cubicBezTo>
                  <a:cubicBezTo>
                    <a:pt x="58200" y="1075664"/>
                    <a:pt x="96788" y="1050168"/>
                    <a:pt x="121595" y="1051546"/>
                  </a:cubicBezTo>
                  <a:cubicBezTo>
                    <a:pt x="98856" y="1048101"/>
                    <a:pt x="73359" y="1055336"/>
                    <a:pt x="53720" y="1047411"/>
                  </a:cubicBezTo>
                  <a:cubicBezTo>
                    <a:pt x="31325" y="1061882"/>
                    <a:pt x="45451" y="1037420"/>
                    <a:pt x="29602" y="1044655"/>
                  </a:cubicBezTo>
                  <a:cubicBezTo>
                    <a:pt x="29258" y="1032941"/>
                    <a:pt x="40972" y="1022260"/>
                    <a:pt x="14098" y="1033974"/>
                  </a:cubicBezTo>
                  <a:cubicBezTo>
                    <a:pt x="-32760" y="1040176"/>
                    <a:pt x="55788" y="1010545"/>
                    <a:pt x="13753" y="1012612"/>
                  </a:cubicBezTo>
                  <a:cubicBezTo>
                    <a:pt x="31325" y="1000554"/>
                    <a:pt x="56821" y="990906"/>
                    <a:pt x="89553" y="995385"/>
                  </a:cubicBezTo>
                  <a:cubicBezTo>
                    <a:pt x="105747" y="1011579"/>
                    <a:pt x="167764" y="972301"/>
                    <a:pt x="127108" y="986083"/>
                  </a:cubicBezTo>
                  <a:cubicBezTo>
                    <a:pt x="137444" y="956452"/>
                    <a:pt x="112637" y="986083"/>
                    <a:pt x="92309" y="994352"/>
                  </a:cubicBezTo>
                  <a:cubicBezTo>
                    <a:pt x="105057" y="974368"/>
                    <a:pt x="86796" y="974024"/>
                    <a:pt x="75082" y="984016"/>
                  </a:cubicBezTo>
                  <a:cubicBezTo>
                    <a:pt x="68536" y="978158"/>
                    <a:pt x="57855" y="964721"/>
                    <a:pt x="37527" y="971612"/>
                  </a:cubicBezTo>
                  <a:cubicBezTo>
                    <a:pt x="63712" y="950595"/>
                    <a:pt x="33737" y="955763"/>
                    <a:pt x="18577" y="959553"/>
                  </a:cubicBezTo>
                  <a:cubicBezTo>
                    <a:pt x="-26214" y="949561"/>
                    <a:pt x="62334" y="948183"/>
                    <a:pt x="25123" y="934057"/>
                  </a:cubicBezTo>
                  <a:cubicBezTo>
                    <a:pt x="36149" y="928200"/>
                    <a:pt x="132276" y="935435"/>
                    <a:pt x="106436" y="923031"/>
                  </a:cubicBezTo>
                  <a:cubicBezTo>
                    <a:pt x="100234" y="912006"/>
                    <a:pt x="81284" y="925788"/>
                    <a:pt x="70258" y="908905"/>
                  </a:cubicBezTo>
                  <a:cubicBezTo>
                    <a:pt x="33048" y="918552"/>
                    <a:pt x="90587" y="885821"/>
                    <a:pt x="59922" y="894090"/>
                  </a:cubicBezTo>
                  <a:cubicBezTo>
                    <a:pt x="20989" y="892367"/>
                    <a:pt x="50620" y="880308"/>
                    <a:pt x="70947" y="881686"/>
                  </a:cubicBezTo>
                  <a:cubicBezTo>
                    <a:pt x="113671" y="861013"/>
                    <a:pt x="39250" y="868938"/>
                    <a:pt x="27880" y="848610"/>
                  </a:cubicBezTo>
                  <a:cubicBezTo>
                    <a:pt x="42695" y="828971"/>
                    <a:pt x="38216" y="825870"/>
                    <a:pt x="13753" y="825870"/>
                  </a:cubicBezTo>
                  <a:cubicBezTo>
                    <a:pt x="-26214" y="805887"/>
                    <a:pt x="71981" y="827937"/>
                    <a:pt x="35804" y="811399"/>
                  </a:cubicBezTo>
                  <a:cubicBezTo>
                    <a:pt x="49241" y="804164"/>
                    <a:pt x="74738" y="804853"/>
                    <a:pt x="95065" y="803475"/>
                  </a:cubicBezTo>
                  <a:cubicBezTo>
                    <a:pt x="114705" y="817601"/>
                    <a:pt x="205664" y="790382"/>
                    <a:pt x="171210" y="783836"/>
                  </a:cubicBezTo>
                  <a:cubicBezTo>
                    <a:pt x="138823" y="791416"/>
                    <a:pt x="181546" y="760063"/>
                    <a:pt x="149503" y="775567"/>
                  </a:cubicBezTo>
                  <a:cubicBezTo>
                    <a:pt x="135377" y="758340"/>
                    <a:pt x="98856" y="774533"/>
                    <a:pt x="92309" y="754205"/>
                  </a:cubicBezTo>
                  <a:cubicBezTo>
                    <a:pt x="49931" y="745592"/>
                    <a:pt x="117805" y="742835"/>
                    <a:pt x="83007" y="738701"/>
                  </a:cubicBezTo>
                  <a:cubicBezTo>
                    <a:pt x="39939" y="727675"/>
                    <a:pt x="73015" y="721474"/>
                    <a:pt x="97133" y="729743"/>
                  </a:cubicBezTo>
                  <a:cubicBezTo>
                    <a:pt x="134343" y="728709"/>
                    <a:pt x="174310" y="732843"/>
                    <a:pt x="215311" y="722507"/>
                  </a:cubicBezTo>
                  <a:cubicBezTo>
                    <a:pt x="253900" y="714238"/>
                    <a:pt x="220135" y="700456"/>
                    <a:pt x="197739" y="703902"/>
                  </a:cubicBezTo>
                  <a:cubicBezTo>
                    <a:pt x="193605" y="682885"/>
                    <a:pt x="167075" y="714583"/>
                    <a:pt x="168453" y="690809"/>
                  </a:cubicBezTo>
                  <a:cubicBezTo>
                    <a:pt x="151226" y="695288"/>
                    <a:pt x="140890" y="685986"/>
                    <a:pt x="118839" y="689776"/>
                  </a:cubicBezTo>
                  <a:cubicBezTo>
                    <a:pt x="128142" y="670137"/>
                    <a:pt x="60956" y="688398"/>
                    <a:pt x="75082" y="671170"/>
                  </a:cubicBezTo>
                  <a:cubicBezTo>
                    <a:pt x="107469" y="656010"/>
                    <a:pt x="49241" y="658767"/>
                    <a:pt x="76116" y="646708"/>
                  </a:cubicBezTo>
                  <a:cubicBezTo>
                    <a:pt x="121940" y="636716"/>
                    <a:pt x="170865" y="646708"/>
                    <a:pt x="216000" y="633960"/>
                  </a:cubicBezTo>
                  <a:cubicBezTo>
                    <a:pt x="161218" y="613287"/>
                    <a:pt x="247009" y="616043"/>
                    <a:pt x="263203" y="598816"/>
                  </a:cubicBezTo>
                  <a:cubicBezTo>
                    <a:pt x="248043" y="580900"/>
                    <a:pt x="237706" y="607430"/>
                    <a:pt x="224269" y="600194"/>
                  </a:cubicBezTo>
                  <a:cubicBezTo>
                    <a:pt x="208076" y="595715"/>
                    <a:pt x="215311" y="601228"/>
                    <a:pt x="196706" y="608119"/>
                  </a:cubicBezTo>
                  <a:cubicBezTo>
                    <a:pt x="160873" y="602606"/>
                    <a:pt x="129520" y="599505"/>
                    <a:pt x="100923" y="571942"/>
                  </a:cubicBezTo>
                  <a:cubicBezTo>
                    <a:pt x="120562" y="553681"/>
                    <a:pt x="186370" y="551269"/>
                    <a:pt x="220824" y="535420"/>
                  </a:cubicBezTo>
                  <a:cubicBezTo>
                    <a:pt x="207042" y="514403"/>
                    <a:pt x="239774" y="517159"/>
                    <a:pt x="228059" y="508546"/>
                  </a:cubicBezTo>
                  <a:cubicBezTo>
                    <a:pt x="193260" y="536799"/>
                    <a:pt x="163285" y="511302"/>
                    <a:pt x="129865" y="491319"/>
                  </a:cubicBezTo>
                  <a:cubicBezTo>
                    <a:pt x="121940" y="469612"/>
                    <a:pt x="243908" y="495453"/>
                    <a:pt x="189470" y="471335"/>
                  </a:cubicBezTo>
                  <a:cubicBezTo>
                    <a:pt x="184647" y="469268"/>
                    <a:pt x="129865" y="445150"/>
                    <a:pt x="145369" y="433091"/>
                  </a:cubicBezTo>
                  <a:cubicBezTo>
                    <a:pt x="182924" y="417931"/>
                    <a:pt x="227715" y="443772"/>
                    <a:pt x="261480" y="415519"/>
                  </a:cubicBezTo>
                  <a:cubicBezTo>
                    <a:pt x="248387" y="427578"/>
                    <a:pt x="221513" y="382788"/>
                    <a:pt x="195328" y="383477"/>
                  </a:cubicBezTo>
                  <a:cubicBezTo>
                    <a:pt x="181890" y="380031"/>
                    <a:pt x="122974" y="354880"/>
                    <a:pt x="145714" y="349367"/>
                  </a:cubicBezTo>
                  <a:cubicBezTo>
                    <a:pt x="170865" y="361771"/>
                    <a:pt x="160873" y="334207"/>
                    <a:pt x="179134" y="344199"/>
                  </a:cubicBezTo>
                  <a:cubicBezTo>
                    <a:pt x="215311" y="367283"/>
                    <a:pt x="181201" y="327316"/>
                    <a:pt x="203252" y="327661"/>
                  </a:cubicBezTo>
                  <a:cubicBezTo>
                    <a:pt x="253900" y="335585"/>
                    <a:pt x="213933" y="310434"/>
                    <a:pt x="189470" y="303543"/>
                  </a:cubicBezTo>
                  <a:cubicBezTo>
                    <a:pt x="191538" y="300097"/>
                    <a:pt x="166730" y="282870"/>
                    <a:pt x="188437" y="282526"/>
                  </a:cubicBezTo>
                  <a:cubicBezTo>
                    <a:pt x="203941" y="264954"/>
                    <a:pt x="263203" y="294585"/>
                    <a:pt x="241497" y="271845"/>
                  </a:cubicBezTo>
                  <a:cubicBezTo>
                    <a:pt x="273884" y="281492"/>
                    <a:pt x="317296" y="281148"/>
                    <a:pt x="340036" y="246693"/>
                  </a:cubicBezTo>
                  <a:cubicBezTo>
                    <a:pt x="336590" y="236012"/>
                    <a:pt x="273194" y="281492"/>
                    <a:pt x="255967" y="260819"/>
                  </a:cubicBezTo>
                  <a:cubicBezTo>
                    <a:pt x="299380" y="222231"/>
                    <a:pt x="231849" y="279425"/>
                    <a:pt x="224958" y="246349"/>
                  </a:cubicBezTo>
                  <a:cubicBezTo>
                    <a:pt x="265615" y="219819"/>
                    <a:pt x="173621" y="264265"/>
                    <a:pt x="213588" y="232222"/>
                  </a:cubicBezTo>
                  <a:cubicBezTo>
                    <a:pt x="201185" y="234634"/>
                    <a:pt x="140890" y="218785"/>
                    <a:pt x="189470" y="214995"/>
                  </a:cubicBezTo>
                  <a:cubicBezTo>
                    <a:pt x="205664" y="187432"/>
                    <a:pt x="239774" y="222231"/>
                    <a:pt x="262169" y="221197"/>
                  </a:cubicBezTo>
                  <a:cubicBezTo>
                    <a:pt x="243564" y="190877"/>
                    <a:pt x="351061" y="255307"/>
                    <a:pt x="340036" y="206382"/>
                  </a:cubicBezTo>
                  <a:cubicBezTo>
                    <a:pt x="318329" y="220508"/>
                    <a:pt x="319363" y="202936"/>
                    <a:pt x="296968" y="205003"/>
                  </a:cubicBezTo>
                  <a:cubicBezTo>
                    <a:pt x="308682" y="184676"/>
                    <a:pt x="272850" y="198457"/>
                    <a:pt x="255967" y="192600"/>
                  </a:cubicBezTo>
                  <a:cubicBezTo>
                    <a:pt x="220135" y="180196"/>
                    <a:pt x="299035" y="177096"/>
                    <a:pt x="251833" y="160557"/>
                  </a:cubicBezTo>
                  <a:cubicBezTo>
                    <a:pt x="222546" y="146087"/>
                    <a:pt x="278707" y="149876"/>
                    <a:pt x="244942" y="135406"/>
                  </a:cubicBezTo>
                  <a:cubicBezTo>
                    <a:pt x="245631" y="123347"/>
                    <a:pt x="325220" y="163658"/>
                    <a:pt x="290422" y="116111"/>
                  </a:cubicBezTo>
                  <a:cubicBezTo>
                    <a:pt x="312128" y="126448"/>
                    <a:pt x="321431" y="106464"/>
                    <a:pt x="293178" y="106464"/>
                  </a:cubicBezTo>
                  <a:cubicBezTo>
                    <a:pt x="307993" y="100607"/>
                    <a:pt x="262513" y="53404"/>
                    <a:pt x="299035" y="67531"/>
                  </a:cubicBezTo>
                  <a:cubicBezTo>
                    <a:pt x="309716" y="60640"/>
                    <a:pt x="322464" y="59606"/>
                    <a:pt x="326254" y="83724"/>
                  </a:cubicBezTo>
                  <a:cubicBezTo>
                    <a:pt x="356574" y="111288"/>
                    <a:pt x="312472" y="35488"/>
                    <a:pt x="316951" y="35488"/>
                  </a:cubicBezTo>
                  <a:cubicBezTo>
                    <a:pt x="349338" y="69942"/>
                    <a:pt x="336935" y="19984"/>
                    <a:pt x="340725" y="0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87755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2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+mn-ea"/>
                <a:cs typeface="+mn-cs"/>
              </a:endParaRPr>
            </a:p>
          </p:txBody>
        </p:sp>
        <p:sp>
          <p:nvSpPr>
            <p:cNvPr id="16" name="Graphic 47">
              <a:extLst>
                <a:ext uri="{FF2B5EF4-FFF2-40B4-BE49-F238E27FC236}">
                  <a16:creationId xmlns:a16="http://schemas.microsoft.com/office/drawing/2014/main" id="{A3B5DCE4-90B3-43AF-B536-BC808B2A4E75}"/>
                </a:ext>
              </a:extLst>
            </p:cNvPr>
            <p:cNvSpPr/>
            <p:nvPr userDrawn="1"/>
          </p:nvSpPr>
          <p:spPr>
            <a:xfrm>
              <a:off x="-13749" y="5463676"/>
              <a:ext cx="532363" cy="798545"/>
            </a:xfrm>
            <a:custGeom>
              <a:avLst/>
              <a:gdLst>
                <a:gd name="connsiteX0" fmla="*/ 949088 w 2076450"/>
                <a:gd name="connsiteY0" fmla="*/ 7144 h 3114675"/>
                <a:gd name="connsiteX1" fmla="*/ 883365 w 2076450"/>
                <a:gd name="connsiteY1" fmla="*/ 105251 h 3114675"/>
                <a:gd name="connsiteX2" fmla="*/ 909083 w 2076450"/>
                <a:gd name="connsiteY2" fmla="*/ 238601 h 3114675"/>
                <a:gd name="connsiteX3" fmla="*/ 833835 w 2076450"/>
                <a:gd name="connsiteY3" fmla="*/ 193834 h 3114675"/>
                <a:gd name="connsiteX4" fmla="*/ 817643 w 2076450"/>
                <a:gd name="connsiteY4" fmla="*/ 301466 h 3114675"/>
                <a:gd name="connsiteX5" fmla="*/ 810023 w 2076450"/>
                <a:gd name="connsiteY5" fmla="*/ 328136 h 3114675"/>
                <a:gd name="connsiteX6" fmla="*/ 684293 w 2076450"/>
                <a:gd name="connsiteY6" fmla="*/ 381476 h 3114675"/>
                <a:gd name="connsiteX7" fmla="*/ 703343 w 2076450"/>
                <a:gd name="connsiteY7" fmla="*/ 451009 h 3114675"/>
                <a:gd name="connsiteX8" fmla="*/ 714773 w 2076450"/>
                <a:gd name="connsiteY8" fmla="*/ 539591 h 3114675"/>
                <a:gd name="connsiteX9" fmla="*/ 828120 w 2076450"/>
                <a:gd name="connsiteY9" fmla="*/ 573881 h 3114675"/>
                <a:gd name="connsiteX10" fmla="*/ 947183 w 2076450"/>
                <a:gd name="connsiteY10" fmla="*/ 577691 h 3114675"/>
                <a:gd name="connsiteX11" fmla="*/ 731918 w 2076450"/>
                <a:gd name="connsiteY11" fmla="*/ 618649 h 3114675"/>
                <a:gd name="connsiteX12" fmla="*/ 530940 w 2076450"/>
                <a:gd name="connsiteY12" fmla="*/ 601504 h 3114675"/>
                <a:gd name="connsiteX13" fmla="*/ 597615 w 2076450"/>
                <a:gd name="connsiteY13" fmla="*/ 649129 h 3114675"/>
                <a:gd name="connsiteX14" fmla="*/ 629048 w 2076450"/>
                <a:gd name="connsiteY14" fmla="*/ 688181 h 3114675"/>
                <a:gd name="connsiteX15" fmla="*/ 714773 w 2076450"/>
                <a:gd name="connsiteY15" fmla="*/ 728186 h 3114675"/>
                <a:gd name="connsiteX16" fmla="*/ 947183 w 2076450"/>
                <a:gd name="connsiteY16" fmla="*/ 689134 h 3114675"/>
                <a:gd name="connsiteX17" fmla="*/ 674768 w 2076450"/>
                <a:gd name="connsiteY17" fmla="*/ 758666 h 3114675"/>
                <a:gd name="connsiteX18" fmla="*/ 528083 w 2076450"/>
                <a:gd name="connsiteY18" fmla="*/ 788194 h 3114675"/>
                <a:gd name="connsiteX19" fmla="*/ 530940 w 2076450"/>
                <a:gd name="connsiteY19" fmla="*/ 846296 h 3114675"/>
                <a:gd name="connsiteX20" fmla="*/ 569040 w 2076450"/>
                <a:gd name="connsiteY20" fmla="*/ 912971 h 3114675"/>
                <a:gd name="connsiteX21" fmla="*/ 502365 w 2076450"/>
                <a:gd name="connsiteY21" fmla="*/ 958691 h 3114675"/>
                <a:gd name="connsiteX22" fmla="*/ 409973 w 2076450"/>
                <a:gd name="connsiteY22" fmla="*/ 972979 h 3114675"/>
                <a:gd name="connsiteX23" fmla="*/ 547133 w 2076450"/>
                <a:gd name="connsiteY23" fmla="*/ 1067276 h 3114675"/>
                <a:gd name="connsiteX24" fmla="*/ 730013 w 2076450"/>
                <a:gd name="connsiteY24" fmla="*/ 1155859 h 3114675"/>
                <a:gd name="connsiteX25" fmla="*/ 409020 w 2076450"/>
                <a:gd name="connsiteY25" fmla="*/ 1204436 h 3114675"/>
                <a:gd name="connsiteX26" fmla="*/ 530940 w 2076450"/>
                <a:gd name="connsiteY26" fmla="*/ 1310164 h 3114675"/>
                <a:gd name="connsiteX27" fmla="*/ 366158 w 2076450"/>
                <a:gd name="connsiteY27" fmla="*/ 1365409 h 3114675"/>
                <a:gd name="connsiteX28" fmla="*/ 637620 w 2076450"/>
                <a:gd name="connsiteY28" fmla="*/ 1413034 h 3114675"/>
                <a:gd name="connsiteX29" fmla="*/ 617618 w 2076450"/>
                <a:gd name="connsiteY29" fmla="*/ 1487329 h 3114675"/>
                <a:gd name="connsiteX30" fmla="*/ 286148 w 2076450"/>
                <a:gd name="connsiteY30" fmla="*/ 1588294 h 3114675"/>
                <a:gd name="connsiteX31" fmla="*/ 550943 w 2076450"/>
                <a:gd name="connsiteY31" fmla="*/ 1688306 h 3114675"/>
                <a:gd name="connsiteX32" fmla="*/ 627143 w 2076450"/>
                <a:gd name="connsiteY32" fmla="*/ 1666399 h 3114675"/>
                <a:gd name="connsiteX33" fmla="*/ 734775 w 2076450"/>
                <a:gd name="connsiteY33" fmla="*/ 1662589 h 3114675"/>
                <a:gd name="connsiteX34" fmla="*/ 604283 w 2076450"/>
                <a:gd name="connsiteY34" fmla="*/ 1759744 h 3114675"/>
                <a:gd name="connsiteX35" fmla="*/ 217568 w 2076450"/>
                <a:gd name="connsiteY35" fmla="*/ 1794986 h 3114675"/>
                <a:gd name="connsiteX36" fmla="*/ 214710 w 2076450"/>
                <a:gd name="connsiteY36" fmla="*/ 1862614 h 3114675"/>
                <a:gd name="connsiteX37" fmla="*/ 335678 w 2076450"/>
                <a:gd name="connsiteY37" fmla="*/ 1914049 h 3114675"/>
                <a:gd name="connsiteX38" fmla="*/ 472838 w 2076450"/>
                <a:gd name="connsiteY38" fmla="*/ 1916906 h 3114675"/>
                <a:gd name="connsiteX39" fmla="*/ 553800 w 2076450"/>
                <a:gd name="connsiteY39" fmla="*/ 1953101 h 3114675"/>
                <a:gd name="connsiteX40" fmla="*/ 602378 w 2076450"/>
                <a:gd name="connsiteY40" fmla="*/ 2004536 h 3114675"/>
                <a:gd name="connsiteX41" fmla="*/ 275670 w 2076450"/>
                <a:gd name="connsiteY41" fmla="*/ 2024539 h 3114675"/>
                <a:gd name="connsiteX42" fmla="*/ 236618 w 2076450"/>
                <a:gd name="connsiteY42" fmla="*/ 2049304 h 3114675"/>
                <a:gd name="connsiteX43" fmla="*/ 262335 w 2076450"/>
                <a:gd name="connsiteY43" fmla="*/ 2092166 h 3114675"/>
                <a:gd name="connsiteX44" fmla="*/ 420450 w 2076450"/>
                <a:gd name="connsiteY44" fmla="*/ 2151221 h 3114675"/>
                <a:gd name="connsiteX45" fmla="*/ 480458 w 2076450"/>
                <a:gd name="connsiteY45" fmla="*/ 2174081 h 3114675"/>
                <a:gd name="connsiteX46" fmla="*/ 269955 w 2076450"/>
                <a:gd name="connsiteY46" fmla="*/ 2228374 h 3114675"/>
                <a:gd name="connsiteX47" fmla="*/ 106125 w 2076450"/>
                <a:gd name="connsiteY47" fmla="*/ 2250281 h 3114675"/>
                <a:gd name="connsiteX48" fmla="*/ 45165 w 2076450"/>
                <a:gd name="connsiteY48" fmla="*/ 2290286 h 3114675"/>
                <a:gd name="connsiteX49" fmla="*/ 84218 w 2076450"/>
                <a:gd name="connsiteY49" fmla="*/ 2353151 h 3114675"/>
                <a:gd name="connsiteX50" fmla="*/ 203280 w 2076450"/>
                <a:gd name="connsiteY50" fmla="*/ 2444591 h 3114675"/>
                <a:gd name="connsiteX51" fmla="*/ 172800 w 2076450"/>
                <a:gd name="connsiteY51" fmla="*/ 2478881 h 3114675"/>
                <a:gd name="connsiteX52" fmla="*/ 201375 w 2076450"/>
                <a:gd name="connsiteY52" fmla="*/ 2519839 h 3114675"/>
                <a:gd name="connsiteX53" fmla="*/ 301388 w 2076450"/>
                <a:gd name="connsiteY53" fmla="*/ 2558891 h 3114675"/>
                <a:gd name="connsiteX54" fmla="*/ 76598 w 2076450"/>
                <a:gd name="connsiteY54" fmla="*/ 2589371 h 3114675"/>
                <a:gd name="connsiteX55" fmla="*/ 58500 w 2076450"/>
                <a:gd name="connsiteY55" fmla="*/ 2659856 h 3114675"/>
                <a:gd name="connsiteX56" fmla="*/ 110888 w 2076450"/>
                <a:gd name="connsiteY56" fmla="*/ 2693194 h 3114675"/>
                <a:gd name="connsiteX57" fmla="*/ 214710 w 2076450"/>
                <a:gd name="connsiteY57" fmla="*/ 2727484 h 3114675"/>
                <a:gd name="connsiteX58" fmla="*/ 262335 w 2076450"/>
                <a:gd name="connsiteY58" fmla="*/ 2756059 h 3114675"/>
                <a:gd name="connsiteX59" fmla="*/ 358538 w 2076450"/>
                <a:gd name="connsiteY59" fmla="*/ 2733199 h 3114675"/>
                <a:gd name="connsiteX60" fmla="*/ 254715 w 2076450"/>
                <a:gd name="connsiteY60" fmla="*/ 2758916 h 3114675"/>
                <a:gd name="connsiteX61" fmla="*/ 45165 w 2076450"/>
                <a:gd name="connsiteY61" fmla="*/ 2806541 h 3114675"/>
                <a:gd name="connsiteX62" fmla="*/ 46118 w 2076450"/>
                <a:gd name="connsiteY62" fmla="*/ 2865596 h 3114675"/>
                <a:gd name="connsiteX63" fmla="*/ 88980 w 2076450"/>
                <a:gd name="connsiteY63" fmla="*/ 2895124 h 3114675"/>
                <a:gd name="connsiteX64" fmla="*/ 155655 w 2076450"/>
                <a:gd name="connsiteY64" fmla="*/ 2902744 h 3114675"/>
                <a:gd name="connsiteX65" fmla="*/ 343298 w 2076450"/>
                <a:gd name="connsiteY65" fmla="*/ 2914174 h 3114675"/>
                <a:gd name="connsiteX66" fmla="*/ 301388 w 2076450"/>
                <a:gd name="connsiteY66" fmla="*/ 2956084 h 3114675"/>
                <a:gd name="connsiteX67" fmla="*/ 361395 w 2076450"/>
                <a:gd name="connsiteY67" fmla="*/ 2980849 h 3114675"/>
                <a:gd name="connsiteX68" fmla="*/ 511890 w 2076450"/>
                <a:gd name="connsiteY68" fmla="*/ 3029426 h 3114675"/>
                <a:gd name="connsiteX69" fmla="*/ 603330 w 2076450"/>
                <a:gd name="connsiteY69" fmla="*/ 3058001 h 3114675"/>
                <a:gd name="connsiteX70" fmla="*/ 825263 w 2076450"/>
                <a:gd name="connsiteY70" fmla="*/ 2954179 h 3114675"/>
                <a:gd name="connsiteX71" fmla="*/ 957660 w 2076450"/>
                <a:gd name="connsiteY71" fmla="*/ 2927509 h 3114675"/>
                <a:gd name="connsiteX72" fmla="*/ 1013858 w 2076450"/>
                <a:gd name="connsiteY72" fmla="*/ 3102769 h 3114675"/>
                <a:gd name="connsiteX73" fmla="*/ 1119585 w 2076450"/>
                <a:gd name="connsiteY73" fmla="*/ 3020854 h 3114675"/>
                <a:gd name="connsiteX74" fmla="*/ 1191975 w 2076450"/>
                <a:gd name="connsiteY74" fmla="*/ 2997041 h 3114675"/>
                <a:gd name="connsiteX75" fmla="*/ 1468200 w 2076450"/>
                <a:gd name="connsiteY75" fmla="*/ 3026569 h 3114675"/>
                <a:gd name="connsiteX76" fmla="*/ 1561545 w 2076450"/>
                <a:gd name="connsiteY76" fmla="*/ 3002756 h 3114675"/>
                <a:gd name="connsiteX77" fmla="*/ 1679655 w 2076450"/>
                <a:gd name="connsiteY77" fmla="*/ 3030379 h 3114675"/>
                <a:gd name="connsiteX78" fmla="*/ 1748235 w 2076450"/>
                <a:gd name="connsiteY78" fmla="*/ 2996089 h 3114675"/>
                <a:gd name="connsiteX79" fmla="*/ 1893968 w 2076450"/>
                <a:gd name="connsiteY79" fmla="*/ 3009424 h 3114675"/>
                <a:gd name="connsiteX80" fmla="*/ 1888253 w 2076450"/>
                <a:gd name="connsiteY80" fmla="*/ 2944654 h 3114675"/>
                <a:gd name="connsiteX81" fmla="*/ 1964453 w 2076450"/>
                <a:gd name="connsiteY81" fmla="*/ 2947511 h 3114675"/>
                <a:gd name="connsiteX82" fmla="*/ 1948260 w 2076450"/>
                <a:gd name="connsiteY82" fmla="*/ 2913221 h 3114675"/>
                <a:gd name="connsiteX83" fmla="*/ 1843485 w 2076450"/>
                <a:gd name="connsiteY83" fmla="*/ 2853214 h 3114675"/>
                <a:gd name="connsiteX84" fmla="*/ 1883490 w 2076450"/>
                <a:gd name="connsiteY84" fmla="*/ 2818924 h 3114675"/>
                <a:gd name="connsiteX85" fmla="*/ 1909208 w 2076450"/>
                <a:gd name="connsiteY85" fmla="*/ 2790349 h 3114675"/>
                <a:gd name="connsiteX86" fmla="*/ 2032080 w 2076450"/>
                <a:gd name="connsiteY86" fmla="*/ 2757964 h 3114675"/>
                <a:gd name="connsiteX87" fmla="*/ 2036843 w 2076450"/>
                <a:gd name="connsiteY87" fmla="*/ 2711291 h 3114675"/>
                <a:gd name="connsiteX88" fmla="*/ 2008268 w 2076450"/>
                <a:gd name="connsiteY88" fmla="*/ 2670334 h 3114675"/>
                <a:gd name="connsiteX89" fmla="*/ 1943498 w 2076450"/>
                <a:gd name="connsiteY89" fmla="*/ 2645569 h 3114675"/>
                <a:gd name="connsiteX90" fmla="*/ 1793003 w 2076450"/>
                <a:gd name="connsiteY90" fmla="*/ 2651284 h 3114675"/>
                <a:gd name="connsiteX91" fmla="*/ 1497728 w 2076450"/>
                <a:gd name="connsiteY91" fmla="*/ 2538889 h 3114675"/>
                <a:gd name="connsiteX92" fmla="*/ 1592025 w 2076450"/>
                <a:gd name="connsiteY92" fmla="*/ 2535079 h 3114675"/>
                <a:gd name="connsiteX93" fmla="*/ 1824435 w 2076450"/>
                <a:gd name="connsiteY93" fmla="*/ 2566511 h 3114675"/>
                <a:gd name="connsiteX94" fmla="*/ 1938735 w 2076450"/>
                <a:gd name="connsiteY94" fmla="*/ 2449354 h 3114675"/>
                <a:gd name="connsiteX95" fmla="*/ 2000648 w 2076450"/>
                <a:gd name="connsiteY95" fmla="*/ 2416969 h 3114675"/>
                <a:gd name="connsiteX96" fmla="*/ 1993028 w 2076450"/>
                <a:gd name="connsiteY96" fmla="*/ 2387441 h 3114675"/>
                <a:gd name="connsiteX97" fmla="*/ 1549163 w 2076450"/>
                <a:gd name="connsiteY97" fmla="*/ 2328386 h 3114675"/>
                <a:gd name="connsiteX98" fmla="*/ 1554878 w 2076450"/>
                <a:gd name="connsiteY98" fmla="*/ 2282666 h 3114675"/>
                <a:gd name="connsiteX99" fmla="*/ 1823483 w 2076450"/>
                <a:gd name="connsiteY99" fmla="*/ 2291239 h 3114675"/>
                <a:gd name="connsiteX100" fmla="*/ 1994933 w 2076450"/>
                <a:gd name="connsiteY100" fmla="*/ 2158841 h 3114675"/>
                <a:gd name="connsiteX101" fmla="*/ 2013983 w 2076450"/>
                <a:gd name="connsiteY101" fmla="*/ 2124551 h 3114675"/>
                <a:gd name="connsiteX102" fmla="*/ 1699658 w 2076450"/>
                <a:gd name="connsiteY102" fmla="*/ 2061686 h 3114675"/>
                <a:gd name="connsiteX103" fmla="*/ 1808243 w 2076450"/>
                <a:gd name="connsiteY103" fmla="*/ 2027396 h 3114675"/>
                <a:gd name="connsiteX104" fmla="*/ 1836818 w 2076450"/>
                <a:gd name="connsiteY104" fmla="*/ 2000726 h 3114675"/>
                <a:gd name="connsiteX105" fmla="*/ 1875870 w 2076450"/>
                <a:gd name="connsiteY105" fmla="*/ 1935004 h 3114675"/>
                <a:gd name="connsiteX106" fmla="*/ 1600598 w 2076450"/>
                <a:gd name="connsiteY106" fmla="*/ 1869281 h 3114675"/>
                <a:gd name="connsiteX107" fmla="*/ 1823483 w 2076450"/>
                <a:gd name="connsiteY107" fmla="*/ 1737836 h 3114675"/>
                <a:gd name="connsiteX108" fmla="*/ 1592025 w 2076450"/>
                <a:gd name="connsiteY108" fmla="*/ 1729264 h 3114675"/>
                <a:gd name="connsiteX109" fmla="*/ 1639650 w 2076450"/>
                <a:gd name="connsiteY109" fmla="*/ 1693069 h 3114675"/>
                <a:gd name="connsiteX110" fmla="*/ 1648223 w 2076450"/>
                <a:gd name="connsiteY110" fmla="*/ 1652111 h 3114675"/>
                <a:gd name="connsiteX111" fmla="*/ 1437720 w 2076450"/>
                <a:gd name="connsiteY111" fmla="*/ 1613059 h 3114675"/>
                <a:gd name="connsiteX112" fmla="*/ 1519635 w 2076450"/>
                <a:gd name="connsiteY112" fmla="*/ 1556861 h 3114675"/>
                <a:gd name="connsiteX113" fmla="*/ 1697753 w 2076450"/>
                <a:gd name="connsiteY113" fmla="*/ 1459706 h 3114675"/>
                <a:gd name="connsiteX114" fmla="*/ 1539638 w 2076450"/>
                <a:gd name="connsiteY114" fmla="*/ 1435894 h 3114675"/>
                <a:gd name="connsiteX115" fmla="*/ 1520588 w 2076450"/>
                <a:gd name="connsiteY115" fmla="*/ 1388269 h 3114675"/>
                <a:gd name="connsiteX116" fmla="*/ 1282463 w 2076450"/>
                <a:gd name="connsiteY116" fmla="*/ 1360646 h 3114675"/>
                <a:gd name="connsiteX117" fmla="*/ 1568213 w 2076450"/>
                <a:gd name="connsiteY117" fmla="*/ 1328261 h 3114675"/>
                <a:gd name="connsiteX118" fmla="*/ 1593930 w 2076450"/>
                <a:gd name="connsiteY118" fmla="*/ 1209199 h 3114675"/>
                <a:gd name="connsiteX119" fmla="*/ 1440578 w 2076450"/>
                <a:gd name="connsiteY119" fmla="*/ 1151096 h 3114675"/>
                <a:gd name="connsiteX120" fmla="*/ 1127205 w 2076450"/>
                <a:gd name="connsiteY120" fmla="*/ 1094899 h 3114675"/>
                <a:gd name="connsiteX121" fmla="*/ 1310085 w 2076450"/>
                <a:gd name="connsiteY121" fmla="*/ 1109186 h 3114675"/>
                <a:gd name="connsiteX122" fmla="*/ 1406288 w 2076450"/>
                <a:gd name="connsiteY122" fmla="*/ 1094899 h 3114675"/>
                <a:gd name="connsiteX123" fmla="*/ 1508205 w 2076450"/>
                <a:gd name="connsiteY123" fmla="*/ 1040606 h 3114675"/>
                <a:gd name="connsiteX124" fmla="*/ 1532018 w 2076450"/>
                <a:gd name="connsiteY124" fmla="*/ 969169 h 3114675"/>
                <a:gd name="connsiteX125" fmla="*/ 1421528 w 2076450"/>
                <a:gd name="connsiteY125" fmla="*/ 938689 h 3114675"/>
                <a:gd name="connsiteX126" fmla="*/ 1154828 w 2076450"/>
                <a:gd name="connsiteY126" fmla="*/ 903446 h 3114675"/>
                <a:gd name="connsiteX127" fmla="*/ 1304370 w 2076450"/>
                <a:gd name="connsiteY127" fmla="*/ 884396 h 3114675"/>
                <a:gd name="connsiteX128" fmla="*/ 1351995 w 2076450"/>
                <a:gd name="connsiteY128" fmla="*/ 868204 h 3114675"/>
                <a:gd name="connsiteX129" fmla="*/ 1480583 w 2076450"/>
                <a:gd name="connsiteY129" fmla="*/ 832009 h 3114675"/>
                <a:gd name="connsiteX130" fmla="*/ 1363425 w 2076450"/>
                <a:gd name="connsiteY130" fmla="*/ 798671 h 3114675"/>
                <a:gd name="connsiteX131" fmla="*/ 1131015 w 2076450"/>
                <a:gd name="connsiteY131" fmla="*/ 755809 h 3114675"/>
                <a:gd name="connsiteX132" fmla="*/ 1019573 w 2076450"/>
                <a:gd name="connsiteY132" fmla="*/ 655796 h 3114675"/>
                <a:gd name="connsiteX133" fmla="*/ 1088153 w 2076450"/>
                <a:gd name="connsiteY133" fmla="*/ 673894 h 3114675"/>
                <a:gd name="connsiteX134" fmla="*/ 1244363 w 2076450"/>
                <a:gd name="connsiteY134" fmla="*/ 727234 h 3114675"/>
                <a:gd name="connsiteX135" fmla="*/ 1389143 w 2076450"/>
                <a:gd name="connsiteY135" fmla="*/ 667226 h 3114675"/>
                <a:gd name="connsiteX136" fmla="*/ 1174830 w 2076450"/>
                <a:gd name="connsiteY136" fmla="*/ 590074 h 3114675"/>
                <a:gd name="connsiteX137" fmla="*/ 1180545 w 2076450"/>
                <a:gd name="connsiteY137" fmla="*/ 513874 h 3114675"/>
                <a:gd name="connsiteX138" fmla="*/ 1228170 w 2076450"/>
                <a:gd name="connsiteY138" fmla="*/ 415766 h 3114675"/>
                <a:gd name="connsiteX139" fmla="*/ 1251983 w 2076450"/>
                <a:gd name="connsiteY139" fmla="*/ 298609 h 3114675"/>
                <a:gd name="connsiteX140" fmla="*/ 1035765 w 2076450"/>
                <a:gd name="connsiteY140" fmla="*/ 451009 h 3114675"/>
                <a:gd name="connsiteX141" fmla="*/ 1058625 w 2076450"/>
                <a:gd name="connsiteY141" fmla="*/ 322421 h 3114675"/>
                <a:gd name="connsiteX142" fmla="*/ 1052910 w 2076450"/>
                <a:gd name="connsiteY142" fmla="*/ 251936 h 3114675"/>
                <a:gd name="connsiteX143" fmla="*/ 1112918 w 2076450"/>
                <a:gd name="connsiteY143" fmla="*/ 211931 h 3114675"/>
                <a:gd name="connsiteX144" fmla="*/ 1064340 w 2076450"/>
                <a:gd name="connsiteY144" fmla="*/ 185261 h 3114675"/>
                <a:gd name="connsiteX145" fmla="*/ 991950 w 2076450"/>
                <a:gd name="connsiteY145" fmla="*/ 191929 h 3114675"/>
                <a:gd name="connsiteX146" fmla="*/ 996713 w 2076450"/>
                <a:gd name="connsiteY146" fmla="*/ 111919 h 3114675"/>
                <a:gd name="connsiteX147" fmla="*/ 949088 w 2076450"/>
                <a:gd name="connsiteY147" fmla="*/ 7144 h 3114675"/>
                <a:gd name="connsiteX148" fmla="*/ 949088 w 2076450"/>
                <a:gd name="connsiteY148" fmla="*/ 7144 h 3114675"/>
                <a:gd name="connsiteX149" fmla="*/ 949088 w 2076450"/>
                <a:gd name="connsiteY149" fmla="*/ 7144 h 3114675"/>
                <a:gd name="connsiteX150" fmla="*/ 886223 w 2076450"/>
                <a:gd name="connsiteY150" fmla="*/ 287179 h 3114675"/>
                <a:gd name="connsiteX151" fmla="*/ 908130 w 2076450"/>
                <a:gd name="connsiteY151" fmla="*/ 327184 h 3114675"/>
                <a:gd name="connsiteX152" fmla="*/ 886223 w 2076450"/>
                <a:gd name="connsiteY152" fmla="*/ 287179 h 3114675"/>
                <a:gd name="connsiteX153" fmla="*/ 863363 w 2076450"/>
                <a:gd name="connsiteY153" fmla="*/ 404336 h 3114675"/>
                <a:gd name="connsiteX154" fmla="*/ 876698 w 2076450"/>
                <a:gd name="connsiteY154" fmla="*/ 435769 h 3114675"/>
                <a:gd name="connsiteX155" fmla="*/ 863363 w 2076450"/>
                <a:gd name="connsiteY155" fmla="*/ 404336 h 3114675"/>
                <a:gd name="connsiteX156" fmla="*/ 1116728 w 2076450"/>
                <a:gd name="connsiteY156" fmla="*/ 470059 h 3114675"/>
                <a:gd name="connsiteX157" fmla="*/ 1066245 w 2076450"/>
                <a:gd name="connsiteY157" fmla="*/ 511016 h 3114675"/>
                <a:gd name="connsiteX158" fmla="*/ 1116728 w 2076450"/>
                <a:gd name="connsiteY158" fmla="*/ 470059 h 3114675"/>
                <a:gd name="connsiteX159" fmla="*/ 1009095 w 2076450"/>
                <a:gd name="connsiteY159" fmla="*/ 584359 h 3114675"/>
                <a:gd name="connsiteX160" fmla="*/ 1029098 w 2076450"/>
                <a:gd name="connsiteY160" fmla="*/ 599599 h 3114675"/>
                <a:gd name="connsiteX161" fmla="*/ 1009095 w 2076450"/>
                <a:gd name="connsiteY161" fmla="*/ 584359 h 3114675"/>
                <a:gd name="connsiteX162" fmla="*/ 1009095 w 2076450"/>
                <a:gd name="connsiteY162" fmla="*/ 584359 h 3114675"/>
                <a:gd name="connsiteX163" fmla="*/ 1111013 w 2076450"/>
                <a:gd name="connsiteY163" fmla="*/ 603409 h 3114675"/>
                <a:gd name="connsiteX164" fmla="*/ 1111013 w 2076450"/>
                <a:gd name="connsiteY164" fmla="*/ 603409 h 3114675"/>
                <a:gd name="connsiteX165" fmla="*/ 1251030 w 2076450"/>
                <a:gd name="connsiteY165" fmla="*/ 632936 h 3114675"/>
                <a:gd name="connsiteX166" fmla="*/ 1251030 w 2076450"/>
                <a:gd name="connsiteY166" fmla="*/ 632936 h 3114675"/>
                <a:gd name="connsiteX167" fmla="*/ 1032908 w 2076450"/>
                <a:gd name="connsiteY167" fmla="*/ 760571 h 3114675"/>
                <a:gd name="connsiteX168" fmla="*/ 1028145 w 2076450"/>
                <a:gd name="connsiteY168" fmla="*/ 780574 h 3114675"/>
                <a:gd name="connsiteX169" fmla="*/ 1032908 w 2076450"/>
                <a:gd name="connsiteY169" fmla="*/ 760571 h 3114675"/>
                <a:gd name="connsiteX170" fmla="*/ 1032908 w 2076450"/>
                <a:gd name="connsiteY170" fmla="*/ 760571 h 3114675"/>
                <a:gd name="connsiteX171" fmla="*/ 961470 w 2076450"/>
                <a:gd name="connsiteY171" fmla="*/ 867251 h 3114675"/>
                <a:gd name="connsiteX172" fmla="*/ 961470 w 2076450"/>
                <a:gd name="connsiteY172" fmla="*/ 867251 h 3114675"/>
                <a:gd name="connsiteX173" fmla="*/ 1036718 w 2076450"/>
                <a:gd name="connsiteY173" fmla="*/ 884396 h 3114675"/>
                <a:gd name="connsiteX174" fmla="*/ 1036718 w 2076450"/>
                <a:gd name="connsiteY174" fmla="*/ 884396 h 3114675"/>
                <a:gd name="connsiteX175" fmla="*/ 921465 w 2076450"/>
                <a:gd name="connsiteY175" fmla="*/ 888206 h 3114675"/>
                <a:gd name="connsiteX176" fmla="*/ 921465 w 2076450"/>
                <a:gd name="connsiteY176" fmla="*/ 888206 h 3114675"/>
                <a:gd name="connsiteX177" fmla="*/ 874793 w 2076450"/>
                <a:gd name="connsiteY177" fmla="*/ 904399 h 3114675"/>
                <a:gd name="connsiteX178" fmla="*/ 874793 w 2076450"/>
                <a:gd name="connsiteY178" fmla="*/ 904399 h 3114675"/>
                <a:gd name="connsiteX179" fmla="*/ 681435 w 2076450"/>
                <a:gd name="connsiteY179" fmla="*/ 904399 h 3114675"/>
                <a:gd name="connsiteX180" fmla="*/ 777638 w 2076450"/>
                <a:gd name="connsiteY180" fmla="*/ 946309 h 3114675"/>
                <a:gd name="connsiteX181" fmla="*/ 681435 w 2076450"/>
                <a:gd name="connsiteY181" fmla="*/ 904399 h 3114675"/>
                <a:gd name="connsiteX182" fmla="*/ 1532970 w 2076450"/>
                <a:gd name="connsiteY182" fmla="*/ 1327309 h 3114675"/>
                <a:gd name="connsiteX183" fmla="*/ 1532970 w 2076450"/>
                <a:gd name="connsiteY183" fmla="*/ 1327309 h 3114675"/>
                <a:gd name="connsiteX184" fmla="*/ 757635 w 2076450"/>
                <a:gd name="connsiteY184" fmla="*/ 1423511 h 3114675"/>
                <a:gd name="connsiteX185" fmla="*/ 757635 w 2076450"/>
                <a:gd name="connsiteY185" fmla="*/ 1423511 h 3114675"/>
                <a:gd name="connsiteX186" fmla="*/ 1558688 w 2076450"/>
                <a:gd name="connsiteY186" fmla="*/ 1764506 h 3114675"/>
                <a:gd name="connsiteX187" fmla="*/ 1558688 w 2076450"/>
                <a:gd name="connsiteY187" fmla="*/ 1764506 h 3114675"/>
                <a:gd name="connsiteX188" fmla="*/ 1766333 w 2076450"/>
                <a:gd name="connsiteY188" fmla="*/ 1807369 h 3114675"/>
                <a:gd name="connsiteX189" fmla="*/ 1766333 w 2076450"/>
                <a:gd name="connsiteY189" fmla="*/ 1807369 h 3114675"/>
                <a:gd name="connsiteX190" fmla="*/ 1769190 w 2076450"/>
                <a:gd name="connsiteY190" fmla="*/ 2006441 h 3114675"/>
                <a:gd name="connsiteX191" fmla="*/ 1769190 w 2076450"/>
                <a:gd name="connsiteY191" fmla="*/ 2006441 h 3114675"/>
                <a:gd name="connsiteX192" fmla="*/ 151845 w 2076450"/>
                <a:gd name="connsiteY192" fmla="*/ 2329339 h 3114675"/>
                <a:gd name="connsiteX193" fmla="*/ 151845 w 2076450"/>
                <a:gd name="connsiteY193" fmla="*/ 2329339 h 3114675"/>
                <a:gd name="connsiteX194" fmla="*/ 301388 w 2076450"/>
                <a:gd name="connsiteY194" fmla="*/ 2397919 h 3114675"/>
                <a:gd name="connsiteX195" fmla="*/ 469028 w 2076450"/>
                <a:gd name="connsiteY195" fmla="*/ 2426494 h 3114675"/>
                <a:gd name="connsiteX196" fmla="*/ 301388 w 2076450"/>
                <a:gd name="connsiteY196" fmla="*/ 2397919 h 3114675"/>
                <a:gd name="connsiteX197" fmla="*/ 517605 w 2076450"/>
                <a:gd name="connsiteY197" fmla="*/ 2406491 h 3114675"/>
                <a:gd name="connsiteX198" fmla="*/ 517605 w 2076450"/>
                <a:gd name="connsiteY198" fmla="*/ 2406491 h 3114675"/>
                <a:gd name="connsiteX199" fmla="*/ 423308 w 2076450"/>
                <a:gd name="connsiteY199" fmla="*/ 2736056 h 3114675"/>
                <a:gd name="connsiteX200" fmla="*/ 423308 w 2076450"/>
                <a:gd name="connsiteY200" fmla="*/ 2736056 h 3114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</a:cxnLst>
              <a:rect l="l" t="t" r="r" b="b"/>
              <a:pathLst>
                <a:path w="2076450" h="3114675">
                  <a:moveTo>
                    <a:pt x="949088" y="7144"/>
                  </a:moveTo>
                  <a:cubicBezTo>
                    <a:pt x="938610" y="62389"/>
                    <a:pt x="972900" y="200501"/>
                    <a:pt x="883365" y="105251"/>
                  </a:cubicBezTo>
                  <a:cubicBezTo>
                    <a:pt x="870983" y="105251"/>
                    <a:pt x="992903" y="314801"/>
                    <a:pt x="909083" y="238601"/>
                  </a:cubicBezTo>
                  <a:cubicBezTo>
                    <a:pt x="898605" y="171926"/>
                    <a:pt x="863363" y="174784"/>
                    <a:pt x="833835" y="193834"/>
                  </a:cubicBezTo>
                  <a:cubicBezTo>
                    <a:pt x="732870" y="154781"/>
                    <a:pt x="858600" y="285274"/>
                    <a:pt x="817643" y="301466"/>
                  </a:cubicBezTo>
                  <a:cubicBezTo>
                    <a:pt x="895748" y="301466"/>
                    <a:pt x="870030" y="356711"/>
                    <a:pt x="810023" y="328136"/>
                  </a:cubicBezTo>
                  <a:cubicBezTo>
                    <a:pt x="906225" y="459581"/>
                    <a:pt x="686198" y="348139"/>
                    <a:pt x="684293" y="381476"/>
                  </a:cubicBezTo>
                  <a:cubicBezTo>
                    <a:pt x="777638" y="421481"/>
                    <a:pt x="622380" y="411004"/>
                    <a:pt x="703343" y="451009"/>
                  </a:cubicBezTo>
                  <a:cubicBezTo>
                    <a:pt x="833835" y="496729"/>
                    <a:pt x="615713" y="505301"/>
                    <a:pt x="714773" y="539591"/>
                  </a:cubicBezTo>
                  <a:cubicBezTo>
                    <a:pt x="761445" y="555784"/>
                    <a:pt x="860505" y="517684"/>
                    <a:pt x="828120" y="573881"/>
                  </a:cubicBezTo>
                  <a:cubicBezTo>
                    <a:pt x="890033" y="568166"/>
                    <a:pt x="887175" y="616744"/>
                    <a:pt x="947183" y="577691"/>
                  </a:cubicBezTo>
                  <a:cubicBezTo>
                    <a:pt x="977663" y="712946"/>
                    <a:pt x="680483" y="534829"/>
                    <a:pt x="731918" y="618649"/>
                  </a:cubicBezTo>
                  <a:cubicBezTo>
                    <a:pt x="670005" y="621506"/>
                    <a:pt x="575708" y="525304"/>
                    <a:pt x="530940" y="601504"/>
                  </a:cubicBezTo>
                  <a:cubicBezTo>
                    <a:pt x="396638" y="611981"/>
                    <a:pt x="563325" y="655796"/>
                    <a:pt x="597615" y="649129"/>
                  </a:cubicBezTo>
                  <a:cubicBezTo>
                    <a:pt x="487125" y="737711"/>
                    <a:pt x="741443" y="614839"/>
                    <a:pt x="629048" y="688181"/>
                  </a:cubicBezTo>
                  <a:cubicBezTo>
                    <a:pt x="648098" y="779621"/>
                    <a:pt x="834788" y="621506"/>
                    <a:pt x="714773" y="728186"/>
                  </a:cubicBezTo>
                  <a:cubicBezTo>
                    <a:pt x="762398" y="785336"/>
                    <a:pt x="937658" y="659606"/>
                    <a:pt x="947183" y="689134"/>
                  </a:cubicBezTo>
                  <a:cubicBezTo>
                    <a:pt x="884318" y="784384"/>
                    <a:pt x="764303" y="785336"/>
                    <a:pt x="674768" y="758666"/>
                  </a:cubicBezTo>
                  <a:cubicBezTo>
                    <a:pt x="734775" y="821531"/>
                    <a:pt x="570945" y="739616"/>
                    <a:pt x="528083" y="788194"/>
                  </a:cubicBezTo>
                  <a:cubicBezTo>
                    <a:pt x="468075" y="789146"/>
                    <a:pt x="536655" y="836771"/>
                    <a:pt x="530940" y="846296"/>
                  </a:cubicBezTo>
                  <a:cubicBezTo>
                    <a:pt x="598568" y="865346"/>
                    <a:pt x="709058" y="934879"/>
                    <a:pt x="569040" y="912971"/>
                  </a:cubicBezTo>
                  <a:cubicBezTo>
                    <a:pt x="508080" y="912019"/>
                    <a:pt x="602378" y="1022509"/>
                    <a:pt x="502365" y="958691"/>
                  </a:cubicBezTo>
                  <a:cubicBezTo>
                    <a:pt x="451883" y="931069"/>
                    <a:pt x="479505" y="1007269"/>
                    <a:pt x="409973" y="972979"/>
                  </a:cubicBezTo>
                  <a:cubicBezTo>
                    <a:pt x="347108" y="988219"/>
                    <a:pt x="509985" y="1057751"/>
                    <a:pt x="547133" y="1067276"/>
                  </a:cubicBezTo>
                  <a:cubicBezTo>
                    <a:pt x="619523" y="1065371"/>
                    <a:pt x="693818" y="1189196"/>
                    <a:pt x="730013" y="1155859"/>
                  </a:cubicBezTo>
                  <a:cubicBezTo>
                    <a:pt x="636668" y="1233964"/>
                    <a:pt x="512843" y="1162526"/>
                    <a:pt x="409020" y="1204436"/>
                  </a:cubicBezTo>
                  <a:cubicBezTo>
                    <a:pt x="366158" y="1237774"/>
                    <a:pt x="517605" y="1304449"/>
                    <a:pt x="530940" y="1310164"/>
                  </a:cubicBezTo>
                  <a:cubicBezTo>
                    <a:pt x="681435" y="1376839"/>
                    <a:pt x="344250" y="1305401"/>
                    <a:pt x="366158" y="1365409"/>
                  </a:cubicBezTo>
                  <a:cubicBezTo>
                    <a:pt x="458550" y="1420654"/>
                    <a:pt x="541418" y="1491139"/>
                    <a:pt x="637620" y="1413034"/>
                  </a:cubicBezTo>
                  <a:cubicBezTo>
                    <a:pt x="670005" y="1436846"/>
                    <a:pt x="579518" y="1429226"/>
                    <a:pt x="617618" y="1487329"/>
                  </a:cubicBezTo>
                  <a:cubicBezTo>
                    <a:pt x="522368" y="1531144"/>
                    <a:pt x="340440" y="1537811"/>
                    <a:pt x="286148" y="1588294"/>
                  </a:cubicBezTo>
                  <a:cubicBezTo>
                    <a:pt x="365205" y="1664494"/>
                    <a:pt x="451883" y="1673066"/>
                    <a:pt x="550943" y="1688306"/>
                  </a:cubicBezTo>
                  <a:cubicBezTo>
                    <a:pt x="602378" y="1669256"/>
                    <a:pt x="582375" y="1654016"/>
                    <a:pt x="627143" y="1666399"/>
                  </a:cubicBezTo>
                  <a:cubicBezTo>
                    <a:pt x="664290" y="1686401"/>
                    <a:pt x="692865" y="1613059"/>
                    <a:pt x="734775" y="1662589"/>
                  </a:cubicBezTo>
                  <a:cubicBezTo>
                    <a:pt x="690008" y="1710214"/>
                    <a:pt x="452835" y="1702594"/>
                    <a:pt x="604283" y="1759744"/>
                  </a:cubicBezTo>
                  <a:cubicBezTo>
                    <a:pt x="479505" y="1794986"/>
                    <a:pt x="344250" y="1767364"/>
                    <a:pt x="217568" y="1794986"/>
                  </a:cubicBezTo>
                  <a:cubicBezTo>
                    <a:pt x="143273" y="1828324"/>
                    <a:pt x="304245" y="1820704"/>
                    <a:pt x="214710" y="1862614"/>
                  </a:cubicBezTo>
                  <a:cubicBezTo>
                    <a:pt x="175658" y="1910239"/>
                    <a:pt x="361395" y="1859756"/>
                    <a:pt x="335678" y="1914049"/>
                  </a:cubicBezTo>
                  <a:cubicBezTo>
                    <a:pt x="396638" y="1903571"/>
                    <a:pt x="425213" y="1929289"/>
                    <a:pt x="472838" y="1916906"/>
                  </a:cubicBezTo>
                  <a:cubicBezTo>
                    <a:pt x="469028" y="1982629"/>
                    <a:pt x="542370" y="1894999"/>
                    <a:pt x="553800" y="1953101"/>
                  </a:cubicBezTo>
                  <a:cubicBezTo>
                    <a:pt x="615713" y="1943576"/>
                    <a:pt x="709058" y="1981676"/>
                    <a:pt x="602378" y="2004536"/>
                  </a:cubicBezTo>
                  <a:cubicBezTo>
                    <a:pt x="489030" y="2033111"/>
                    <a:pt x="378540" y="2021681"/>
                    <a:pt x="275670" y="2024539"/>
                  </a:cubicBezTo>
                  <a:cubicBezTo>
                    <a:pt x="208995" y="2001679"/>
                    <a:pt x="117555" y="2018824"/>
                    <a:pt x="236618" y="2049304"/>
                  </a:cubicBezTo>
                  <a:cubicBezTo>
                    <a:pt x="332820" y="2060734"/>
                    <a:pt x="145178" y="2068354"/>
                    <a:pt x="262335" y="2092166"/>
                  </a:cubicBezTo>
                  <a:cubicBezTo>
                    <a:pt x="280433" y="2148364"/>
                    <a:pt x="381398" y="2103596"/>
                    <a:pt x="420450" y="2151221"/>
                  </a:cubicBezTo>
                  <a:cubicBezTo>
                    <a:pt x="509033" y="2108359"/>
                    <a:pt x="390923" y="2195036"/>
                    <a:pt x="480458" y="2174081"/>
                  </a:cubicBezTo>
                  <a:cubicBezTo>
                    <a:pt x="575708" y="2192179"/>
                    <a:pt x="324248" y="2267426"/>
                    <a:pt x="269955" y="2228374"/>
                  </a:cubicBezTo>
                  <a:cubicBezTo>
                    <a:pt x="213758" y="2232184"/>
                    <a:pt x="143273" y="2230279"/>
                    <a:pt x="106125" y="2250281"/>
                  </a:cubicBezTo>
                  <a:cubicBezTo>
                    <a:pt x="206138" y="2296001"/>
                    <a:pt x="-65325" y="2235041"/>
                    <a:pt x="45165" y="2290286"/>
                  </a:cubicBezTo>
                  <a:cubicBezTo>
                    <a:pt x="112793" y="2290286"/>
                    <a:pt x="125175" y="2298859"/>
                    <a:pt x="84218" y="2353151"/>
                  </a:cubicBezTo>
                  <a:cubicBezTo>
                    <a:pt x="115650" y="2409349"/>
                    <a:pt x="321390" y="2387441"/>
                    <a:pt x="203280" y="2444591"/>
                  </a:cubicBezTo>
                  <a:cubicBezTo>
                    <a:pt x="147083" y="2440781"/>
                    <a:pt x="65168" y="2474119"/>
                    <a:pt x="172800" y="2478881"/>
                  </a:cubicBezTo>
                  <a:cubicBezTo>
                    <a:pt x="257573" y="2456021"/>
                    <a:pt x="98505" y="2546509"/>
                    <a:pt x="201375" y="2519839"/>
                  </a:cubicBezTo>
                  <a:cubicBezTo>
                    <a:pt x="231855" y="2566511"/>
                    <a:pt x="284243" y="2528411"/>
                    <a:pt x="301388" y="2558891"/>
                  </a:cubicBezTo>
                  <a:cubicBezTo>
                    <a:pt x="372825" y="2593181"/>
                    <a:pt x="107078" y="2573179"/>
                    <a:pt x="76598" y="2589371"/>
                  </a:cubicBezTo>
                  <a:cubicBezTo>
                    <a:pt x="179468" y="2628424"/>
                    <a:pt x="-65325" y="2632234"/>
                    <a:pt x="58500" y="2659856"/>
                  </a:cubicBezTo>
                  <a:cubicBezTo>
                    <a:pt x="100410" y="2649379"/>
                    <a:pt x="183278" y="2635091"/>
                    <a:pt x="110888" y="2693194"/>
                  </a:cubicBezTo>
                  <a:cubicBezTo>
                    <a:pt x="167085" y="2674144"/>
                    <a:pt x="196613" y="2711291"/>
                    <a:pt x="214710" y="2727484"/>
                  </a:cubicBezTo>
                  <a:cubicBezTo>
                    <a:pt x="247095" y="2699861"/>
                    <a:pt x="297578" y="2700814"/>
                    <a:pt x="262335" y="2756059"/>
                  </a:cubicBezTo>
                  <a:cubicBezTo>
                    <a:pt x="318533" y="2733199"/>
                    <a:pt x="387113" y="2651284"/>
                    <a:pt x="358538" y="2733199"/>
                  </a:cubicBezTo>
                  <a:cubicBezTo>
                    <a:pt x="470933" y="2695099"/>
                    <a:pt x="299483" y="2803684"/>
                    <a:pt x="254715" y="2758916"/>
                  </a:cubicBezTo>
                  <a:cubicBezTo>
                    <a:pt x="164228" y="2746534"/>
                    <a:pt x="93743" y="2773204"/>
                    <a:pt x="45165" y="2806541"/>
                  </a:cubicBezTo>
                  <a:cubicBezTo>
                    <a:pt x="161370" y="2800826"/>
                    <a:pt x="-83423" y="2882741"/>
                    <a:pt x="46118" y="2865596"/>
                  </a:cubicBezTo>
                  <a:cubicBezTo>
                    <a:pt x="120413" y="2833211"/>
                    <a:pt x="88028" y="2862739"/>
                    <a:pt x="88980" y="2895124"/>
                  </a:cubicBezTo>
                  <a:cubicBezTo>
                    <a:pt x="132795" y="2875121"/>
                    <a:pt x="93743" y="2942749"/>
                    <a:pt x="155655" y="2902744"/>
                  </a:cubicBezTo>
                  <a:cubicBezTo>
                    <a:pt x="209948" y="2924651"/>
                    <a:pt x="280433" y="2904649"/>
                    <a:pt x="343298" y="2914174"/>
                  </a:cubicBezTo>
                  <a:cubicBezTo>
                    <a:pt x="274718" y="2910364"/>
                    <a:pt x="168038" y="2980849"/>
                    <a:pt x="301388" y="2956084"/>
                  </a:cubicBezTo>
                  <a:cubicBezTo>
                    <a:pt x="209948" y="3007519"/>
                    <a:pt x="314723" y="3013234"/>
                    <a:pt x="361395" y="2980849"/>
                  </a:cubicBezTo>
                  <a:cubicBezTo>
                    <a:pt x="302340" y="3085624"/>
                    <a:pt x="505223" y="3017996"/>
                    <a:pt x="511890" y="3029426"/>
                  </a:cubicBezTo>
                  <a:cubicBezTo>
                    <a:pt x="501413" y="3104674"/>
                    <a:pt x="612855" y="2953226"/>
                    <a:pt x="603330" y="3058001"/>
                  </a:cubicBezTo>
                  <a:cubicBezTo>
                    <a:pt x="692865" y="3028474"/>
                    <a:pt x="764303" y="3011329"/>
                    <a:pt x="825263" y="2954179"/>
                  </a:cubicBezTo>
                  <a:cubicBezTo>
                    <a:pt x="868125" y="3001804"/>
                    <a:pt x="922418" y="2812256"/>
                    <a:pt x="957660" y="2927509"/>
                  </a:cubicBezTo>
                  <a:cubicBezTo>
                    <a:pt x="950993" y="3005614"/>
                    <a:pt x="858600" y="3144679"/>
                    <a:pt x="1013858" y="3102769"/>
                  </a:cubicBezTo>
                  <a:cubicBezTo>
                    <a:pt x="1088153" y="3107531"/>
                    <a:pt x="1167210" y="3117056"/>
                    <a:pt x="1119585" y="3020854"/>
                  </a:cubicBezTo>
                  <a:cubicBezTo>
                    <a:pt x="1095773" y="2920841"/>
                    <a:pt x="1165305" y="2995136"/>
                    <a:pt x="1191975" y="2997041"/>
                  </a:cubicBezTo>
                  <a:cubicBezTo>
                    <a:pt x="1258650" y="3067526"/>
                    <a:pt x="1392953" y="3040856"/>
                    <a:pt x="1468200" y="3026569"/>
                  </a:cubicBezTo>
                  <a:cubicBezTo>
                    <a:pt x="1457723" y="2961799"/>
                    <a:pt x="1529160" y="3010376"/>
                    <a:pt x="1561545" y="3002756"/>
                  </a:cubicBezTo>
                  <a:cubicBezTo>
                    <a:pt x="1593930" y="3038951"/>
                    <a:pt x="1657748" y="3041809"/>
                    <a:pt x="1679655" y="3030379"/>
                  </a:cubicBezTo>
                  <a:cubicBezTo>
                    <a:pt x="1735853" y="3070384"/>
                    <a:pt x="1690133" y="2906554"/>
                    <a:pt x="1748235" y="2996089"/>
                  </a:cubicBezTo>
                  <a:cubicBezTo>
                    <a:pt x="1790145" y="3019901"/>
                    <a:pt x="1871108" y="2994184"/>
                    <a:pt x="1893968" y="3009424"/>
                  </a:cubicBezTo>
                  <a:cubicBezTo>
                    <a:pt x="1889205" y="2959894"/>
                    <a:pt x="1945403" y="2984659"/>
                    <a:pt x="1888253" y="2944654"/>
                  </a:cubicBezTo>
                  <a:cubicBezTo>
                    <a:pt x="1905398" y="2942749"/>
                    <a:pt x="2032080" y="2999899"/>
                    <a:pt x="1964453" y="2947511"/>
                  </a:cubicBezTo>
                  <a:cubicBezTo>
                    <a:pt x="2079705" y="2950369"/>
                    <a:pt x="2036843" y="2899886"/>
                    <a:pt x="1948260" y="2913221"/>
                  </a:cubicBezTo>
                  <a:cubicBezTo>
                    <a:pt x="1883490" y="2907506"/>
                    <a:pt x="1767285" y="2873216"/>
                    <a:pt x="1843485" y="2853214"/>
                  </a:cubicBezTo>
                  <a:cubicBezTo>
                    <a:pt x="1859678" y="2837021"/>
                    <a:pt x="1951118" y="2853214"/>
                    <a:pt x="1883490" y="2818924"/>
                  </a:cubicBezTo>
                  <a:cubicBezTo>
                    <a:pt x="1929210" y="2839879"/>
                    <a:pt x="1994933" y="2790349"/>
                    <a:pt x="1909208" y="2790349"/>
                  </a:cubicBezTo>
                  <a:cubicBezTo>
                    <a:pt x="1962548" y="2784634"/>
                    <a:pt x="1960643" y="2735104"/>
                    <a:pt x="2032080" y="2757964"/>
                  </a:cubicBezTo>
                  <a:cubicBezTo>
                    <a:pt x="1946355" y="2722721"/>
                    <a:pt x="2002553" y="2723674"/>
                    <a:pt x="2036843" y="2711291"/>
                  </a:cubicBezTo>
                  <a:cubicBezTo>
                    <a:pt x="1972073" y="2706529"/>
                    <a:pt x="1884443" y="2674144"/>
                    <a:pt x="2008268" y="2670334"/>
                  </a:cubicBezTo>
                  <a:cubicBezTo>
                    <a:pt x="2132093" y="2620804"/>
                    <a:pt x="1982550" y="2644616"/>
                    <a:pt x="1943498" y="2645569"/>
                  </a:cubicBezTo>
                  <a:cubicBezTo>
                    <a:pt x="2009220" y="2564606"/>
                    <a:pt x="1844438" y="2680811"/>
                    <a:pt x="1793003" y="2651284"/>
                  </a:cubicBezTo>
                  <a:cubicBezTo>
                    <a:pt x="1703468" y="2657951"/>
                    <a:pt x="1501538" y="2570321"/>
                    <a:pt x="1497728" y="2538889"/>
                  </a:cubicBezTo>
                  <a:cubicBezTo>
                    <a:pt x="1528208" y="2533174"/>
                    <a:pt x="1620600" y="2608421"/>
                    <a:pt x="1592025" y="2535079"/>
                  </a:cubicBezTo>
                  <a:cubicBezTo>
                    <a:pt x="1682513" y="2614136"/>
                    <a:pt x="1734900" y="2472214"/>
                    <a:pt x="1824435" y="2566511"/>
                  </a:cubicBezTo>
                  <a:cubicBezTo>
                    <a:pt x="1703468" y="2427446"/>
                    <a:pt x="2134950" y="2525554"/>
                    <a:pt x="1938735" y="2449354"/>
                  </a:cubicBezTo>
                  <a:cubicBezTo>
                    <a:pt x="1915875" y="2436971"/>
                    <a:pt x="2165430" y="2449354"/>
                    <a:pt x="2000648" y="2416969"/>
                  </a:cubicBezTo>
                  <a:cubicBezTo>
                    <a:pt x="1945403" y="2423636"/>
                    <a:pt x="2077800" y="2375059"/>
                    <a:pt x="1993028" y="2387441"/>
                  </a:cubicBezTo>
                  <a:cubicBezTo>
                    <a:pt x="1840628" y="2373154"/>
                    <a:pt x="1705373" y="2382679"/>
                    <a:pt x="1549163" y="2328386"/>
                  </a:cubicBezTo>
                  <a:cubicBezTo>
                    <a:pt x="1451055" y="2308384"/>
                    <a:pt x="1461533" y="2256949"/>
                    <a:pt x="1554878" y="2282666"/>
                  </a:cubicBezTo>
                  <a:cubicBezTo>
                    <a:pt x="1673940" y="2311241"/>
                    <a:pt x="1712040" y="2290286"/>
                    <a:pt x="1823483" y="2291239"/>
                  </a:cubicBezTo>
                  <a:cubicBezTo>
                    <a:pt x="1848248" y="2213134"/>
                    <a:pt x="2103518" y="2260759"/>
                    <a:pt x="1994933" y="2158841"/>
                  </a:cubicBezTo>
                  <a:cubicBezTo>
                    <a:pt x="2052083" y="2127409"/>
                    <a:pt x="2122568" y="2111216"/>
                    <a:pt x="2013983" y="2124551"/>
                  </a:cubicBezTo>
                  <a:cubicBezTo>
                    <a:pt x="1910160" y="2121694"/>
                    <a:pt x="1786335" y="2110264"/>
                    <a:pt x="1699658" y="2061686"/>
                  </a:cubicBezTo>
                  <a:cubicBezTo>
                    <a:pt x="1721565" y="2011204"/>
                    <a:pt x="1873965" y="2095976"/>
                    <a:pt x="1808243" y="2027396"/>
                  </a:cubicBezTo>
                  <a:cubicBezTo>
                    <a:pt x="1845390" y="2033111"/>
                    <a:pt x="1914923" y="2015966"/>
                    <a:pt x="1836818" y="2000726"/>
                  </a:cubicBezTo>
                  <a:cubicBezTo>
                    <a:pt x="1905398" y="1995011"/>
                    <a:pt x="2018745" y="1882616"/>
                    <a:pt x="1875870" y="1935004"/>
                  </a:cubicBezTo>
                  <a:cubicBezTo>
                    <a:pt x="1803480" y="1892141"/>
                    <a:pt x="1605360" y="1962626"/>
                    <a:pt x="1600598" y="1869281"/>
                  </a:cubicBezTo>
                  <a:cubicBezTo>
                    <a:pt x="1705373" y="1889284"/>
                    <a:pt x="1819673" y="1872139"/>
                    <a:pt x="1823483" y="1737836"/>
                  </a:cubicBezTo>
                  <a:cubicBezTo>
                    <a:pt x="1751093" y="1747361"/>
                    <a:pt x="1638698" y="1814036"/>
                    <a:pt x="1592025" y="1729264"/>
                  </a:cubicBezTo>
                  <a:cubicBezTo>
                    <a:pt x="1623458" y="1750219"/>
                    <a:pt x="1690133" y="1734979"/>
                    <a:pt x="1639650" y="1693069"/>
                  </a:cubicBezTo>
                  <a:cubicBezTo>
                    <a:pt x="1694895" y="1704499"/>
                    <a:pt x="1723470" y="1603534"/>
                    <a:pt x="1648223" y="1652111"/>
                  </a:cubicBezTo>
                  <a:cubicBezTo>
                    <a:pt x="1592025" y="1662589"/>
                    <a:pt x="1391048" y="1666399"/>
                    <a:pt x="1437720" y="1613059"/>
                  </a:cubicBezTo>
                  <a:cubicBezTo>
                    <a:pt x="1490108" y="1631156"/>
                    <a:pt x="1612028" y="1607344"/>
                    <a:pt x="1519635" y="1556861"/>
                  </a:cubicBezTo>
                  <a:cubicBezTo>
                    <a:pt x="1584405" y="1579721"/>
                    <a:pt x="1719660" y="1506379"/>
                    <a:pt x="1697753" y="1459706"/>
                  </a:cubicBezTo>
                  <a:cubicBezTo>
                    <a:pt x="1650128" y="1406366"/>
                    <a:pt x="1590120" y="1445419"/>
                    <a:pt x="1539638" y="1435894"/>
                  </a:cubicBezTo>
                  <a:cubicBezTo>
                    <a:pt x="1603455" y="1393984"/>
                    <a:pt x="1538685" y="1420654"/>
                    <a:pt x="1520588" y="1388269"/>
                  </a:cubicBezTo>
                  <a:cubicBezTo>
                    <a:pt x="1471058" y="1479709"/>
                    <a:pt x="1237695" y="1392079"/>
                    <a:pt x="1282463" y="1360646"/>
                  </a:cubicBezTo>
                  <a:cubicBezTo>
                    <a:pt x="1390095" y="1360646"/>
                    <a:pt x="1469153" y="1357789"/>
                    <a:pt x="1568213" y="1328261"/>
                  </a:cubicBezTo>
                  <a:cubicBezTo>
                    <a:pt x="1540590" y="1255871"/>
                    <a:pt x="1746330" y="1225391"/>
                    <a:pt x="1593930" y="1209199"/>
                  </a:cubicBezTo>
                  <a:cubicBezTo>
                    <a:pt x="1560593" y="1139666"/>
                    <a:pt x="1406288" y="1264444"/>
                    <a:pt x="1440578" y="1151096"/>
                  </a:cubicBezTo>
                  <a:cubicBezTo>
                    <a:pt x="1348185" y="1224439"/>
                    <a:pt x="1149113" y="1139666"/>
                    <a:pt x="1127205" y="1094899"/>
                  </a:cubicBezTo>
                  <a:cubicBezTo>
                    <a:pt x="1214835" y="1122521"/>
                    <a:pt x="1236743" y="1092041"/>
                    <a:pt x="1310085" y="1109186"/>
                  </a:cubicBezTo>
                  <a:cubicBezTo>
                    <a:pt x="1300560" y="1078706"/>
                    <a:pt x="1375808" y="1166336"/>
                    <a:pt x="1406288" y="1094899"/>
                  </a:cubicBezTo>
                  <a:cubicBezTo>
                    <a:pt x="1479630" y="1092041"/>
                    <a:pt x="1424385" y="984409"/>
                    <a:pt x="1508205" y="1040606"/>
                  </a:cubicBezTo>
                  <a:cubicBezTo>
                    <a:pt x="1529160" y="993934"/>
                    <a:pt x="1647270" y="970121"/>
                    <a:pt x="1532018" y="969169"/>
                  </a:cubicBezTo>
                  <a:cubicBezTo>
                    <a:pt x="1498680" y="936784"/>
                    <a:pt x="1427243" y="1008221"/>
                    <a:pt x="1421528" y="938689"/>
                  </a:cubicBezTo>
                  <a:cubicBezTo>
                    <a:pt x="1342470" y="1012031"/>
                    <a:pt x="1203405" y="991076"/>
                    <a:pt x="1154828" y="903446"/>
                  </a:cubicBezTo>
                  <a:cubicBezTo>
                    <a:pt x="1199595" y="899636"/>
                    <a:pt x="1305323" y="967264"/>
                    <a:pt x="1304370" y="884396"/>
                  </a:cubicBezTo>
                  <a:cubicBezTo>
                    <a:pt x="1348185" y="928211"/>
                    <a:pt x="1442483" y="914876"/>
                    <a:pt x="1351995" y="868204"/>
                  </a:cubicBezTo>
                  <a:cubicBezTo>
                    <a:pt x="1412003" y="912019"/>
                    <a:pt x="1490108" y="871061"/>
                    <a:pt x="1480583" y="832009"/>
                  </a:cubicBezTo>
                  <a:cubicBezTo>
                    <a:pt x="1625363" y="814864"/>
                    <a:pt x="1407240" y="763429"/>
                    <a:pt x="1363425" y="798671"/>
                  </a:cubicBezTo>
                  <a:cubicBezTo>
                    <a:pt x="1310085" y="684371"/>
                    <a:pt x="1158638" y="849154"/>
                    <a:pt x="1131015" y="755809"/>
                  </a:cubicBezTo>
                  <a:cubicBezTo>
                    <a:pt x="1102440" y="740569"/>
                    <a:pt x="956708" y="677704"/>
                    <a:pt x="1019573" y="655796"/>
                  </a:cubicBezTo>
                  <a:cubicBezTo>
                    <a:pt x="1029098" y="698659"/>
                    <a:pt x="1091963" y="752951"/>
                    <a:pt x="1088153" y="673894"/>
                  </a:cubicBezTo>
                  <a:cubicBezTo>
                    <a:pt x="1124348" y="778669"/>
                    <a:pt x="1187213" y="639604"/>
                    <a:pt x="1244363" y="727234"/>
                  </a:cubicBezTo>
                  <a:cubicBezTo>
                    <a:pt x="1271033" y="670084"/>
                    <a:pt x="1362473" y="748189"/>
                    <a:pt x="1389143" y="667226"/>
                  </a:cubicBezTo>
                  <a:cubicBezTo>
                    <a:pt x="1335803" y="624364"/>
                    <a:pt x="1186260" y="578644"/>
                    <a:pt x="1174830" y="590074"/>
                  </a:cubicBezTo>
                  <a:cubicBezTo>
                    <a:pt x="1230075" y="543401"/>
                    <a:pt x="1273890" y="526256"/>
                    <a:pt x="1180545" y="513874"/>
                  </a:cubicBezTo>
                  <a:cubicBezTo>
                    <a:pt x="1169115" y="479584"/>
                    <a:pt x="1356758" y="462439"/>
                    <a:pt x="1228170" y="415766"/>
                  </a:cubicBezTo>
                  <a:cubicBezTo>
                    <a:pt x="1322468" y="381476"/>
                    <a:pt x="1196738" y="349091"/>
                    <a:pt x="1251983" y="298609"/>
                  </a:cubicBezTo>
                  <a:cubicBezTo>
                    <a:pt x="1150065" y="302419"/>
                    <a:pt x="1100535" y="370046"/>
                    <a:pt x="1035765" y="451009"/>
                  </a:cubicBezTo>
                  <a:cubicBezTo>
                    <a:pt x="960518" y="465296"/>
                    <a:pt x="970995" y="241459"/>
                    <a:pt x="1058625" y="322421"/>
                  </a:cubicBezTo>
                  <a:cubicBezTo>
                    <a:pt x="1152923" y="327184"/>
                    <a:pt x="1126253" y="254794"/>
                    <a:pt x="1052910" y="251936"/>
                  </a:cubicBezTo>
                  <a:cubicBezTo>
                    <a:pt x="1091010" y="247174"/>
                    <a:pt x="1221503" y="242411"/>
                    <a:pt x="1112918" y="211931"/>
                  </a:cubicBezTo>
                  <a:cubicBezTo>
                    <a:pt x="1191023" y="135731"/>
                    <a:pt x="1113870" y="174784"/>
                    <a:pt x="1064340" y="185261"/>
                  </a:cubicBezTo>
                  <a:cubicBezTo>
                    <a:pt x="1030050" y="136684"/>
                    <a:pt x="969090" y="322421"/>
                    <a:pt x="991950" y="191929"/>
                  </a:cubicBezTo>
                  <a:cubicBezTo>
                    <a:pt x="1009095" y="137636"/>
                    <a:pt x="1116728" y="33814"/>
                    <a:pt x="996713" y="111919"/>
                  </a:cubicBezTo>
                  <a:cubicBezTo>
                    <a:pt x="947183" y="118586"/>
                    <a:pt x="1017668" y="24289"/>
                    <a:pt x="949088" y="7144"/>
                  </a:cubicBezTo>
                  <a:lnTo>
                    <a:pt x="949088" y="7144"/>
                  </a:lnTo>
                  <a:lnTo>
                    <a:pt x="949088" y="7144"/>
                  </a:lnTo>
                  <a:close/>
                  <a:moveTo>
                    <a:pt x="886223" y="287179"/>
                  </a:moveTo>
                  <a:cubicBezTo>
                    <a:pt x="950993" y="293846"/>
                    <a:pt x="936705" y="430054"/>
                    <a:pt x="908130" y="327184"/>
                  </a:cubicBezTo>
                  <a:cubicBezTo>
                    <a:pt x="904320" y="313849"/>
                    <a:pt x="879555" y="305276"/>
                    <a:pt x="886223" y="287179"/>
                  </a:cubicBezTo>
                  <a:close/>
                  <a:moveTo>
                    <a:pt x="863363" y="404336"/>
                  </a:moveTo>
                  <a:cubicBezTo>
                    <a:pt x="931943" y="406241"/>
                    <a:pt x="947183" y="504349"/>
                    <a:pt x="876698" y="435769"/>
                  </a:cubicBezTo>
                  <a:cubicBezTo>
                    <a:pt x="877650" y="436721"/>
                    <a:pt x="842408" y="406241"/>
                    <a:pt x="863363" y="404336"/>
                  </a:cubicBezTo>
                  <a:close/>
                  <a:moveTo>
                    <a:pt x="1116728" y="470059"/>
                  </a:moveTo>
                  <a:cubicBezTo>
                    <a:pt x="1142445" y="539591"/>
                    <a:pt x="916703" y="542449"/>
                    <a:pt x="1066245" y="511016"/>
                  </a:cubicBezTo>
                  <a:cubicBezTo>
                    <a:pt x="1087200" y="502444"/>
                    <a:pt x="1096725" y="479584"/>
                    <a:pt x="1116728" y="470059"/>
                  </a:cubicBezTo>
                  <a:close/>
                  <a:moveTo>
                    <a:pt x="1009095" y="584359"/>
                  </a:moveTo>
                  <a:cubicBezTo>
                    <a:pt x="1068150" y="591026"/>
                    <a:pt x="1128158" y="624364"/>
                    <a:pt x="1029098" y="599599"/>
                  </a:cubicBezTo>
                  <a:lnTo>
                    <a:pt x="1009095" y="584359"/>
                  </a:lnTo>
                  <a:lnTo>
                    <a:pt x="1009095" y="584359"/>
                  </a:lnTo>
                  <a:close/>
                  <a:moveTo>
                    <a:pt x="1111013" y="603409"/>
                  </a:moveTo>
                  <a:cubicBezTo>
                    <a:pt x="1179593" y="587216"/>
                    <a:pt x="1100535" y="662464"/>
                    <a:pt x="1111013" y="603409"/>
                  </a:cubicBezTo>
                  <a:close/>
                  <a:moveTo>
                    <a:pt x="1251030" y="632936"/>
                  </a:moveTo>
                  <a:cubicBezTo>
                    <a:pt x="1281510" y="652939"/>
                    <a:pt x="1209120" y="642461"/>
                    <a:pt x="1251030" y="632936"/>
                  </a:cubicBezTo>
                  <a:close/>
                  <a:moveTo>
                    <a:pt x="1032908" y="760571"/>
                  </a:moveTo>
                  <a:cubicBezTo>
                    <a:pt x="1069103" y="813911"/>
                    <a:pt x="1010048" y="875824"/>
                    <a:pt x="1028145" y="780574"/>
                  </a:cubicBezTo>
                  <a:lnTo>
                    <a:pt x="1032908" y="760571"/>
                  </a:lnTo>
                  <a:lnTo>
                    <a:pt x="1032908" y="760571"/>
                  </a:lnTo>
                  <a:close/>
                  <a:moveTo>
                    <a:pt x="961470" y="867251"/>
                  </a:moveTo>
                  <a:cubicBezTo>
                    <a:pt x="989093" y="885349"/>
                    <a:pt x="919560" y="881539"/>
                    <a:pt x="961470" y="867251"/>
                  </a:cubicBezTo>
                  <a:close/>
                  <a:moveTo>
                    <a:pt x="1036718" y="884396"/>
                  </a:moveTo>
                  <a:cubicBezTo>
                    <a:pt x="1052910" y="926306"/>
                    <a:pt x="1022430" y="907256"/>
                    <a:pt x="1036718" y="884396"/>
                  </a:cubicBezTo>
                  <a:close/>
                  <a:moveTo>
                    <a:pt x="921465" y="888206"/>
                  </a:moveTo>
                  <a:cubicBezTo>
                    <a:pt x="952898" y="901541"/>
                    <a:pt x="887175" y="904399"/>
                    <a:pt x="921465" y="888206"/>
                  </a:cubicBezTo>
                  <a:close/>
                  <a:moveTo>
                    <a:pt x="874793" y="904399"/>
                  </a:moveTo>
                  <a:cubicBezTo>
                    <a:pt x="906225" y="917734"/>
                    <a:pt x="840503" y="920591"/>
                    <a:pt x="874793" y="904399"/>
                  </a:cubicBezTo>
                  <a:close/>
                  <a:moveTo>
                    <a:pt x="681435" y="904399"/>
                  </a:moveTo>
                  <a:cubicBezTo>
                    <a:pt x="718583" y="948214"/>
                    <a:pt x="920513" y="896779"/>
                    <a:pt x="777638" y="946309"/>
                  </a:cubicBezTo>
                  <a:cubicBezTo>
                    <a:pt x="745253" y="952976"/>
                    <a:pt x="654765" y="966311"/>
                    <a:pt x="681435" y="904399"/>
                  </a:cubicBezTo>
                  <a:close/>
                  <a:moveTo>
                    <a:pt x="1532970" y="1327309"/>
                  </a:moveTo>
                  <a:cubicBezTo>
                    <a:pt x="1567260" y="1342549"/>
                    <a:pt x="1512015" y="1349216"/>
                    <a:pt x="1532970" y="1327309"/>
                  </a:cubicBezTo>
                  <a:close/>
                  <a:moveTo>
                    <a:pt x="757635" y="1423511"/>
                  </a:moveTo>
                  <a:cubicBezTo>
                    <a:pt x="685245" y="1477804"/>
                    <a:pt x="650003" y="1441609"/>
                    <a:pt x="757635" y="1423511"/>
                  </a:cubicBezTo>
                  <a:close/>
                  <a:moveTo>
                    <a:pt x="1558688" y="1764506"/>
                  </a:moveTo>
                  <a:cubicBezTo>
                    <a:pt x="1654890" y="1774984"/>
                    <a:pt x="1460580" y="1774031"/>
                    <a:pt x="1558688" y="1764506"/>
                  </a:cubicBezTo>
                  <a:close/>
                  <a:moveTo>
                    <a:pt x="1766333" y="1807369"/>
                  </a:moveTo>
                  <a:cubicBezTo>
                    <a:pt x="1818720" y="1806416"/>
                    <a:pt x="1736805" y="1819751"/>
                    <a:pt x="1766333" y="1807369"/>
                  </a:cubicBezTo>
                  <a:close/>
                  <a:moveTo>
                    <a:pt x="1769190" y="2006441"/>
                  </a:moveTo>
                  <a:cubicBezTo>
                    <a:pt x="1833008" y="2002631"/>
                    <a:pt x="1785383" y="2038826"/>
                    <a:pt x="1769190" y="2006441"/>
                  </a:cubicBezTo>
                  <a:close/>
                  <a:moveTo>
                    <a:pt x="151845" y="2329339"/>
                  </a:moveTo>
                  <a:cubicBezTo>
                    <a:pt x="171848" y="2352199"/>
                    <a:pt x="91838" y="2336006"/>
                    <a:pt x="151845" y="2329339"/>
                  </a:cubicBezTo>
                  <a:close/>
                  <a:moveTo>
                    <a:pt x="301388" y="2397919"/>
                  </a:moveTo>
                  <a:cubicBezTo>
                    <a:pt x="343298" y="2445544"/>
                    <a:pt x="410925" y="2404586"/>
                    <a:pt x="469028" y="2426494"/>
                  </a:cubicBezTo>
                  <a:cubicBezTo>
                    <a:pt x="496650" y="2436971"/>
                    <a:pt x="202328" y="2484596"/>
                    <a:pt x="301388" y="2397919"/>
                  </a:cubicBezTo>
                  <a:close/>
                  <a:moveTo>
                    <a:pt x="517605" y="2406491"/>
                  </a:moveTo>
                  <a:cubicBezTo>
                    <a:pt x="548085" y="2420779"/>
                    <a:pt x="455693" y="2415064"/>
                    <a:pt x="517605" y="2406491"/>
                  </a:cubicBezTo>
                  <a:close/>
                  <a:moveTo>
                    <a:pt x="423308" y="2736056"/>
                  </a:moveTo>
                  <a:cubicBezTo>
                    <a:pt x="450930" y="2753201"/>
                    <a:pt x="381398" y="2750344"/>
                    <a:pt x="423308" y="2736056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87755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2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+mn-ea"/>
                <a:cs typeface="+mn-cs"/>
              </a:endParaRPr>
            </a:p>
          </p:txBody>
        </p:sp>
        <p:sp>
          <p:nvSpPr>
            <p:cNvPr id="17" name="Graphic 47">
              <a:extLst>
                <a:ext uri="{FF2B5EF4-FFF2-40B4-BE49-F238E27FC236}">
                  <a16:creationId xmlns:a16="http://schemas.microsoft.com/office/drawing/2014/main" id="{2F4F6A6A-42B2-4ADD-AE4E-A5687747BE0D}"/>
                </a:ext>
              </a:extLst>
            </p:cNvPr>
            <p:cNvSpPr/>
            <p:nvPr userDrawn="1"/>
          </p:nvSpPr>
          <p:spPr>
            <a:xfrm>
              <a:off x="704292" y="4784152"/>
              <a:ext cx="1070335" cy="1605504"/>
            </a:xfrm>
            <a:custGeom>
              <a:avLst/>
              <a:gdLst>
                <a:gd name="connsiteX0" fmla="*/ 949088 w 2076450"/>
                <a:gd name="connsiteY0" fmla="*/ 7144 h 3114675"/>
                <a:gd name="connsiteX1" fmla="*/ 883365 w 2076450"/>
                <a:gd name="connsiteY1" fmla="*/ 105251 h 3114675"/>
                <a:gd name="connsiteX2" fmla="*/ 909083 w 2076450"/>
                <a:gd name="connsiteY2" fmla="*/ 238601 h 3114675"/>
                <a:gd name="connsiteX3" fmla="*/ 833835 w 2076450"/>
                <a:gd name="connsiteY3" fmla="*/ 193834 h 3114675"/>
                <a:gd name="connsiteX4" fmla="*/ 817643 w 2076450"/>
                <a:gd name="connsiteY4" fmla="*/ 301466 h 3114675"/>
                <a:gd name="connsiteX5" fmla="*/ 810023 w 2076450"/>
                <a:gd name="connsiteY5" fmla="*/ 328136 h 3114675"/>
                <a:gd name="connsiteX6" fmla="*/ 684293 w 2076450"/>
                <a:gd name="connsiteY6" fmla="*/ 381476 h 3114675"/>
                <a:gd name="connsiteX7" fmla="*/ 703343 w 2076450"/>
                <a:gd name="connsiteY7" fmla="*/ 451009 h 3114675"/>
                <a:gd name="connsiteX8" fmla="*/ 714773 w 2076450"/>
                <a:gd name="connsiteY8" fmla="*/ 539591 h 3114675"/>
                <a:gd name="connsiteX9" fmla="*/ 828120 w 2076450"/>
                <a:gd name="connsiteY9" fmla="*/ 573881 h 3114675"/>
                <a:gd name="connsiteX10" fmla="*/ 947183 w 2076450"/>
                <a:gd name="connsiteY10" fmla="*/ 577691 h 3114675"/>
                <a:gd name="connsiteX11" fmla="*/ 731918 w 2076450"/>
                <a:gd name="connsiteY11" fmla="*/ 618649 h 3114675"/>
                <a:gd name="connsiteX12" fmla="*/ 530940 w 2076450"/>
                <a:gd name="connsiteY12" fmla="*/ 601504 h 3114675"/>
                <a:gd name="connsiteX13" fmla="*/ 597615 w 2076450"/>
                <a:gd name="connsiteY13" fmla="*/ 649129 h 3114675"/>
                <a:gd name="connsiteX14" fmla="*/ 629048 w 2076450"/>
                <a:gd name="connsiteY14" fmla="*/ 688181 h 3114675"/>
                <a:gd name="connsiteX15" fmla="*/ 714773 w 2076450"/>
                <a:gd name="connsiteY15" fmla="*/ 728186 h 3114675"/>
                <a:gd name="connsiteX16" fmla="*/ 947183 w 2076450"/>
                <a:gd name="connsiteY16" fmla="*/ 689134 h 3114675"/>
                <a:gd name="connsiteX17" fmla="*/ 674768 w 2076450"/>
                <a:gd name="connsiteY17" fmla="*/ 758666 h 3114675"/>
                <a:gd name="connsiteX18" fmla="*/ 528083 w 2076450"/>
                <a:gd name="connsiteY18" fmla="*/ 788194 h 3114675"/>
                <a:gd name="connsiteX19" fmla="*/ 530940 w 2076450"/>
                <a:gd name="connsiteY19" fmla="*/ 846296 h 3114675"/>
                <a:gd name="connsiteX20" fmla="*/ 569040 w 2076450"/>
                <a:gd name="connsiteY20" fmla="*/ 912971 h 3114675"/>
                <a:gd name="connsiteX21" fmla="*/ 502365 w 2076450"/>
                <a:gd name="connsiteY21" fmla="*/ 958691 h 3114675"/>
                <a:gd name="connsiteX22" fmla="*/ 409973 w 2076450"/>
                <a:gd name="connsiteY22" fmla="*/ 972979 h 3114675"/>
                <a:gd name="connsiteX23" fmla="*/ 547133 w 2076450"/>
                <a:gd name="connsiteY23" fmla="*/ 1067276 h 3114675"/>
                <a:gd name="connsiteX24" fmla="*/ 730013 w 2076450"/>
                <a:gd name="connsiteY24" fmla="*/ 1155859 h 3114675"/>
                <a:gd name="connsiteX25" fmla="*/ 409020 w 2076450"/>
                <a:gd name="connsiteY25" fmla="*/ 1204436 h 3114675"/>
                <a:gd name="connsiteX26" fmla="*/ 530940 w 2076450"/>
                <a:gd name="connsiteY26" fmla="*/ 1310164 h 3114675"/>
                <a:gd name="connsiteX27" fmla="*/ 366158 w 2076450"/>
                <a:gd name="connsiteY27" fmla="*/ 1365409 h 3114675"/>
                <a:gd name="connsiteX28" fmla="*/ 637620 w 2076450"/>
                <a:gd name="connsiteY28" fmla="*/ 1413034 h 3114675"/>
                <a:gd name="connsiteX29" fmla="*/ 617618 w 2076450"/>
                <a:gd name="connsiteY29" fmla="*/ 1487329 h 3114675"/>
                <a:gd name="connsiteX30" fmla="*/ 286148 w 2076450"/>
                <a:gd name="connsiteY30" fmla="*/ 1588294 h 3114675"/>
                <a:gd name="connsiteX31" fmla="*/ 550943 w 2076450"/>
                <a:gd name="connsiteY31" fmla="*/ 1688306 h 3114675"/>
                <a:gd name="connsiteX32" fmla="*/ 627143 w 2076450"/>
                <a:gd name="connsiteY32" fmla="*/ 1666399 h 3114675"/>
                <a:gd name="connsiteX33" fmla="*/ 734775 w 2076450"/>
                <a:gd name="connsiteY33" fmla="*/ 1662589 h 3114675"/>
                <a:gd name="connsiteX34" fmla="*/ 604283 w 2076450"/>
                <a:gd name="connsiteY34" fmla="*/ 1759744 h 3114675"/>
                <a:gd name="connsiteX35" fmla="*/ 217568 w 2076450"/>
                <a:gd name="connsiteY35" fmla="*/ 1794986 h 3114675"/>
                <a:gd name="connsiteX36" fmla="*/ 214710 w 2076450"/>
                <a:gd name="connsiteY36" fmla="*/ 1862614 h 3114675"/>
                <a:gd name="connsiteX37" fmla="*/ 335678 w 2076450"/>
                <a:gd name="connsiteY37" fmla="*/ 1914049 h 3114675"/>
                <a:gd name="connsiteX38" fmla="*/ 472838 w 2076450"/>
                <a:gd name="connsiteY38" fmla="*/ 1916906 h 3114675"/>
                <a:gd name="connsiteX39" fmla="*/ 553800 w 2076450"/>
                <a:gd name="connsiteY39" fmla="*/ 1953101 h 3114675"/>
                <a:gd name="connsiteX40" fmla="*/ 602378 w 2076450"/>
                <a:gd name="connsiteY40" fmla="*/ 2004536 h 3114675"/>
                <a:gd name="connsiteX41" fmla="*/ 275670 w 2076450"/>
                <a:gd name="connsiteY41" fmla="*/ 2024539 h 3114675"/>
                <a:gd name="connsiteX42" fmla="*/ 236618 w 2076450"/>
                <a:gd name="connsiteY42" fmla="*/ 2049304 h 3114675"/>
                <a:gd name="connsiteX43" fmla="*/ 262335 w 2076450"/>
                <a:gd name="connsiteY43" fmla="*/ 2092166 h 3114675"/>
                <a:gd name="connsiteX44" fmla="*/ 420450 w 2076450"/>
                <a:gd name="connsiteY44" fmla="*/ 2151221 h 3114675"/>
                <a:gd name="connsiteX45" fmla="*/ 480458 w 2076450"/>
                <a:gd name="connsiteY45" fmla="*/ 2174081 h 3114675"/>
                <a:gd name="connsiteX46" fmla="*/ 269955 w 2076450"/>
                <a:gd name="connsiteY46" fmla="*/ 2228374 h 3114675"/>
                <a:gd name="connsiteX47" fmla="*/ 106125 w 2076450"/>
                <a:gd name="connsiteY47" fmla="*/ 2250281 h 3114675"/>
                <a:gd name="connsiteX48" fmla="*/ 45165 w 2076450"/>
                <a:gd name="connsiteY48" fmla="*/ 2290286 h 3114675"/>
                <a:gd name="connsiteX49" fmla="*/ 84218 w 2076450"/>
                <a:gd name="connsiteY49" fmla="*/ 2353151 h 3114675"/>
                <a:gd name="connsiteX50" fmla="*/ 203280 w 2076450"/>
                <a:gd name="connsiteY50" fmla="*/ 2444591 h 3114675"/>
                <a:gd name="connsiteX51" fmla="*/ 172800 w 2076450"/>
                <a:gd name="connsiteY51" fmla="*/ 2478881 h 3114675"/>
                <a:gd name="connsiteX52" fmla="*/ 201375 w 2076450"/>
                <a:gd name="connsiteY52" fmla="*/ 2519839 h 3114675"/>
                <a:gd name="connsiteX53" fmla="*/ 301388 w 2076450"/>
                <a:gd name="connsiteY53" fmla="*/ 2558891 h 3114675"/>
                <a:gd name="connsiteX54" fmla="*/ 76598 w 2076450"/>
                <a:gd name="connsiteY54" fmla="*/ 2589371 h 3114675"/>
                <a:gd name="connsiteX55" fmla="*/ 58500 w 2076450"/>
                <a:gd name="connsiteY55" fmla="*/ 2659856 h 3114675"/>
                <a:gd name="connsiteX56" fmla="*/ 110888 w 2076450"/>
                <a:gd name="connsiteY56" fmla="*/ 2693194 h 3114675"/>
                <a:gd name="connsiteX57" fmla="*/ 214710 w 2076450"/>
                <a:gd name="connsiteY57" fmla="*/ 2727484 h 3114675"/>
                <a:gd name="connsiteX58" fmla="*/ 262335 w 2076450"/>
                <a:gd name="connsiteY58" fmla="*/ 2756059 h 3114675"/>
                <a:gd name="connsiteX59" fmla="*/ 358538 w 2076450"/>
                <a:gd name="connsiteY59" fmla="*/ 2733199 h 3114675"/>
                <a:gd name="connsiteX60" fmla="*/ 254715 w 2076450"/>
                <a:gd name="connsiteY60" fmla="*/ 2758916 h 3114675"/>
                <a:gd name="connsiteX61" fmla="*/ 45165 w 2076450"/>
                <a:gd name="connsiteY61" fmla="*/ 2806541 h 3114675"/>
                <a:gd name="connsiteX62" fmla="*/ 46118 w 2076450"/>
                <a:gd name="connsiteY62" fmla="*/ 2865596 h 3114675"/>
                <a:gd name="connsiteX63" fmla="*/ 88980 w 2076450"/>
                <a:gd name="connsiteY63" fmla="*/ 2895124 h 3114675"/>
                <a:gd name="connsiteX64" fmla="*/ 155655 w 2076450"/>
                <a:gd name="connsiteY64" fmla="*/ 2902744 h 3114675"/>
                <a:gd name="connsiteX65" fmla="*/ 343298 w 2076450"/>
                <a:gd name="connsiteY65" fmla="*/ 2914174 h 3114675"/>
                <a:gd name="connsiteX66" fmla="*/ 301388 w 2076450"/>
                <a:gd name="connsiteY66" fmla="*/ 2956084 h 3114675"/>
                <a:gd name="connsiteX67" fmla="*/ 361395 w 2076450"/>
                <a:gd name="connsiteY67" fmla="*/ 2980849 h 3114675"/>
                <a:gd name="connsiteX68" fmla="*/ 511890 w 2076450"/>
                <a:gd name="connsiteY68" fmla="*/ 3029426 h 3114675"/>
                <a:gd name="connsiteX69" fmla="*/ 603330 w 2076450"/>
                <a:gd name="connsiteY69" fmla="*/ 3058001 h 3114675"/>
                <a:gd name="connsiteX70" fmla="*/ 825263 w 2076450"/>
                <a:gd name="connsiteY70" fmla="*/ 2954179 h 3114675"/>
                <a:gd name="connsiteX71" fmla="*/ 957660 w 2076450"/>
                <a:gd name="connsiteY71" fmla="*/ 2927509 h 3114675"/>
                <a:gd name="connsiteX72" fmla="*/ 1013858 w 2076450"/>
                <a:gd name="connsiteY72" fmla="*/ 3102769 h 3114675"/>
                <a:gd name="connsiteX73" fmla="*/ 1119585 w 2076450"/>
                <a:gd name="connsiteY73" fmla="*/ 3020854 h 3114675"/>
                <a:gd name="connsiteX74" fmla="*/ 1191975 w 2076450"/>
                <a:gd name="connsiteY74" fmla="*/ 2997041 h 3114675"/>
                <a:gd name="connsiteX75" fmla="*/ 1468200 w 2076450"/>
                <a:gd name="connsiteY75" fmla="*/ 3026569 h 3114675"/>
                <a:gd name="connsiteX76" fmla="*/ 1561545 w 2076450"/>
                <a:gd name="connsiteY76" fmla="*/ 3002756 h 3114675"/>
                <a:gd name="connsiteX77" fmla="*/ 1679655 w 2076450"/>
                <a:gd name="connsiteY77" fmla="*/ 3030379 h 3114675"/>
                <a:gd name="connsiteX78" fmla="*/ 1748235 w 2076450"/>
                <a:gd name="connsiteY78" fmla="*/ 2996089 h 3114675"/>
                <a:gd name="connsiteX79" fmla="*/ 1893968 w 2076450"/>
                <a:gd name="connsiteY79" fmla="*/ 3009424 h 3114675"/>
                <a:gd name="connsiteX80" fmla="*/ 1888253 w 2076450"/>
                <a:gd name="connsiteY80" fmla="*/ 2944654 h 3114675"/>
                <a:gd name="connsiteX81" fmla="*/ 1964453 w 2076450"/>
                <a:gd name="connsiteY81" fmla="*/ 2947511 h 3114675"/>
                <a:gd name="connsiteX82" fmla="*/ 1948260 w 2076450"/>
                <a:gd name="connsiteY82" fmla="*/ 2913221 h 3114675"/>
                <a:gd name="connsiteX83" fmla="*/ 1843485 w 2076450"/>
                <a:gd name="connsiteY83" fmla="*/ 2853214 h 3114675"/>
                <a:gd name="connsiteX84" fmla="*/ 1883490 w 2076450"/>
                <a:gd name="connsiteY84" fmla="*/ 2818924 h 3114675"/>
                <a:gd name="connsiteX85" fmla="*/ 1909208 w 2076450"/>
                <a:gd name="connsiteY85" fmla="*/ 2790349 h 3114675"/>
                <a:gd name="connsiteX86" fmla="*/ 2032080 w 2076450"/>
                <a:gd name="connsiteY86" fmla="*/ 2757964 h 3114675"/>
                <a:gd name="connsiteX87" fmla="*/ 2036843 w 2076450"/>
                <a:gd name="connsiteY87" fmla="*/ 2711291 h 3114675"/>
                <a:gd name="connsiteX88" fmla="*/ 2008268 w 2076450"/>
                <a:gd name="connsiteY88" fmla="*/ 2670334 h 3114675"/>
                <a:gd name="connsiteX89" fmla="*/ 1943498 w 2076450"/>
                <a:gd name="connsiteY89" fmla="*/ 2645569 h 3114675"/>
                <a:gd name="connsiteX90" fmla="*/ 1793003 w 2076450"/>
                <a:gd name="connsiteY90" fmla="*/ 2651284 h 3114675"/>
                <a:gd name="connsiteX91" fmla="*/ 1497728 w 2076450"/>
                <a:gd name="connsiteY91" fmla="*/ 2538889 h 3114675"/>
                <a:gd name="connsiteX92" fmla="*/ 1592025 w 2076450"/>
                <a:gd name="connsiteY92" fmla="*/ 2535079 h 3114675"/>
                <a:gd name="connsiteX93" fmla="*/ 1824435 w 2076450"/>
                <a:gd name="connsiteY93" fmla="*/ 2566511 h 3114675"/>
                <a:gd name="connsiteX94" fmla="*/ 1938735 w 2076450"/>
                <a:gd name="connsiteY94" fmla="*/ 2449354 h 3114675"/>
                <a:gd name="connsiteX95" fmla="*/ 2000648 w 2076450"/>
                <a:gd name="connsiteY95" fmla="*/ 2416969 h 3114675"/>
                <a:gd name="connsiteX96" fmla="*/ 1993028 w 2076450"/>
                <a:gd name="connsiteY96" fmla="*/ 2387441 h 3114675"/>
                <a:gd name="connsiteX97" fmla="*/ 1549163 w 2076450"/>
                <a:gd name="connsiteY97" fmla="*/ 2328386 h 3114675"/>
                <a:gd name="connsiteX98" fmla="*/ 1554878 w 2076450"/>
                <a:gd name="connsiteY98" fmla="*/ 2282666 h 3114675"/>
                <a:gd name="connsiteX99" fmla="*/ 1823483 w 2076450"/>
                <a:gd name="connsiteY99" fmla="*/ 2291239 h 3114675"/>
                <a:gd name="connsiteX100" fmla="*/ 1994933 w 2076450"/>
                <a:gd name="connsiteY100" fmla="*/ 2158841 h 3114675"/>
                <a:gd name="connsiteX101" fmla="*/ 2013983 w 2076450"/>
                <a:gd name="connsiteY101" fmla="*/ 2124551 h 3114675"/>
                <a:gd name="connsiteX102" fmla="*/ 1699658 w 2076450"/>
                <a:gd name="connsiteY102" fmla="*/ 2061686 h 3114675"/>
                <a:gd name="connsiteX103" fmla="*/ 1808243 w 2076450"/>
                <a:gd name="connsiteY103" fmla="*/ 2027396 h 3114675"/>
                <a:gd name="connsiteX104" fmla="*/ 1836818 w 2076450"/>
                <a:gd name="connsiteY104" fmla="*/ 2000726 h 3114675"/>
                <a:gd name="connsiteX105" fmla="*/ 1875870 w 2076450"/>
                <a:gd name="connsiteY105" fmla="*/ 1935004 h 3114675"/>
                <a:gd name="connsiteX106" fmla="*/ 1600598 w 2076450"/>
                <a:gd name="connsiteY106" fmla="*/ 1869281 h 3114675"/>
                <a:gd name="connsiteX107" fmla="*/ 1823483 w 2076450"/>
                <a:gd name="connsiteY107" fmla="*/ 1737836 h 3114675"/>
                <a:gd name="connsiteX108" fmla="*/ 1592025 w 2076450"/>
                <a:gd name="connsiteY108" fmla="*/ 1729264 h 3114675"/>
                <a:gd name="connsiteX109" fmla="*/ 1639650 w 2076450"/>
                <a:gd name="connsiteY109" fmla="*/ 1693069 h 3114675"/>
                <a:gd name="connsiteX110" fmla="*/ 1648223 w 2076450"/>
                <a:gd name="connsiteY110" fmla="*/ 1652111 h 3114675"/>
                <a:gd name="connsiteX111" fmla="*/ 1437720 w 2076450"/>
                <a:gd name="connsiteY111" fmla="*/ 1613059 h 3114675"/>
                <a:gd name="connsiteX112" fmla="*/ 1519635 w 2076450"/>
                <a:gd name="connsiteY112" fmla="*/ 1556861 h 3114675"/>
                <a:gd name="connsiteX113" fmla="*/ 1697753 w 2076450"/>
                <a:gd name="connsiteY113" fmla="*/ 1459706 h 3114675"/>
                <a:gd name="connsiteX114" fmla="*/ 1539638 w 2076450"/>
                <a:gd name="connsiteY114" fmla="*/ 1435894 h 3114675"/>
                <a:gd name="connsiteX115" fmla="*/ 1520588 w 2076450"/>
                <a:gd name="connsiteY115" fmla="*/ 1388269 h 3114675"/>
                <a:gd name="connsiteX116" fmla="*/ 1282463 w 2076450"/>
                <a:gd name="connsiteY116" fmla="*/ 1360646 h 3114675"/>
                <a:gd name="connsiteX117" fmla="*/ 1568213 w 2076450"/>
                <a:gd name="connsiteY117" fmla="*/ 1328261 h 3114675"/>
                <a:gd name="connsiteX118" fmla="*/ 1593930 w 2076450"/>
                <a:gd name="connsiteY118" fmla="*/ 1209199 h 3114675"/>
                <a:gd name="connsiteX119" fmla="*/ 1440578 w 2076450"/>
                <a:gd name="connsiteY119" fmla="*/ 1151096 h 3114675"/>
                <a:gd name="connsiteX120" fmla="*/ 1127205 w 2076450"/>
                <a:gd name="connsiteY120" fmla="*/ 1094899 h 3114675"/>
                <a:gd name="connsiteX121" fmla="*/ 1310085 w 2076450"/>
                <a:gd name="connsiteY121" fmla="*/ 1109186 h 3114675"/>
                <a:gd name="connsiteX122" fmla="*/ 1406288 w 2076450"/>
                <a:gd name="connsiteY122" fmla="*/ 1094899 h 3114675"/>
                <a:gd name="connsiteX123" fmla="*/ 1508205 w 2076450"/>
                <a:gd name="connsiteY123" fmla="*/ 1040606 h 3114675"/>
                <a:gd name="connsiteX124" fmla="*/ 1532018 w 2076450"/>
                <a:gd name="connsiteY124" fmla="*/ 969169 h 3114675"/>
                <a:gd name="connsiteX125" fmla="*/ 1421528 w 2076450"/>
                <a:gd name="connsiteY125" fmla="*/ 938689 h 3114675"/>
                <a:gd name="connsiteX126" fmla="*/ 1154828 w 2076450"/>
                <a:gd name="connsiteY126" fmla="*/ 903446 h 3114675"/>
                <a:gd name="connsiteX127" fmla="*/ 1304370 w 2076450"/>
                <a:gd name="connsiteY127" fmla="*/ 884396 h 3114675"/>
                <a:gd name="connsiteX128" fmla="*/ 1351995 w 2076450"/>
                <a:gd name="connsiteY128" fmla="*/ 868204 h 3114675"/>
                <a:gd name="connsiteX129" fmla="*/ 1480583 w 2076450"/>
                <a:gd name="connsiteY129" fmla="*/ 832009 h 3114675"/>
                <a:gd name="connsiteX130" fmla="*/ 1363425 w 2076450"/>
                <a:gd name="connsiteY130" fmla="*/ 798671 h 3114675"/>
                <a:gd name="connsiteX131" fmla="*/ 1131015 w 2076450"/>
                <a:gd name="connsiteY131" fmla="*/ 755809 h 3114675"/>
                <a:gd name="connsiteX132" fmla="*/ 1019573 w 2076450"/>
                <a:gd name="connsiteY132" fmla="*/ 655796 h 3114675"/>
                <a:gd name="connsiteX133" fmla="*/ 1088153 w 2076450"/>
                <a:gd name="connsiteY133" fmla="*/ 673894 h 3114675"/>
                <a:gd name="connsiteX134" fmla="*/ 1244363 w 2076450"/>
                <a:gd name="connsiteY134" fmla="*/ 727234 h 3114675"/>
                <a:gd name="connsiteX135" fmla="*/ 1389143 w 2076450"/>
                <a:gd name="connsiteY135" fmla="*/ 667226 h 3114675"/>
                <a:gd name="connsiteX136" fmla="*/ 1174830 w 2076450"/>
                <a:gd name="connsiteY136" fmla="*/ 590074 h 3114675"/>
                <a:gd name="connsiteX137" fmla="*/ 1180545 w 2076450"/>
                <a:gd name="connsiteY137" fmla="*/ 513874 h 3114675"/>
                <a:gd name="connsiteX138" fmla="*/ 1228170 w 2076450"/>
                <a:gd name="connsiteY138" fmla="*/ 415766 h 3114675"/>
                <a:gd name="connsiteX139" fmla="*/ 1251983 w 2076450"/>
                <a:gd name="connsiteY139" fmla="*/ 298609 h 3114675"/>
                <a:gd name="connsiteX140" fmla="*/ 1035765 w 2076450"/>
                <a:gd name="connsiteY140" fmla="*/ 451009 h 3114675"/>
                <a:gd name="connsiteX141" fmla="*/ 1058625 w 2076450"/>
                <a:gd name="connsiteY141" fmla="*/ 322421 h 3114675"/>
                <a:gd name="connsiteX142" fmla="*/ 1052910 w 2076450"/>
                <a:gd name="connsiteY142" fmla="*/ 251936 h 3114675"/>
                <a:gd name="connsiteX143" fmla="*/ 1112918 w 2076450"/>
                <a:gd name="connsiteY143" fmla="*/ 211931 h 3114675"/>
                <a:gd name="connsiteX144" fmla="*/ 1064340 w 2076450"/>
                <a:gd name="connsiteY144" fmla="*/ 185261 h 3114675"/>
                <a:gd name="connsiteX145" fmla="*/ 991950 w 2076450"/>
                <a:gd name="connsiteY145" fmla="*/ 191929 h 3114675"/>
                <a:gd name="connsiteX146" fmla="*/ 996713 w 2076450"/>
                <a:gd name="connsiteY146" fmla="*/ 111919 h 3114675"/>
                <a:gd name="connsiteX147" fmla="*/ 949088 w 2076450"/>
                <a:gd name="connsiteY147" fmla="*/ 7144 h 3114675"/>
                <a:gd name="connsiteX148" fmla="*/ 949088 w 2076450"/>
                <a:gd name="connsiteY148" fmla="*/ 7144 h 3114675"/>
                <a:gd name="connsiteX149" fmla="*/ 949088 w 2076450"/>
                <a:gd name="connsiteY149" fmla="*/ 7144 h 3114675"/>
                <a:gd name="connsiteX150" fmla="*/ 886223 w 2076450"/>
                <a:gd name="connsiteY150" fmla="*/ 287179 h 3114675"/>
                <a:gd name="connsiteX151" fmla="*/ 908130 w 2076450"/>
                <a:gd name="connsiteY151" fmla="*/ 327184 h 3114675"/>
                <a:gd name="connsiteX152" fmla="*/ 886223 w 2076450"/>
                <a:gd name="connsiteY152" fmla="*/ 287179 h 3114675"/>
                <a:gd name="connsiteX153" fmla="*/ 863363 w 2076450"/>
                <a:gd name="connsiteY153" fmla="*/ 404336 h 3114675"/>
                <a:gd name="connsiteX154" fmla="*/ 876698 w 2076450"/>
                <a:gd name="connsiteY154" fmla="*/ 435769 h 3114675"/>
                <a:gd name="connsiteX155" fmla="*/ 863363 w 2076450"/>
                <a:gd name="connsiteY155" fmla="*/ 404336 h 3114675"/>
                <a:gd name="connsiteX156" fmla="*/ 1116728 w 2076450"/>
                <a:gd name="connsiteY156" fmla="*/ 470059 h 3114675"/>
                <a:gd name="connsiteX157" fmla="*/ 1066245 w 2076450"/>
                <a:gd name="connsiteY157" fmla="*/ 511016 h 3114675"/>
                <a:gd name="connsiteX158" fmla="*/ 1116728 w 2076450"/>
                <a:gd name="connsiteY158" fmla="*/ 470059 h 3114675"/>
                <a:gd name="connsiteX159" fmla="*/ 1009095 w 2076450"/>
                <a:gd name="connsiteY159" fmla="*/ 584359 h 3114675"/>
                <a:gd name="connsiteX160" fmla="*/ 1029098 w 2076450"/>
                <a:gd name="connsiteY160" fmla="*/ 599599 h 3114675"/>
                <a:gd name="connsiteX161" fmla="*/ 1009095 w 2076450"/>
                <a:gd name="connsiteY161" fmla="*/ 584359 h 3114675"/>
                <a:gd name="connsiteX162" fmla="*/ 1009095 w 2076450"/>
                <a:gd name="connsiteY162" fmla="*/ 584359 h 3114675"/>
                <a:gd name="connsiteX163" fmla="*/ 1111013 w 2076450"/>
                <a:gd name="connsiteY163" fmla="*/ 603409 h 3114675"/>
                <a:gd name="connsiteX164" fmla="*/ 1111013 w 2076450"/>
                <a:gd name="connsiteY164" fmla="*/ 603409 h 3114675"/>
                <a:gd name="connsiteX165" fmla="*/ 1251030 w 2076450"/>
                <a:gd name="connsiteY165" fmla="*/ 632936 h 3114675"/>
                <a:gd name="connsiteX166" fmla="*/ 1251030 w 2076450"/>
                <a:gd name="connsiteY166" fmla="*/ 632936 h 3114675"/>
                <a:gd name="connsiteX167" fmla="*/ 1032908 w 2076450"/>
                <a:gd name="connsiteY167" fmla="*/ 760571 h 3114675"/>
                <a:gd name="connsiteX168" fmla="*/ 1028145 w 2076450"/>
                <a:gd name="connsiteY168" fmla="*/ 780574 h 3114675"/>
                <a:gd name="connsiteX169" fmla="*/ 1032908 w 2076450"/>
                <a:gd name="connsiteY169" fmla="*/ 760571 h 3114675"/>
                <a:gd name="connsiteX170" fmla="*/ 1032908 w 2076450"/>
                <a:gd name="connsiteY170" fmla="*/ 760571 h 3114675"/>
                <a:gd name="connsiteX171" fmla="*/ 961470 w 2076450"/>
                <a:gd name="connsiteY171" fmla="*/ 867251 h 3114675"/>
                <a:gd name="connsiteX172" fmla="*/ 961470 w 2076450"/>
                <a:gd name="connsiteY172" fmla="*/ 867251 h 3114675"/>
                <a:gd name="connsiteX173" fmla="*/ 1036718 w 2076450"/>
                <a:gd name="connsiteY173" fmla="*/ 884396 h 3114675"/>
                <a:gd name="connsiteX174" fmla="*/ 1036718 w 2076450"/>
                <a:gd name="connsiteY174" fmla="*/ 884396 h 3114675"/>
                <a:gd name="connsiteX175" fmla="*/ 921465 w 2076450"/>
                <a:gd name="connsiteY175" fmla="*/ 888206 h 3114675"/>
                <a:gd name="connsiteX176" fmla="*/ 921465 w 2076450"/>
                <a:gd name="connsiteY176" fmla="*/ 888206 h 3114675"/>
                <a:gd name="connsiteX177" fmla="*/ 874793 w 2076450"/>
                <a:gd name="connsiteY177" fmla="*/ 904399 h 3114675"/>
                <a:gd name="connsiteX178" fmla="*/ 874793 w 2076450"/>
                <a:gd name="connsiteY178" fmla="*/ 904399 h 3114675"/>
                <a:gd name="connsiteX179" fmla="*/ 681435 w 2076450"/>
                <a:gd name="connsiteY179" fmla="*/ 904399 h 3114675"/>
                <a:gd name="connsiteX180" fmla="*/ 777638 w 2076450"/>
                <a:gd name="connsiteY180" fmla="*/ 946309 h 3114675"/>
                <a:gd name="connsiteX181" fmla="*/ 681435 w 2076450"/>
                <a:gd name="connsiteY181" fmla="*/ 904399 h 3114675"/>
                <a:gd name="connsiteX182" fmla="*/ 1532970 w 2076450"/>
                <a:gd name="connsiteY182" fmla="*/ 1327309 h 3114675"/>
                <a:gd name="connsiteX183" fmla="*/ 1532970 w 2076450"/>
                <a:gd name="connsiteY183" fmla="*/ 1327309 h 3114675"/>
                <a:gd name="connsiteX184" fmla="*/ 757635 w 2076450"/>
                <a:gd name="connsiteY184" fmla="*/ 1423511 h 3114675"/>
                <a:gd name="connsiteX185" fmla="*/ 757635 w 2076450"/>
                <a:gd name="connsiteY185" fmla="*/ 1423511 h 3114675"/>
                <a:gd name="connsiteX186" fmla="*/ 1558688 w 2076450"/>
                <a:gd name="connsiteY186" fmla="*/ 1764506 h 3114675"/>
                <a:gd name="connsiteX187" fmla="*/ 1558688 w 2076450"/>
                <a:gd name="connsiteY187" fmla="*/ 1764506 h 3114675"/>
                <a:gd name="connsiteX188" fmla="*/ 1766333 w 2076450"/>
                <a:gd name="connsiteY188" fmla="*/ 1807369 h 3114675"/>
                <a:gd name="connsiteX189" fmla="*/ 1766333 w 2076450"/>
                <a:gd name="connsiteY189" fmla="*/ 1807369 h 3114675"/>
                <a:gd name="connsiteX190" fmla="*/ 1769190 w 2076450"/>
                <a:gd name="connsiteY190" fmla="*/ 2006441 h 3114675"/>
                <a:gd name="connsiteX191" fmla="*/ 1769190 w 2076450"/>
                <a:gd name="connsiteY191" fmla="*/ 2006441 h 3114675"/>
                <a:gd name="connsiteX192" fmla="*/ 151845 w 2076450"/>
                <a:gd name="connsiteY192" fmla="*/ 2329339 h 3114675"/>
                <a:gd name="connsiteX193" fmla="*/ 151845 w 2076450"/>
                <a:gd name="connsiteY193" fmla="*/ 2329339 h 3114675"/>
                <a:gd name="connsiteX194" fmla="*/ 301388 w 2076450"/>
                <a:gd name="connsiteY194" fmla="*/ 2397919 h 3114675"/>
                <a:gd name="connsiteX195" fmla="*/ 469028 w 2076450"/>
                <a:gd name="connsiteY195" fmla="*/ 2426494 h 3114675"/>
                <a:gd name="connsiteX196" fmla="*/ 301388 w 2076450"/>
                <a:gd name="connsiteY196" fmla="*/ 2397919 h 3114675"/>
                <a:gd name="connsiteX197" fmla="*/ 517605 w 2076450"/>
                <a:gd name="connsiteY197" fmla="*/ 2406491 h 3114675"/>
                <a:gd name="connsiteX198" fmla="*/ 517605 w 2076450"/>
                <a:gd name="connsiteY198" fmla="*/ 2406491 h 3114675"/>
                <a:gd name="connsiteX199" fmla="*/ 423308 w 2076450"/>
                <a:gd name="connsiteY199" fmla="*/ 2736056 h 3114675"/>
                <a:gd name="connsiteX200" fmla="*/ 423308 w 2076450"/>
                <a:gd name="connsiteY200" fmla="*/ 2736056 h 3114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</a:cxnLst>
              <a:rect l="l" t="t" r="r" b="b"/>
              <a:pathLst>
                <a:path w="2076450" h="3114675">
                  <a:moveTo>
                    <a:pt x="949088" y="7144"/>
                  </a:moveTo>
                  <a:cubicBezTo>
                    <a:pt x="938610" y="62389"/>
                    <a:pt x="972900" y="200501"/>
                    <a:pt x="883365" y="105251"/>
                  </a:cubicBezTo>
                  <a:cubicBezTo>
                    <a:pt x="870983" y="105251"/>
                    <a:pt x="992903" y="314801"/>
                    <a:pt x="909083" y="238601"/>
                  </a:cubicBezTo>
                  <a:cubicBezTo>
                    <a:pt x="898605" y="171926"/>
                    <a:pt x="863363" y="174784"/>
                    <a:pt x="833835" y="193834"/>
                  </a:cubicBezTo>
                  <a:cubicBezTo>
                    <a:pt x="732870" y="154781"/>
                    <a:pt x="858600" y="285274"/>
                    <a:pt x="817643" y="301466"/>
                  </a:cubicBezTo>
                  <a:cubicBezTo>
                    <a:pt x="895748" y="301466"/>
                    <a:pt x="870030" y="356711"/>
                    <a:pt x="810023" y="328136"/>
                  </a:cubicBezTo>
                  <a:cubicBezTo>
                    <a:pt x="906225" y="459581"/>
                    <a:pt x="686198" y="348139"/>
                    <a:pt x="684293" y="381476"/>
                  </a:cubicBezTo>
                  <a:cubicBezTo>
                    <a:pt x="777638" y="421481"/>
                    <a:pt x="622380" y="411004"/>
                    <a:pt x="703343" y="451009"/>
                  </a:cubicBezTo>
                  <a:cubicBezTo>
                    <a:pt x="833835" y="496729"/>
                    <a:pt x="615713" y="505301"/>
                    <a:pt x="714773" y="539591"/>
                  </a:cubicBezTo>
                  <a:cubicBezTo>
                    <a:pt x="761445" y="555784"/>
                    <a:pt x="860505" y="517684"/>
                    <a:pt x="828120" y="573881"/>
                  </a:cubicBezTo>
                  <a:cubicBezTo>
                    <a:pt x="890033" y="568166"/>
                    <a:pt x="887175" y="616744"/>
                    <a:pt x="947183" y="577691"/>
                  </a:cubicBezTo>
                  <a:cubicBezTo>
                    <a:pt x="977663" y="712946"/>
                    <a:pt x="680483" y="534829"/>
                    <a:pt x="731918" y="618649"/>
                  </a:cubicBezTo>
                  <a:cubicBezTo>
                    <a:pt x="670005" y="621506"/>
                    <a:pt x="575708" y="525304"/>
                    <a:pt x="530940" y="601504"/>
                  </a:cubicBezTo>
                  <a:cubicBezTo>
                    <a:pt x="396638" y="611981"/>
                    <a:pt x="563325" y="655796"/>
                    <a:pt x="597615" y="649129"/>
                  </a:cubicBezTo>
                  <a:cubicBezTo>
                    <a:pt x="487125" y="737711"/>
                    <a:pt x="741443" y="614839"/>
                    <a:pt x="629048" y="688181"/>
                  </a:cubicBezTo>
                  <a:cubicBezTo>
                    <a:pt x="648098" y="779621"/>
                    <a:pt x="834788" y="621506"/>
                    <a:pt x="714773" y="728186"/>
                  </a:cubicBezTo>
                  <a:cubicBezTo>
                    <a:pt x="762398" y="785336"/>
                    <a:pt x="937658" y="659606"/>
                    <a:pt x="947183" y="689134"/>
                  </a:cubicBezTo>
                  <a:cubicBezTo>
                    <a:pt x="884318" y="784384"/>
                    <a:pt x="764303" y="785336"/>
                    <a:pt x="674768" y="758666"/>
                  </a:cubicBezTo>
                  <a:cubicBezTo>
                    <a:pt x="734775" y="821531"/>
                    <a:pt x="570945" y="739616"/>
                    <a:pt x="528083" y="788194"/>
                  </a:cubicBezTo>
                  <a:cubicBezTo>
                    <a:pt x="468075" y="789146"/>
                    <a:pt x="536655" y="836771"/>
                    <a:pt x="530940" y="846296"/>
                  </a:cubicBezTo>
                  <a:cubicBezTo>
                    <a:pt x="598568" y="865346"/>
                    <a:pt x="709058" y="934879"/>
                    <a:pt x="569040" y="912971"/>
                  </a:cubicBezTo>
                  <a:cubicBezTo>
                    <a:pt x="508080" y="912019"/>
                    <a:pt x="602378" y="1022509"/>
                    <a:pt x="502365" y="958691"/>
                  </a:cubicBezTo>
                  <a:cubicBezTo>
                    <a:pt x="451883" y="931069"/>
                    <a:pt x="479505" y="1007269"/>
                    <a:pt x="409973" y="972979"/>
                  </a:cubicBezTo>
                  <a:cubicBezTo>
                    <a:pt x="347108" y="988219"/>
                    <a:pt x="509985" y="1057751"/>
                    <a:pt x="547133" y="1067276"/>
                  </a:cubicBezTo>
                  <a:cubicBezTo>
                    <a:pt x="619523" y="1065371"/>
                    <a:pt x="693818" y="1189196"/>
                    <a:pt x="730013" y="1155859"/>
                  </a:cubicBezTo>
                  <a:cubicBezTo>
                    <a:pt x="636668" y="1233964"/>
                    <a:pt x="512843" y="1162526"/>
                    <a:pt x="409020" y="1204436"/>
                  </a:cubicBezTo>
                  <a:cubicBezTo>
                    <a:pt x="366158" y="1237774"/>
                    <a:pt x="517605" y="1304449"/>
                    <a:pt x="530940" y="1310164"/>
                  </a:cubicBezTo>
                  <a:cubicBezTo>
                    <a:pt x="681435" y="1376839"/>
                    <a:pt x="344250" y="1305401"/>
                    <a:pt x="366158" y="1365409"/>
                  </a:cubicBezTo>
                  <a:cubicBezTo>
                    <a:pt x="458550" y="1420654"/>
                    <a:pt x="541418" y="1491139"/>
                    <a:pt x="637620" y="1413034"/>
                  </a:cubicBezTo>
                  <a:cubicBezTo>
                    <a:pt x="670005" y="1436846"/>
                    <a:pt x="579518" y="1429226"/>
                    <a:pt x="617618" y="1487329"/>
                  </a:cubicBezTo>
                  <a:cubicBezTo>
                    <a:pt x="522368" y="1531144"/>
                    <a:pt x="340440" y="1537811"/>
                    <a:pt x="286148" y="1588294"/>
                  </a:cubicBezTo>
                  <a:cubicBezTo>
                    <a:pt x="365205" y="1664494"/>
                    <a:pt x="451883" y="1673066"/>
                    <a:pt x="550943" y="1688306"/>
                  </a:cubicBezTo>
                  <a:cubicBezTo>
                    <a:pt x="602378" y="1669256"/>
                    <a:pt x="582375" y="1654016"/>
                    <a:pt x="627143" y="1666399"/>
                  </a:cubicBezTo>
                  <a:cubicBezTo>
                    <a:pt x="664290" y="1686401"/>
                    <a:pt x="692865" y="1613059"/>
                    <a:pt x="734775" y="1662589"/>
                  </a:cubicBezTo>
                  <a:cubicBezTo>
                    <a:pt x="690008" y="1710214"/>
                    <a:pt x="452835" y="1702594"/>
                    <a:pt x="604283" y="1759744"/>
                  </a:cubicBezTo>
                  <a:cubicBezTo>
                    <a:pt x="479505" y="1794986"/>
                    <a:pt x="344250" y="1767364"/>
                    <a:pt x="217568" y="1794986"/>
                  </a:cubicBezTo>
                  <a:cubicBezTo>
                    <a:pt x="143273" y="1828324"/>
                    <a:pt x="304245" y="1820704"/>
                    <a:pt x="214710" y="1862614"/>
                  </a:cubicBezTo>
                  <a:cubicBezTo>
                    <a:pt x="175658" y="1910239"/>
                    <a:pt x="361395" y="1859756"/>
                    <a:pt x="335678" y="1914049"/>
                  </a:cubicBezTo>
                  <a:cubicBezTo>
                    <a:pt x="396638" y="1903571"/>
                    <a:pt x="425213" y="1929289"/>
                    <a:pt x="472838" y="1916906"/>
                  </a:cubicBezTo>
                  <a:cubicBezTo>
                    <a:pt x="469028" y="1982629"/>
                    <a:pt x="542370" y="1894999"/>
                    <a:pt x="553800" y="1953101"/>
                  </a:cubicBezTo>
                  <a:cubicBezTo>
                    <a:pt x="615713" y="1943576"/>
                    <a:pt x="709058" y="1981676"/>
                    <a:pt x="602378" y="2004536"/>
                  </a:cubicBezTo>
                  <a:cubicBezTo>
                    <a:pt x="489030" y="2033111"/>
                    <a:pt x="378540" y="2021681"/>
                    <a:pt x="275670" y="2024539"/>
                  </a:cubicBezTo>
                  <a:cubicBezTo>
                    <a:pt x="208995" y="2001679"/>
                    <a:pt x="117555" y="2018824"/>
                    <a:pt x="236618" y="2049304"/>
                  </a:cubicBezTo>
                  <a:cubicBezTo>
                    <a:pt x="332820" y="2060734"/>
                    <a:pt x="145178" y="2068354"/>
                    <a:pt x="262335" y="2092166"/>
                  </a:cubicBezTo>
                  <a:cubicBezTo>
                    <a:pt x="280433" y="2148364"/>
                    <a:pt x="381398" y="2103596"/>
                    <a:pt x="420450" y="2151221"/>
                  </a:cubicBezTo>
                  <a:cubicBezTo>
                    <a:pt x="509033" y="2108359"/>
                    <a:pt x="390923" y="2195036"/>
                    <a:pt x="480458" y="2174081"/>
                  </a:cubicBezTo>
                  <a:cubicBezTo>
                    <a:pt x="575708" y="2192179"/>
                    <a:pt x="324248" y="2267426"/>
                    <a:pt x="269955" y="2228374"/>
                  </a:cubicBezTo>
                  <a:cubicBezTo>
                    <a:pt x="213758" y="2232184"/>
                    <a:pt x="143273" y="2230279"/>
                    <a:pt x="106125" y="2250281"/>
                  </a:cubicBezTo>
                  <a:cubicBezTo>
                    <a:pt x="206138" y="2296001"/>
                    <a:pt x="-65325" y="2235041"/>
                    <a:pt x="45165" y="2290286"/>
                  </a:cubicBezTo>
                  <a:cubicBezTo>
                    <a:pt x="112793" y="2290286"/>
                    <a:pt x="125175" y="2298859"/>
                    <a:pt x="84218" y="2353151"/>
                  </a:cubicBezTo>
                  <a:cubicBezTo>
                    <a:pt x="115650" y="2409349"/>
                    <a:pt x="321390" y="2387441"/>
                    <a:pt x="203280" y="2444591"/>
                  </a:cubicBezTo>
                  <a:cubicBezTo>
                    <a:pt x="147083" y="2440781"/>
                    <a:pt x="65168" y="2474119"/>
                    <a:pt x="172800" y="2478881"/>
                  </a:cubicBezTo>
                  <a:cubicBezTo>
                    <a:pt x="257573" y="2456021"/>
                    <a:pt x="98505" y="2546509"/>
                    <a:pt x="201375" y="2519839"/>
                  </a:cubicBezTo>
                  <a:cubicBezTo>
                    <a:pt x="231855" y="2566511"/>
                    <a:pt x="284243" y="2528411"/>
                    <a:pt x="301388" y="2558891"/>
                  </a:cubicBezTo>
                  <a:cubicBezTo>
                    <a:pt x="372825" y="2593181"/>
                    <a:pt x="107078" y="2573179"/>
                    <a:pt x="76598" y="2589371"/>
                  </a:cubicBezTo>
                  <a:cubicBezTo>
                    <a:pt x="179468" y="2628424"/>
                    <a:pt x="-65325" y="2632234"/>
                    <a:pt x="58500" y="2659856"/>
                  </a:cubicBezTo>
                  <a:cubicBezTo>
                    <a:pt x="100410" y="2649379"/>
                    <a:pt x="183278" y="2635091"/>
                    <a:pt x="110888" y="2693194"/>
                  </a:cubicBezTo>
                  <a:cubicBezTo>
                    <a:pt x="167085" y="2674144"/>
                    <a:pt x="196613" y="2711291"/>
                    <a:pt x="214710" y="2727484"/>
                  </a:cubicBezTo>
                  <a:cubicBezTo>
                    <a:pt x="247095" y="2699861"/>
                    <a:pt x="297578" y="2700814"/>
                    <a:pt x="262335" y="2756059"/>
                  </a:cubicBezTo>
                  <a:cubicBezTo>
                    <a:pt x="318533" y="2733199"/>
                    <a:pt x="387113" y="2651284"/>
                    <a:pt x="358538" y="2733199"/>
                  </a:cubicBezTo>
                  <a:cubicBezTo>
                    <a:pt x="470933" y="2695099"/>
                    <a:pt x="299483" y="2803684"/>
                    <a:pt x="254715" y="2758916"/>
                  </a:cubicBezTo>
                  <a:cubicBezTo>
                    <a:pt x="164228" y="2746534"/>
                    <a:pt x="93743" y="2773204"/>
                    <a:pt x="45165" y="2806541"/>
                  </a:cubicBezTo>
                  <a:cubicBezTo>
                    <a:pt x="161370" y="2800826"/>
                    <a:pt x="-83423" y="2882741"/>
                    <a:pt x="46118" y="2865596"/>
                  </a:cubicBezTo>
                  <a:cubicBezTo>
                    <a:pt x="120413" y="2833211"/>
                    <a:pt x="88028" y="2862739"/>
                    <a:pt x="88980" y="2895124"/>
                  </a:cubicBezTo>
                  <a:cubicBezTo>
                    <a:pt x="132795" y="2875121"/>
                    <a:pt x="93743" y="2942749"/>
                    <a:pt x="155655" y="2902744"/>
                  </a:cubicBezTo>
                  <a:cubicBezTo>
                    <a:pt x="209948" y="2924651"/>
                    <a:pt x="280433" y="2904649"/>
                    <a:pt x="343298" y="2914174"/>
                  </a:cubicBezTo>
                  <a:cubicBezTo>
                    <a:pt x="274718" y="2910364"/>
                    <a:pt x="168038" y="2980849"/>
                    <a:pt x="301388" y="2956084"/>
                  </a:cubicBezTo>
                  <a:cubicBezTo>
                    <a:pt x="209948" y="3007519"/>
                    <a:pt x="314723" y="3013234"/>
                    <a:pt x="361395" y="2980849"/>
                  </a:cubicBezTo>
                  <a:cubicBezTo>
                    <a:pt x="302340" y="3085624"/>
                    <a:pt x="505223" y="3017996"/>
                    <a:pt x="511890" y="3029426"/>
                  </a:cubicBezTo>
                  <a:cubicBezTo>
                    <a:pt x="501413" y="3104674"/>
                    <a:pt x="612855" y="2953226"/>
                    <a:pt x="603330" y="3058001"/>
                  </a:cubicBezTo>
                  <a:cubicBezTo>
                    <a:pt x="692865" y="3028474"/>
                    <a:pt x="764303" y="3011329"/>
                    <a:pt x="825263" y="2954179"/>
                  </a:cubicBezTo>
                  <a:cubicBezTo>
                    <a:pt x="868125" y="3001804"/>
                    <a:pt x="922418" y="2812256"/>
                    <a:pt x="957660" y="2927509"/>
                  </a:cubicBezTo>
                  <a:cubicBezTo>
                    <a:pt x="950993" y="3005614"/>
                    <a:pt x="858600" y="3144679"/>
                    <a:pt x="1013858" y="3102769"/>
                  </a:cubicBezTo>
                  <a:cubicBezTo>
                    <a:pt x="1088153" y="3107531"/>
                    <a:pt x="1167210" y="3117056"/>
                    <a:pt x="1119585" y="3020854"/>
                  </a:cubicBezTo>
                  <a:cubicBezTo>
                    <a:pt x="1095773" y="2920841"/>
                    <a:pt x="1165305" y="2995136"/>
                    <a:pt x="1191975" y="2997041"/>
                  </a:cubicBezTo>
                  <a:cubicBezTo>
                    <a:pt x="1258650" y="3067526"/>
                    <a:pt x="1392953" y="3040856"/>
                    <a:pt x="1468200" y="3026569"/>
                  </a:cubicBezTo>
                  <a:cubicBezTo>
                    <a:pt x="1457723" y="2961799"/>
                    <a:pt x="1529160" y="3010376"/>
                    <a:pt x="1561545" y="3002756"/>
                  </a:cubicBezTo>
                  <a:cubicBezTo>
                    <a:pt x="1593930" y="3038951"/>
                    <a:pt x="1657748" y="3041809"/>
                    <a:pt x="1679655" y="3030379"/>
                  </a:cubicBezTo>
                  <a:cubicBezTo>
                    <a:pt x="1735853" y="3070384"/>
                    <a:pt x="1690133" y="2906554"/>
                    <a:pt x="1748235" y="2996089"/>
                  </a:cubicBezTo>
                  <a:cubicBezTo>
                    <a:pt x="1790145" y="3019901"/>
                    <a:pt x="1871108" y="2994184"/>
                    <a:pt x="1893968" y="3009424"/>
                  </a:cubicBezTo>
                  <a:cubicBezTo>
                    <a:pt x="1889205" y="2959894"/>
                    <a:pt x="1945403" y="2984659"/>
                    <a:pt x="1888253" y="2944654"/>
                  </a:cubicBezTo>
                  <a:cubicBezTo>
                    <a:pt x="1905398" y="2942749"/>
                    <a:pt x="2032080" y="2999899"/>
                    <a:pt x="1964453" y="2947511"/>
                  </a:cubicBezTo>
                  <a:cubicBezTo>
                    <a:pt x="2079705" y="2950369"/>
                    <a:pt x="2036843" y="2899886"/>
                    <a:pt x="1948260" y="2913221"/>
                  </a:cubicBezTo>
                  <a:cubicBezTo>
                    <a:pt x="1883490" y="2907506"/>
                    <a:pt x="1767285" y="2873216"/>
                    <a:pt x="1843485" y="2853214"/>
                  </a:cubicBezTo>
                  <a:cubicBezTo>
                    <a:pt x="1859678" y="2837021"/>
                    <a:pt x="1951118" y="2853214"/>
                    <a:pt x="1883490" y="2818924"/>
                  </a:cubicBezTo>
                  <a:cubicBezTo>
                    <a:pt x="1929210" y="2839879"/>
                    <a:pt x="1994933" y="2790349"/>
                    <a:pt x="1909208" y="2790349"/>
                  </a:cubicBezTo>
                  <a:cubicBezTo>
                    <a:pt x="1962548" y="2784634"/>
                    <a:pt x="1960643" y="2735104"/>
                    <a:pt x="2032080" y="2757964"/>
                  </a:cubicBezTo>
                  <a:cubicBezTo>
                    <a:pt x="1946355" y="2722721"/>
                    <a:pt x="2002553" y="2723674"/>
                    <a:pt x="2036843" y="2711291"/>
                  </a:cubicBezTo>
                  <a:cubicBezTo>
                    <a:pt x="1972073" y="2706529"/>
                    <a:pt x="1884443" y="2674144"/>
                    <a:pt x="2008268" y="2670334"/>
                  </a:cubicBezTo>
                  <a:cubicBezTo>
                    <a:pt x="2132093" y="2620804"/>
                    <a:pt x="1982550" y="2644616"/>
                    <a:pt x="1943498" y="2645569"/>
                  </a:cubicBezTo>
                  <a:cubicBezTo>
                    <a:pt x="2009220" y="2564606"/>
                    <a:pt x="1844438" y="2680811"/>
                    <a:pt x="1793003" y="2651284"/>
                  </a:cubicBezTo>
                  <a:cubicBezTo>
                    <a:pt x="1703468" y="2657951"/>
                    <a:pt x="1501538" y="2570321"/>
                    <a:pt x="1497728" y="2538889"/>
                  </a:cubicBezTo>
                  <a:cubicBezTo>
                    <a:pt x="1528208" y="2533174"/>
                    <a:pt x="1620600" y="2608421"/>
                    <a:pt x="1592025" y="2535079"/>
                  </a:cubicBezTo>
                  <a:cubicBezTo>
                    <a:pt x="1682513" y="2614136"/>
                    <a:pt x="1734900" y="2472214"/>
                    <a:pt x="1824435" y="2566511"/>
                  </a:cubicBezTo>
                  <a:cubicBezTo>
                    <a:pt x="1703468" y="2427446"/>
                    <a:pt x="2134950" y="2525554"/>
                    <a:pt x="1938735" y="2449354"/>
                  </a:cubicBezTo>
                  <a:cubicBezTo>
                    <a:pt x="1915875" y="2436971"/>
                    <a:pt x="2165430" y="2449354"/>
                    <a:pt x="2000648" y="2416969"/>
                  </a:cubicBezTo>
                  <a:cubicBezTo>
                    <a:pt x="1945403" y="2423636"/>
                    <a:pt x="2077800" y="2375059"/>
                    <a:pt x="1993028" y="2387441"/>
                  </a:cubicBezTo>
                  <a:cubicBezTo>
                    <a:pt x="1840628" y="2373154"/>
                    <a:pt x="1705373" y="2382679"/>
                    <a:pt x="1549163" y="2328386"/>
                  </a:cubicBezTo>
                  <a:cubicBezTo>
                    <a:pt x="1451055" y="2308384"/>
                    <a:pt x="1461533" y="2256949"/>
                    <a:pt x="1554878" y="2282666"/>
                  </a:cubicBezTo>
                  <a:cubicBezTo>
                    <a:pt x="1673940" y="2311241"/>
                    <a:pt x="1712040" y="2290286"/>
                    <a:pt x="1823483" y="2291239"/>
                  </a:cubicBezTo>
                  <a:cubicBezTo>
                    <a:pt x="1848248" y="2213134"/>
                    <a:pt x="2103518" y="2260759"/>
                    <a:pt x="1994933" y="2158841"/>
                  </a:cubicBezTo>
                  <a:cubicBezTo>
                    <a:pt x="2052083" y="2127409"/>
                    <a:pt x="2122568" y="2111216"/>
                    <a:pt x="2013983" y="2124551"/>
                  </a:cubicBezTo>
                  <a:cubicBezTo>
                    <a:pt x="1910160" y="2121694"/>
                    <a:pt x="1786335" y="2110264"/>
                    <a:pt x="1699658" y="2061686"/>
                  </a:cubicBezTo>
                  <a:cubicBezTo>
                    <a:pt x="1721565" y="2011204"/>
                    <a:pt x="1873965" y="2095976"/>
                    <a:pt x="1808243" y="2027396"/>
                  </a:cubicBezTo>
                  <a:cubicBezTo>
                    <a:pt x="1845390" y="2033111"/>
                    <a:pt x="1914923" y="2015966"/>
                    <a:pt x="1836818" y="2000726"/>
                  </a:cubicBezTo>
                  <a:cubicBezTo>
                    <a:pt x="1905398" y="1995011"/>
                    <a:pt x="2018745" y="1882616"/>
                    <a:pt x="1875870" y="1935004"/>
                  </a:cubicBezTo>
                  <a:cubicBezTo>
                    <a:pt x="1803480" y="1892141"/>
                    <a:pt x="1605360" y="1962626"/>
                    <a:pt x="1600598" y="1869281"/>
                  </a:cubicBezTo>
                  <a:cubicBezTo>
                    <a:pt x="1705373" y="1889284"/>
                    <a:pt x="1819673" y="1872139"/>
                    <a:pt x="1823483" y="1737836"/>
                  </a:cubicBezTo>
                  <a:cubicBezTo>
                    <a:pt x="1751093" y="1747361"/>
                    <a:pt x="1638698" y="1814036"/>
                    <a:pt x="1592025" y="1729264"/>
                  </a:cubicBezTo>
                  <a:cubicBezTo>
                    <a:pt x="1623458" y="1750219"/>
                    <a:pt x="1690133" y="1734979"/>
                    <a:pt x="1639650" y="1693069"/>
                  </a:cubicBezTo>
                  <a:cubicBezTo>
                    <a:pt x="1694895" y="1704499"/>
                    <a:pt x="1723470" y="1603534"/>
                    <a:pt x="1648223" y="1652111"/>
                  </a:cubicBezTo>
                  <a:cubicBezTo>
                    <a:pt x="1592025" y="1662589"/>
                    <a:pt x="1391048" y="1666399"/>
                    <a:pt x="1437720" y="1613059"/>
                  </a:cubicBezTo>
                  <a:cubicBezTo>
                    <a:pt x="1490108" y="1631156"/>
                    <a:pt x="1612028" y="1607344"/>
                    <a:pt x="1519635" y="1556861"/>
                  </a:cubicBezTo>
                  <a:cubicBezTo>
                    <a:pt x="1584405" y="1579721"/>
                    <a:pt x="1719660" y="1506379"/>
                    <a:pt x="1697753" y="1459706"/>
                  </a:cubicBezTo>
                  <a:cubicBezTo>
                    <a:pt x="1650128" y="1406366"/>
                    <a:pt x="1590120" y="1445419"/>
                    <a:pt x="1539638" y="1435894"/>
                  </a:cubicBezTo>
                  <a:cubicBezTo>
                    <a:pt x="1603455" y="1393984"/>
                    <a:pt x="1538685" y="1420654"/>
                    <a:pt x="1520588" y="1388269"/>
                  </a:cubicBezTo>
                  <a:cubicBezTo>
                    <a:pt x="1471058" y="1479709"/>
                    <a:pt x="1237695" y="1392079"/>
                    <a:pt x="1282463" y="1360646"/>
                  </a:cubicBezTo>
                  <a:cubicBezTo>
                    <a:pt x="1390095" y="1360646"/>
                    <a:pt x="1469153" y="1357789"/>
                    <a:pt x="1568213" y="1328261"/>
                  </a:cubicBezTo>
                  <a:cubicBezTo>
                    <a:pt x="1540590" y="1255871"/>
                    <a:pt x="1746330" y="1225391"/>
                    <a:pt x="1593930" y="1209199"/>
                  </a:cubicBezTo>
                  <a:cubicBezTo>
                    <a:pt x="1560593" y="1139666"/>
                    <a:pt x="1406288" y="1264444"/>
                    <a:pt x="1440578" y="1151096"/>
                  </a:cubicBezTo>
                  <a:cubicBezTo>
                    <a:pt x="1348185" y="1224439"/>
                    <a:pt x="1149113" y="1139666"/>
                    <a:pt x="1127205" y="1094899"/>
                  </a:cubicBezTo>
                  <a:cubicBezTo>
                    <a:pt x="1214835" y="1122521"/>
                    <a:pt x="1236743" y="1092041"/>
                    <a:pt x="1310085" y="1109186"/>
                  </a:cubicBezTo>
                  <a:cubicBezTo>
                    <a:pt x="1300560" y="1078706"/>
                    <a:pt x="1375808" y="1166336"/>
                    <a:pt x="1406288" y="1094899"/>
                  </a:cubicBezTo>
                  <a:cubicBezTo>
                    <a:pt x="1479630" y="1092041"/>
                    <a:pt x="1424385" y="984409"/>
                    <a:pt x="1508205" y="1040606"/>
                  </a:cubicBezTo>
                  <a:cubicBezTo>
                    <a:pt x="1529160" y="993934"/>
                    <a:pt x="1647270" y="970121"/>
                    <a:pt x="1532018" y="969169"/>
                  </a:cubicBezTo>
                  <a:cubicBezTo>
                    <a:pt x="1498680" y="936784"/>
                    <a:pt x="1427243" y="1008221"/>
                    <a:pt x="1421528" y="938689"/>
                  </a:cubicBezTo>
                  <a:cubicBezTo>
                    <a:pt x="1342470" y="1012031"/>
                    <a:pt x="1203405" y="991076"/>
                    <a:pt x="1154828" y="903446"/>
                  </a:cubicBezTo>
                  <a:cubicBezTo>
                    <a:pt x="1199595" y="899636"/>
                    <a:pt x="1305323" y="967264"/>
                    <a:pt x="1304370" y="884396"/>
                  </a:cubicBezTo>
                  <a:cubicBezTo>
                    <a:pt x="1348185" y="928211"/>
                    <a:pt x="1442483" y="914876"/>
                    <a:pt x="1351995" y="868204"/>
                  </a:cubicBezTo>
                  <a:cubicBezTo>
                    <a:pt x="1412003" y="912019"/>
                    <a:pt x="1490108" y="871061"/>
                    <a:pt x="1480583" y="832009"/>
                  </a:cubicBezTo>
                  <a:cubicBezTo>
                    <a:pt x="1625363" y="814864"/>
                    <a:pt x="1407240" y="763429"/>
                    <a:pt x="1363425" y="798671"/>
                  </a:cubicBezTo>
                  <a:cubicBezTo>
                    <a:pt x="1310085" y="684371"/>
                    <a:pt x="1158638" y="849154"/>
                    <a:pt x="1131015" y="755809"/>
                  </a:cubicBezTo>
                  <a:cubicBezTo>
                    <a:pt x="1102440" y="740569"/>
                    <a:pt x="956708" y="677704"/>
                    <a:pt x="1019573" y="655796"/>
                  </a:cubicBezTo>
                  <a:cubicBezTo>
                    <a:pt x="1029098" y="698659"/>
                    <a:pt x="1091963" y="752951"/>
                    <a:pt x="1088153" y="673894"/>
                  </a:cubicBezTo>
                  <a:cubicBezTo>
                    <a:pt x="1124348" y="778669"/>
                    <a:pt x="1187213" y="639604"/>
                    <a:pt x="1244363" y="727234"/>
                  </a:cubicBezTo>
                  <a:cubicBezTo>
                    <a:pt x="1271033" y="670084"/>
                    <a:pt x="1362473" y="748189"/>
                    <a:pt x="1389143" y="667226"/>
                  </a:cubicBezTo>
                  <a:cubicBezTo>
                    <a:pt x="1335803" y="624364"/>
                    <a:pt x="1186260" y="578644"/>
                    <a:pt x="1174830" y="590074"/>
                  </a:cubicBezTo>
                  <a:cubicBezTo>
                    <a:pt x="1230075" y="543401"/>
                    <a:pt x="1273890" y="526256"/>
                    <a:pt x="1180545" y="513874"/>
                  </a:cubicBezTo>
                  <a:cubicBezTo>
                    <a:pt x="1169115" y="479584"/>
                    <a:pt x="1356758" y="462439"/>
                    <a:pt x="1228170" y="415766"/>
                  </a:cubicBezTo>
                  <a:cubicBezTo>
                    <a:pt x="1322468" y="381476"/>
                    <a:pt x="1196738" y="349091"/>
                    <a:pt x="1251983" y="298609"/>
                  </a:cubicBezTo>
                  <a:cubicBezTo>
                    <a:pt x="1150065" y="302419"/>
                    <a:pt x="1100535" y="370046"/>
                    <a:pt x="1035765" y="451009"/>
                  </a:cubicBezTo>
                  <a:cubicBezTo>
                    <a:pt x="960518" y="465296"/>
                    <a:pt x="970995" y="241459"/>
                    <a:pt x="1058625" y="322421"/>
                  </a:cubicBezTo>
                  <a:cubicBezTo>
                    <a:pt x="1152923" y="327184"/>
                    <a:pt x="1126253" y="254794"/>
                    <a:pt x="1052910" y="251936"/>
                  </a:cubicBezTo>
                  <a:cubicBezTo>
                    <a:pt x="1091010" y="247174"/>
                    <a:pt x="1221503" y="242411"/>
                    <a:pt x="1112918" y="211931"/>
                  </a:cubicBezTo>
                  <a:cubicBezTo>
                    <a:pt x="1191023" y="135731"/>
                    <a:pt x="1113870" y="174784"/>
                    <a:pt x="1064340" y="185261"/>
                  </a:cubicBezTo>
                  <a:cubicBezTo>
                    <a:pt x="1030050" y="136684"/>
                    <a:pt x="969090" y="322421"/>
                    <a:pt x="991950" y="191929"/>
                  </a:cubicBezTo>
                  <a:cubicBezTo>
                    <a:pt x="1009095" y="137636"/>
                    <a:pt x="1116728" y="33814"/>
                    <a:pt x="996713" y="111919"/>
                  </a:cubicBezTo>
                  <a:cubicBezTo>
                    <a:pt x="947183" y="118586"/>
                    <a:pt x="1017668" y="24289"/>
                    <a:pt x="949088" y="7144"/>
                  </a:cubicBezTo>
                  <a:lnTo>
                    <a:pt x="949088" y="7144"/>
                  </a:lnTo>
                  <a:lnTo>
                    <a:pt x="949088" y="7144"/>
                  </a:lnTo>
                  <a:close/>
                  <a:moveTo>
                    <a:pt x="886223" y="287179"/>
                  </a:moveTo>
                  <a:cubicBezTo>
                    <a:pt x="950993" y="293846"/>
                    <a:pt x="936705" y="430054"/>
                    <a:pt x="908130" y="327184"/>
                  </a:cubicBezTo>
                  <a:cubicBezTo>
                    <a:pt x="904320" y="313849"/>
                    <a:pt x="879555" y="305276"/>
                    <a:pt x="886223" y="287179"/>
                  </a:cubicBezTo>
                  <a:close/>
                  <a:moveTo>
                    <a:pt x="863363" y="404336"/>
                  </a:moveTo>
                  <a:cubicBezTo>
                    <a:pt x="931943" y="406241"/>
                    <a:pt x="947183" y="504349"/>
                    <a:pt x="876698" y="435769"/>
                  </a:cubicBezTo>
                  <a:cubicBezTo>
                    <a:pt x="877650" y="436721"/>
                    <a:pt x="842408" y="406241"/>
                    <a:pt x="863363" y="404336"/>
                  </a:cubicBezTo>
                  <a:close/>
                  <a:moveTo>
                    <a:pt x="1116728" y="470059"/>
                  </a:moveTo>
                  <a:cubicBezTo>
                    <a:pt x="1142445" y="539591"/>
                    <a:pt x="916703" y="542449"/>
                    <a:pt x="1066245" y="511016"/>
                  </a:cubicBezTo>
                  <a:cubicBezTo>
                    <a:pt x="1087200" y="502444"/>
                    <a:pt x="1096725" y="479584"/>
                    <a:pt x="1116728" y="470059"/>
                  </a:cubicBezTo>
                  <a:close/>
                  <a:moveTo>
                    <a:pt x="1009095" y="584359"/>
                  </a:moveTo>
                  <a:cubicBezTo>
                    <a:pt x="1068150" y="591026"/>
                    <a:pt x="1128158" y="624364"/>
                    <a:pt x="1029098" y="599599"/>
                  </a:cubicBezTo>
                  <a:lnTo>
                    <a:pt x="1009095" y="584359"/>
                  </a:lnTo>
                  <a:lnTo>
                    <a:pt x="1009095" y="584359"/>
                  </a:lnTo>
                  <a:close/>
                  <a:moveTo>
                    <a:pt x="1111013" y="603409"/>
                  </a:moveTo>
                  <a:cubicBezTo>
                    <a:pt x="1179593" y="587216"/>
                    <a:pt x="1100535" y="662464"/>
                    <a:pt x="1111013" y="603409"/>
                  </a:cubicBezTo>
                  <a:close/>
                  <a:moveTo>
                    <a:pt x="1251030" y="632936"/>
                  </a:moveTo>
                  <a:cubicBezTo>
                    <a:pt x="1281510" y="652939"/>
                    <a:pt x="1209120" y="642461"/>
                    <a:pt x="1251030" y="632936"/>
                  </a:cubicBezTo>
                  <a:close/>
                  <a:moveTo>
                    <a:pt x="1032908" y="760571"/>
                  </a:moveTo>
                  <a:cubicBezTo>
                    <a:pt x="1069103" y="813911"/>
                    <a:pt x="1010048" y="875824"/>
                    <a:pt x="1028145" y="780574"/>
                  </a:cubicBezTo>
                  <a:lnTo>
                    <a:pt x="1032908" y="760571"/>
                  </a:lnTo>
                  <a:lnTo>
                    <a:pt x="1032908" y="760571"/>
                  </a:lnTo>
                  <a:close/>
                  <a:moveTo>
                    <a:pt x="961470" y="867251"/>
                  </a:moveTo>
                  <a:cubicBezTo>
                    <a:pt x="989093" y="885349"/>
                    <a:pt x="919560" y="881539"/>
                    <a:pt x="961470" y="867251"/>
                  </a:cubicBezTo>
                  <a:close/>
                  <a:moveTo>
                    <a:pt x="1036718" y="884396"/>
                  </a:moveTo>
                  <a:cubicBezTo>
                    <a:pt x="1052910" y="926306"/>
                    <a:pt x="1022430" y="907256"/>
                    <a:pt x="1036718" y="884396"/>
                  </a:cubicBezTo>
                  <a:close/>
                  <a:moveTo>
                    <a:pt x="921465" y="888206"/>
                  </a:moveTo>
                  <a:cubicBezTo>
                    <a:pt x="952898" y="901541"/>
                    <a:pt x="887175" y="904399"/>
                    <a:pt x="921465" y="888206"/>
                  </a:cubicBezTo>
                  <a:close/>
                  <a:moveTo>
                    <a:pt x="874793" y="904399"/>
                  </a:moveTo>
                  <a:cubicBezTo>
                    <a:pt x="906225" y="917734"/>
                    <a:pt x="840503" y="920591"/>
                    <a:pt x="874793" y="904399"/>
                  </a:cubicBezTo>
                  <a:close/>
                  <a:moveTo>
                    <a:pt x="681435" y="904399"/>
                  </a:moveTo>
                  <a:cubicBezTo>
                    <a:pt x="718583" y="948214"/>
                    <a:pt x="920513" y="896779"/>
                    <a:pt x="777638" y="946309"/>
                  </a:cubicBezTo>
                  <a:cubicBezTo>
                    <a:pt x="745253" y="952976"/>
                    <a:pt x="654765" y="966311"/>
                    <a:pt x="681435" y="904399"/>
                  </a:cubicBezTo>
                  <a:close/>
                  <a:moveTo>
                    <a:pt x="1532970" y="1327309"/>
                  </a:moveTo>
                  <a:cubicBezTo>
                    <a:pt x="1567260" y="1342549"/>
                    <a:pt x="1512015" y="1349216"/>
                    <a:pt x="1532970" y="1327309"/>
                  </a:cubicBezTo>
                  <a:close/>
                  <a:moveTo>
                    <a:pt x="757635" y="1423511"/>
                  </a:moveTo>
                  <a:cubicBezTo>
                    <a:pt x="685245" y="1477804"/>
                    <a:pt x="650003" y="1441609"/>
                    <a:pt x="757635" y="1423511"/>
                  </a:cubicBezTo>
                  <a:close/>
                  <a:moveTo>
                    <a:pt x="1558688" y="1764506"/>
                  </a:moveTo>
                  <a:cubicBezTo>
                    <a:pt x="1654890" y="1774984"/>
                    <a:pt x="1460580" y="1774031"/>
                    <a:pt x="1558688" y="1764506"/>
                  </a:cubicBezTo>
                  <a:close/>
                  <a:moveTo>
                    <a:pt x="1766333" y="1807369"/>
                  </a:moveTo>
                  <a:cubicBezTo>
                    <a:pt x="1818720" y="1806416"/>
                    <a:pt x="1736805" y="1819751"/>
                    <a:pt x="1766333" y="1807369"/>
                  </a:cubicBezTo>
                  <a:close/>
                  <a:moveTo>
                    <a:pt x="1769190" y="2006441"/>
                  </a:moveTo>
                  <a:cubicBezTo>
                    <a:pt x="1833008" y="2002631"/>
                    <a:pt x="1785383" y="2038826"/>
                    <a:pt x="1769190" y="2006441"/>
                  </a:cubicBezTo>
                  <a:close/>
                  <a:moveTo>
                    <a:pt x="151845" y="2329339"/>
                  </a:moveTo>
                  <a:cubicBezTo>
                    <a:pt x="171848" y="2352199"/>
                    <a:pt x="91838" y="2336006"/>
                    <a:pt x="151845" y="2329339"/>
                  </a:cubicBezTo>
                  <a:close/>
                  <a:moveTo>
                    <a:pt x="301388" y="2397919"/>
                  </a:moveTo>
                  <a:cubicBezTo>
                    <a:pt x="343298" y="2445544"/>
                    <a:pt x="410925" y="2404586"/>
                    <a:pt x="469028" y="2426494"/>
                  </a:cubicBezTo>
                  <a:cubicBezTo>
                    <a:pt x="496650" y="2436971"/>
                    <a:pt x="202328" y="2484596"/>
                    <a:pt x="301388" y="2397919"/>
                  </a:cubicBezTo>
                  <a:close/>
                  <a:moveTo>
                    <a:pt x="517605" y="2406491"/>
                  </a:moveTo>
                  <a:cubicBezTo>
                    <a:pt x="548085" y="2420779"/>
                    <a:pt x="455693" y="2415064"/>
                    <a:pt x="517605" y="2406491"/>
                  </a:cubicBezTo>
                  <a:close/>
                  <a:moveTo>
                    <a:pt x="423308" y="2736056"/>
                  </a:moveTo>
                  <a:cubicBezTo>
                    <a:pt x="450930" y="2753201"/>
                    <a:pt x="381398" y="2750344"/>
                    <a:pt x="423308" y="2736056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87755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2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+mn-ea"/>
                <a:cs typeface="+mn-cs"/>
              </a:endParaRPr>
            </a:p>
          </p:txBody>
        </p:sp>
        <p:sp>
          <p:nvSpPr>
            <p:cNvPr id="18" name="Graphic 47">
              <a:extLst>
                <a:ext uri="{FF2B5EF4-FFF2-40B4-BE49-F238E27FC236}">
                  <a16:creationId xmlns:a16="http://schemas.microsoft.com/office/drawing/2014/main" id="{244DF798-80CC-40E7-907F-ACE9FDA5244C}"/>
                </a:ext>
              </a:extLst>
            </p:cNvPr>
            <p:cNvSpPr/>
            <p:nvPr userDrawn="1"/>
          </p:nvSpPr>
          <p:spPr>
            <a:xfrm>
              <a:off x="1599658" y="5312441"/>
              <a:ext cx="739873" cy="1109811"/>
            </a:xfrm>
            <a:custGeom>
              <a:avLst/>
              <a:gdLst>
                <a:gd name="connsiteX0" fmla="*/ 949088 w 2076450"/>
                <a:gd name="connsiteY0" fmla="*/ 7144 h 3114675"/>
                <a:gd name="connsiteX1" fmla="*/ 883365 w 2076450"/>
                <a:gd name="connsiteY1" fmla="*/ 105251 h 3114675"/>
                <a:gd name="connsiteX2" fmla="*/ 909083 w 2076450"/>
                <a:gd name="connsiteY2" fmla="*/ 238601 h 3114675"/>
                <a:gd name="connsiteX3" fmla="*/ 833835 w 2076450"/>
                <a:gd name="connsiteY3" fmla="*/ 193834 h 3114675"/>
                <a:gd name="connsiteX4" fmla="*/ 817643 w 2076450"/>
                <a:gd name="connsiteY4" fmla="*/ 301466 h 3114675"/>
                <a:gd name="connsiteX5" fmla="*/ 810023 w 2076450"/>
                <a:gd name="connsiteY5" fmla="*/ 328136 h 3114675"/>
                <a:gd name="connsiteX6" fmla="*/ 684293 w 2076450"/>
                <a:gd name="connsiteY6" fmla="*/ 381476 h 3114675"/>
                <a:gd name="connsiteX7" fmla="*/ 703343 w 2076450"/>
                <a:gd name="connsiteY7" fmla="*/ 451009 h 3114675"/>
                <a:gd name="connsiteX8" fmla="*/ 714773 w 2076450"/>
                <a:gd name="connsiteY8" fmla="*/ 539591 h 3114675"/>
                <a:gd name="connsiteX9" fmla="*/ 828120 w 2076450"/>
                <a:gd name="connsiteY9" fmla="*/ 573881 h 3114675"/>
                <a:gd name="connsiteX10" fmla="*/ 947183 w 2076450"/>
                <a:gd name="connsiteY10" fmla="*/ 577691 h 3114675"/>
                <a:gd name="connsiteX11" fmla="*/ 731918 w 2076450"/>
                <a:gd name="connsiteY11" fmla="*/ 618649 h 3114675"/>
                <a:gd name="connsiteX12" fmla="*/ 530940 w 2076450"/>
                <a:gd name="connsiteY12" fmla="*/ 601504 h 3114675"/>
                <a:gd name="connsiteX13" fmla="*/ 597615 w 2076450"/>
                <a:gd name="connsiteY13" fmla="*/ 649129 h 3114675"/>
                <a:gd name="connsiteX14" fmla="*/ 629048 w 2076450"/>
                <a:gd name="connsiteY14" fmla="*/ 688181 h 3114675"/>
                <a:gd name="connsiteX15" fmla="*/ 714773 w 2076450"/>
                <a:gd name="connsiteY15" fmla="*/ 728186 h 3114675"/>
                <a:gd name="connsiteX16" fmla="*/ 947183 w 2076450"/>
                <a:gd name="connsiteY16" fmla="*/ 689134 h 3114675"/>
                <a:gd name="connsiteX17" fmla="*/ 674768 w 2076450"/>
                <a:gd name="connsiteY17" fmla="*/ 758666 h 3114675"/>
                <a:gd name="connsiteX18" fmla="*/ 528083 w 2076450"/>
                <a:gd name="connsiteY18" fmla="*/ 788194 h 3114675"/>
                <a:gd name="connsiteX19" fmla="*/ 530940 w 2076450"/>
                <a:gd name="connsiteY19" fmla="*/ 846296 h 3114675"/>
                <a:gd name="connsiteX20" fmla="*/ 569040 w 2076450"/>
                <a:gd name="connsiteY20" fmla="*/ 912971 h 3114675"/>
                <a:gd name="connsiteX21" fmla="*/ 502365 w 2076450"/>
                <a:gd name="connsiteY21" fmla="*/ 958691 h 3114675"/>
                <a:gd name="connsiteX22" fmla="*/ 409973 w 2076450"/>
                <a:gd name="connsiteY22" fmla="*/ 972979 h 3114675"/>
                <a:gd name="connsiteX23" fmla="*/ 547133 w 2076450"/>
                <a:gd name="connsiteY23" fmla="*/ 1067276 h 3114675"/>
                <a:gd name="connsiteX24" fmla="*/ 730013 w 2076450"/>
                <a:gd name="connsiteY24" fmla="*/ 1155859 h 3114675"/>
                <a:gd name="connsiteX25" fmla="*/ 409020 w 2076450"/>
                <a:gd name="connsiteY25" fmla="*/ 1204436 h 3114675"/>
                <a:gd name="connsiteX26" fmla="*/ 530940 w 2076450"/>
                <a:gd name="connsiteY26" fmla="*/ 1310164 h 3114675"/>
                <a:gd name="connsiteX27" fmla="*/ 366158 w 2076450"/>
                <a:gd name="connsiteY27" fmla="*/ 1365409 h 3114675"/>
                <a:gd name="connsiteX28" fmla="*/ 637620 w 2076450"/>
                <a:gd name="connsiteY28" fmla="*/ 1413034 h 3114675"/>
                <a:gd name="connsiteX29" fmla="*/ 617618 w 2076450"/>
                <a:gd name="connsiteY29" fmla="*/ 1487329 h 3114675"/>
                <a:gd name="connsiteX30" fmla="*/ 286148 w 2076450"/>
                <a:gd name="connsiteY30" fmla="*/ 1588294 h 3114675"/>
                <a:gd name="connsiteX31" fmla="*/ 550943 w 2076450"/>
                <a:gd name="connsiteY31" fmla="*/ 1688306 h 3114675"/>
                <a:gd name="connsiteX32" fmla="*/ 627143 w 2076450"/>
                <a:gd name="connsiteY32" fmla="*/ 1666399 h 3114675"/>
                <a:gd name="connsiteX33" fmla="*/ 734775 w 2076450"/>
                <a:gd name="connsiteY33" fmla="*/ 1662589 h 3114675"/>
                <a:gd name="connsiteX34" fmla="*/ 604283 w 2076450"/>
                <a:gd name="connsiteY34" fmla="*/ 1759744 h 3114675"/>
                <a:gd name="connsiteX35" fmla="*/ 217568 w 2076450"/>
                <a:gd name="connsiteY35" fmla="*/ 1794986 h 3114675"/>
                <a:gd name="connsiteX36" fmla="*/ 214710 w 2076450"/>
                <a:gd name="connsiteY36" fmla="*/ 1862614 h 3114675"/>
                <a:gd name="connsiteX37" fmla="*/ 335678 w 2076450"/>
                <a:gd name="connsiteY37" fmla="*/ 1914049 h 3114675"/>
                <a:gd name="connsiteX38" fmla="*/ 472838 w 2076450"/>
                <a:gd name="connsiteY38" fmla="*/ 1916906 h 3114675"/>
                <a:gd name="connsiteX39" fmla="*/ 553800 w 2076450"/>
                <a:gd name="connsiteY39" fmla="*/ 1953101 h 3114675"/>
                <a:gd name="connsiteX40" fmla="*/ 602378 w 2076450"/>
                <a:gd name="connsiteY40" fmla="*/ 2004536 h 3114675"/>
                <a:gd name="connsiteX41" fmla="*/ 275670 w 2076450"/>
                <a:gd name="connsiteY41" fmla="*/ 2024539 h 3114675"/>
                <a:gd name="connsiteX42" fmla="*/ 236618 w 2076450"/>
                <a:gd name="connsiteY42" fmla="*/ 2049304 h 3114675"/>
                <a:gd name="connsiteX43" fmla="*/ 262335 w 2076450"/>
                <a:gd name="connsiteY43" fmla="*/ 2092166 h 3114675"/>
                <a:gd name="connsiteX44" fmla="*/ 420450 w 2076450"/>
                <a:gd name="connsiteY44" fmla="*/ 2151221 h 3114675"/>
                <a:gd name="connsiteX45" fmla="*/ 480458 w 2076450"/>
                <a:gd name="connsiteY45" fmla="*/ 2174081 h 3114675"/>
                <a:gd name="connsiteX46" fmla="*/ 269955 w 2076450"/>
                <a:gd name="connsiteY46" fmla="*/ 2228374 h 3114675"/>
                <a:gd name="connsiteX47" fmla="*/ 106125 w 2076450"/>
                <a:gd name="connsiteY47" fmla="*/ 2250281 h 3114675"/>
                <a:gd name="connsiteX48" fmla="*/ 45165 w 2076450"/>
                <a:gd name="connsiteY48" fmla="*/ 2290286 h 3114675"/>
                <a:gd name="connsiteX49" fmla="*/ 84218 w 2076450"/>
                <a:gd name="connsiteY49" fmla="*/ 2353151 h 3114675"/>
                <a:gd name="connsiteX50" fmla="*/ 203280 w 2076450"/>
                <a:gd name="connsiteY50" fmla="*/ 2444591 h 3114675"/>
                <a:gd name="connsiteX51" fmla="*/ 172800 w 2076450"/>
                <a:gd name="connsiteY51" fmla="*/ 2478881 h 3114675"/>
                <a:gd name="connsiteX52" fmla="*/ 201375 w 2076450"/>
                <a:gd name="connsiteY52" fmla="*/ 2519839 h 3114675"/>
                <a:gd name="connsiteX53" fmla="*/ 301388 w 2076450"/>
                <a:gd name="connsiteY53" fmla="*/ 2558891 h 3114675"/>
                <a:gd name="connsiteX54" fmla="*/ 76598 w 2076450"/>
                <a:gd name="connsiteY54" fmla="*/ 2589371 h 3114675"/>
                <a:gd name="connsiteX55" fmla="*/ 58500 w 2076450"/>
                <a:gd name="connsiteY55" fmla="*/ 2659856 h 3114675"/>
                <a:gd name="connsiteX56" fmla="*/ 110888 w 2076450"/>
                <a:gd name="connsiteY56" fmla="*/ 2693194 h 3114675"/>
                <a:gd name="connsiteX57" fmla="*/ 214710 w 2076450"/>
                <a:gd name="connsiteY57" fmla="*/ 2727484 h 3114675"/>
                <a:gd name="connsiteX58" fmla="*/ 262335 w 2076450"/>
                <a:gd name="connsiteY58" fmla="*/ 2756059 h 3114675"/>
                <a:gd name="connsiteX59" fmla="*/ 358538 w 2076450"/>
                <a:gd name="connsiteY59" fmla="*/ 2733199 h 3114675"/>
                <a:gd name="connsiteX60" fmla="*/ 254715 w 2076450"/>
                <a:gd name="connsiteY60" fmla="*/ 2758916 h 3114675"/>
                <a:gd name="connsiteX61" fmla="*/ 45165 w 2076450"/>
                <a:gd name="connsiteY61" fmla="*/ 2806541 h 3114675"/>
                <a:gd name="connsiteX62" fmla="*/ 46118 w 2076450"/>
                <a:gd name="connsiteY62" fmla="*/ 2865596 h 3114675"/>
                <a:gd name="connsiteX63" fmla="*/ 88980 w 2076450"/>
                <a:gd name="connsiteY63" fmla="*/ 2895124 h 3114675"/>
                <a:gd name="connsiteX64" fmla="*/ 155655 w 2076450"/>
                <a:gd name="connsiteY64" fmla="*/ 2902744 h 3114675"/>
                <a:gd name="connsiteX65" fmla="*/ 343298 w 2076450"/>
                <a:gd name="connsiteY65" fmla="*/ 2914174 h 3114675"/>
                <a:gd name="connsiteX66" fmla="*/ 301388 w 2076450"/>
                <a:gd name="connsiteY66" fmla="*/ 2956084 h 3114675"/>
                <a:gd name="connsiteX67" fmla="*/ 361395 w 2076450"/>
                <a:gd name="connsiteY67" fmla="*/ 2980849 h 3114675"/>
                <a:gd name="connsiteX68" fmla="*/ 511890 w 2076450"/>
                <a:gd name="connsiteY68" fmla="*/ 3029426 h 3114675"/>
                <a:gd name="connsiteX69" fmla="*/ 603330 w 2076450"/>
                <a:gd name="connsiteY69" fmla="*/ 3058001 h 3114675"/>
                <a:gd name="connsiteX70" fmla="*/ 825263 w 2076450"/>
                <a:gd name="connsiteY70" fmla="*/ 2954179 h 3114675"/>
                <a:gd name="connsiteX71" fmla="*/ 957660 w 2076450"/>
                <a:gd name="connsiteY71" fmla="*/ 2927509 h 3114675"/>
                <a:gd name="connsiteX72" fmla="*/ 1013858 w 2076450"/>
                <a:gd name="connsiteY72" fmla="*/ 3102769 h 3114675"/>
                <a:gd name="connsiteX73" fmla="*/ 1119585 w 2076450"/>
                <a:gd name="connsiteY73" fmla="*/ 3020854 h 3114675"/>
                <a:gd name="connsiteX74" fmla="*/ 1191975 w 2076450"/>
                <a:gd name="connsiteY74" fmla="*/ 2997041 h 3114675"/>
                <a:gd name="connsiteX75" fmla="*/ 1468200 w 2076450"/>
                <a:gd name="connsiteY75" fmla="*/ 3026569 h 3114675"/>
                <a:gd name="connsiteX76" fmla="*/ 1561545 w 2076450"/>
                <a:gd name="connsiteY76" fmla="*/ 3002756 h 3114675"/>
                <a:gd name="connsiteX77" fmla="*/ 1679655 w 2076450"/>
                <a:gd name="connsiteY77" fmla="*/ 3030379 h 3114675"/>
                <a:gd name="connsiteX78" fmla="*/ 1748235 w 2076450"/>
                <a:gd name="connsiteY78" fmla="*/ 2996089 h 3114675"/>
                <a:gd name="connsiteX79" fmla="*/ 1893968 w 2076450"/>
                <a:gd name="connsiteY79" fmla="*/ 3009424 h 3114675"/>
                <a:gd name="connsiteX80" fmla="*/ 1888253 w 2076450"/>
                <a:gd name="connsiteY80" fmla="*/ 2944654 h 3114675"/>
                <a:gd name="connsiteX81" fmla="*/ 1964453 w 2076450"/>
                <a:gd name="connsiteY81" fmla="*/ 2947511 h 3114675"/>
                <a:gd name="connsiteX82" fmla="*/ 1948260 w 2076450"/>
                <a:gd name="connsiteY82" fmla="*/ 2913221 h 3114675"/>
                <a:gd name="connsiteX83" fmla="*/ 1843485 w 2076450"/>
                <a:gd name="connsiteY83" fmla="*/ 2853214 h 3114675"/>
                <a:gd name="connsiteX84" fmla="*/ 1883490 w 2076450"/>
                <a:gd name="connsiteY84" fmla="*/ 2818924 h 3114675"/>
                <a:gd name="connsiteX85" fmla="*/ 1909208 w 2076450"/>
                <a:gd name="connsiteY85" fmla="*/ 2790349 h 3114675"/>
                <a:gd name="connsiteX86" fmla="*/ 2032080 w 2076450"/>
                <a:gd name="connsiteY86" fmla="*/ 2757964 h 3114675"/>
                <a:gd name="connsiteX87" fmla="*/ 2036843 w 2076450"/>
                <a:gd name="connsiteY87" fmla="*/ 2711291 h 3114675"/>
                <a:gd name="connsiteX88" fmla="*/ 2008268 w 2076450"/>
                <a:gd name="connsiteY88" fmla="*/ 2670334 h 3114675"/>
                <a:gd name="connsiteX89" fmla="*/ 1943498 w 2076450"/>
                <a:gd name="connsiteY89" fmla="*/ 2645569 h 3114675"/>
                <a:gd name="connsiteX90" fmla="*/ 1793003 w 2076450"/>
                <a:gd name="connsiteY90" fmla="*/ 2651284 h 3114675"/>
                <a:gd name="connsiteX91" fmla="*/ 1497728 w 2076450"/>
                <a:gd name="connsiteY91" fmla="*/ 2538889 h 3114675"/>
                <a:gd name="connsiteX92" fmla="*/ 1592025 w 2076450"/>
                <a:gd name="connsiteY92" fmla="*/ 2535079 h 3114675"/>
                <a:gd name="connsiteX93" fmla="*/ 1824435 w 2076450"/>
                <a:gd name="connsiteY93" fmla="*/ 2566511 h 3114675"/>
                <a:gd name="connsiteX94" fmla="*/ 1938735 w 2076450"/>
                <a:gd name="connsiteY94" fmla="*/ 2449354 h 3114675"/>
                <a:gd name="connsiteX95" fmla="*/ 2000648 w 2076450"/>
                <a:gd name="connsiteY95" fmla="*/ 2416969 h 3114675"/>
                <a:gd name="connsiteX96" fmla="*/ 1993028 w 2076450"/>
                <a:gd name="connsiteY96" fmla="*/ 2387441 h 3114675"/>
                <a:gd name="connsiteX97" fmla="*/ 1549163 w 2076450"/>
                <a:gd name="connsiteY97" fmla="*/ 2328386 h 3114675"/>
                <a:gd name="connsiteX98" fmla="*/ 1554878 w 2076450"/>
                <a:gd name="connsiteY98" fmla="*/ 2282666 h 3114675"/>
                <a:gd name="connsiteX99" fmla="*/ 1823483 w 2076450"/>
                <a:gd name="connsiteY99" fmla="*/ 2291239 h 3114675"/>
                <a:gd name="connsiteX100" fmla="*/ 1994933 w 2076450"/>
                <a:gd name="connsiteY100" fmla="*/ 2158841 h 3114675"/>
                <a:gd name="connsiteX101" fmla="*/ 2013983 w 2076450"/>
                <a:gd name="connsiteY101" fmla="*/ 2124551 h 3114675"/>
                <a:gd name="connsiteX102" fmla="*/ 1699658 w 2076450"/>
                <a:gd name="connsiteY102" fmla="*/ 2061686 h 3114675"/>
                <a:gd name="connsiteX103" fmla="*/ 1808243 w 2076450"/>
                <a:gd name="connsiteY103" fmla="*/ 2027396 h 3114675"/>
                <a:gd name="connsiteX104" fmla="*/ 1836818 w 2076450"/>
                <a:gd name="connsiteY104" fmla="*/ 2000726 h 3114675"/>
                <a:gd name="connsiteX105" fmla="*/ 1875870 w 2076450"/>
                <a:gd name="connsiteY105" fmla="*/ 1935004 h 3114675"/>
                <a:gd name="connsiteX106" fmla="*/ 1600598 w 2076450"/>
                <a:gd name="connsiteY106" fmla="*/ 1869281 h 3114675"/>
                <a:gd name="connsiteX107" fmla="*/ 1823483 w 2076450"/>
                <a:gd name="connsiteY107" fmla="*/ 1737836 h 3114675"/>
                <a:gd name="connsiteX108" fmla="*/ 1592025 w 2076450"/>
                <a:gd name="connsiteY108" fmla="*/ 1729264 h 3114675"/>
                <a:gd name="connsiteX109" fmla="*/ 1639650 w 2076450"/>
                <a:gd name="connsiteY109" fmla="*/ 1693069 h 3114675"/>
                <a:gd name="connsiteX110" fmla="*/ 1648223 w 2076450"/>
                <a:gd name="connsiteY110" fmla="*/ 1652111 h 3114675"/>
                <a:gd name="connsiteX111" fmla="*/ 1437720 w 2076450"/>
                <a:gd name="connsiteY111" fmla="*/ 1613059 h 3114675"/>
                <a:gd name="connsiteX112" fmla="*/ 1519635 w 2076450"/>
                <a:gd name="connsiteY112" fmla="*/ 1556861 h 3114675"/>
                <a:gd name="connsiteX113" fmla="*/ 1697753 w 2076450"/>
                <a:gd name="connsiteY113" fmla="*/ 1459706 h 3114675"/>
                <a:gd name="connsiteX114" fmla="*/ 1539638 w 2076450"/>
                <a:gd name="connsiteY114" fmla="*/ 1435894 h 3114675"/>
                <a:gd name="connsiteX115" fmla="*/ 1520588 w 2076450"/>
                <a:gd name="connsiteY115" fmla="*/ 1388269 h 3114675"/>
                <a:gd name="connsiteX116" fmla="*/ 1282463 w 2076450"/>
                <a:gd name="connsiteY116" fmla="*/ 1360646 h 3114675"/>
                <a:gd name="connsiteX117" fmla="*/ 1568213 w 2076450"/>
                <a:gd name="connsiteY117" fmla="*/ 1328261 h 3114675"/>
                <a:gd name="connsiteX118" fmla="*/ 1593930 w 2076450"/>
                <a:gd name="connsiteY118" fmla="*/ 1209199 h 3114675"/>
                <a:gd name="connsiteX119" fmla="*/ 1440578 w 2076450"/>
                <a:gd name="connsiteY119" fmla="*/ 1151096 h 3114675"/>
                <a:gd name="connsiteX120" fmla="*/ 1127205 w 2076450"/>
                <a:gd name="connsiteY120" fmla="*/ 1094899 h 3114675"/>
                <a:gd name="connsiteX121" fmla="*/ 1310085 w 2076450"/>
                <a:gd name="connsiteY121" fmla="*/ 1109186 h 3114675"/>
                <a:gd name="connsiteX122" fmla="*/ 1406288 w 2076450"/>
                <a:gd name="connsiteY122" fmla="*/ 1094899 h 3114675"/>
                <a:gd name="connsiteX123" fmla="*/ 1508205 w 2076450"/>
                <a:gd name="connsiteY123" fmla="*/ 1040606 h 3114675"/>
                <a:gd name="connsiteX124" fmla="*/ 1532018 w 2076450"/>
                <a:gd name="connsiteY124" fmla="*/ 969169 h 3114675"/>
                <a:gd name="connsiteX125" fmla="*/ 1421528 w 2076450"/>
                <a:gd name="connsiteY125" fmla="*/ 938689 h 3114675"/>
                <a:gd name="connsiteX126" fmla="*/ 1154828 w 2076450"/>
                <a:gd name="connsiteY126" fmla="*/ 903446 h 3114675"/>
                <a:gd name="connsiteX127" fmla="*/ 1304370 w 2076450"/>
                <a:gd name="connsiteY127" fmla="*/ 884396 h 3114675"/>
                <a:gd name="connsiteX128" fmla="*/ 1351995 w 2076450"/>
                <a:gd name="connsiteY128" fmla="*/ 868204 h 3114675"/>
                <a:gd name="connsiteX129" fmla="*/ 1480583 w 2076450"/>
                <a:gd name="connsiteY129" fmla="*/ 832009 h 3114675"/>
                <a:gd name="connsiteX130" fmla="*/ 1363425 w 2076450"/>
                <a:gd name="connsiteY130" fmla="*/ 798671 h 3114675"/>
                <a:gd name="connsiteX131" fmla="*/ 1131015 w 2076450"/>
                <a:gd name="connsiteY131" fmla="*/ 755809 h 3114675"/>
                <a:gd name="connsiteX132" fmla="*/ 1019573 w 2076450"/>
                <a:gd name="connsiteY132" fmla="*/ 655796 h 3114675"/>
                <a:gd name="connsiteX133" fmla="*/ 1088153 w 2076450"/>
                <a:gd name="connsiteY133" fmla="*/ 673894 h 3114675"/>
                <a:gd name="connsiteX134" fmla="*/ 1244363 w 2076450"/>
                <a:gd name="connsiteY134" fmla="*/ 727234 h 3114675"/>
                <a:gd name="connsiteX135" fmla="*/ 1389143 w 2076450"/>
                <a:gd name="connsiteY135" fmla="*/ 667226 h 3114675"/>
                <a:gd name="connsiteX136" fmla="*/ 1174830 w 2076450"/>
                <a:gd name="connsiteY136" fmla="*/ 590074 h 3114675"/>
                <a:gd name="connsiteX137" fmla="*/ 1180545 w 2076450"/>
                <a:gd name="connsiteY137" fmla="*/ 513874 h 3114675"/>
                <a:gd name="connsiteX138" fmla="*/ 1228170 w 2076450"/>
                <a:gd name="connsiteY138" fmla="*/ 415766 h 3114675"/>
                <a:gd name="connsiteX139" fmla="*/ 1251983 w 2076450"/>
                <a:gd name="connsiteY139" fmla="*/ 298609 h 3114675"/>
                <a:gd name="connsiteX140" fmla="*/ 1035765 w 2076450"/>
                <a:gd name="connsiteY140" fmla="*/ 451009 h 3114675"/>
                <a:gd name="connsiteX141" fmla="*/ 1058625 w 2076450"/>
                <a:gd name="connsiteY141" fmla="*/ 322421 h 3114675"/>
                <a:gd name="connsiteX142" fmla="*/ 1052910 w 2076450"/>
                <a:gd name="connsiteY142" fmla="*/ 251936 h 3114675"/>
                <a:gd name="connsiteX143" fmla="*/ 1112918 w 2076450"/>
                <a:gd name="connsiteY143" fmla="*/ 211931 h 3114675"/>
                <a:gd name="connsiteX144" fmla="*/ 1064340 w 2076450"/>
                <a:gd name="connsiteY144" fmla="*/ 185261 h 3114675"/>
                <a:gd name="connsiteX145" fmla="*/ 991950 w 2076450"/>
                <a:gd name="connsiteY145" fmla="*/ 191929 h 3114675"/>
                <a:gd name="connsiteX146" fmla="*/ 996713 w 2076450"/>
                <a:gd name="connsiteY146" fmla="*/ 111919 h 3114675"/>
                <a:gd name="connsiteX147" fmla="*/ 949088 w 2076450"/>
                <a:gd name="connsiteY147" fmla="*/ 7144 h 3114675"/>
                <a:gd name="connsiteX148" fmla="*/ 949088 w 2076450"/>
                <a:gd name="connsiteY148" fmla="*/ 7144 h 3114675"/>
                <a:gd name="connsiteX149" fmla="*/ 949088 w 2076450"/>
                <a:gd name="connsiteY149" fmla="*/ 7144 h 3114675"/>
                <a:gd name="connsiteX150" fmla="*/ 886223 w 2076450"/>
                <a:gd name="connsiteY150" fmla="*/ 287179 h 3114675"/>
                <a:gd name="connsiteX151" fmla="*/ 908130 w 2076450"/>
                <a:gd name="connsiteY151" fmla="*/ 327184 h 3114675"/>
                <a:gd name="connsiteX152" fmla="*/ 886223 w 2076450"/>
                <a:gd name="connsiteY152" fmla="*/ 287179 h 3114675"/>
                <a:gd name="connsiteX153" fmla="*/ 863363 w 2076450"/>
                <a:gd name="connsiteY153" fmla="*/ 404336 h 3114675"/>
                <a:gd name="connsiteX154" fmla="*/ 876698 w 2076450"/>
                <a:gd name="connsiteY154" fmla="*/ 435769 h 3114675"/>
                <a:gd name="connsiteX155" fmla="*/ 863363 w 2076450"/>
                <a:gd name="connsiteY155" fmla="*/ 404336 h 3114675"/>
                <a:gd name="connsiteX156" fmla="*/ 1116728 w 2076450"/>
                <a:gd name="connsiteY156" fmla="*/ 470059 h 3114675"/>
                <a:gd name="connsiteX157" fmla="*/ 1066245 w 2076450"/>
                <a:gd name="connsiteY157" fmla="*/ 511016 h 3114675"/>
                <a:gd name="connsiteX158" fmla="*/ 1116728 w 2076450"/>
                <a:gd name="connsiteY158" fmla="*/ 470059 h 3114675"/>
                <a:gd name="connsiteX159" fmla="*/ 1009095 w 2076450"/>
                <a:gd name="connsiteY159" fmla="*/ 584359 h 3114675"/>
                <a:gd name="connsiteX160" fmla="*/ 1029098 w 2076450"/>
                <a:gd name="connsiteY160" fmla="*/ 599599 h 3114675"/>
                <a:gd name="connsiteX161" fmla="*/ 1009095 w 2076450"/>
                <a:gd name="connsiteY161" fmla="*/ 584359 h 3114675"/>
                <a:gd name="connsiteX162" fmla="*/ 1009095 w 2076450"/>
                <a:gd name="connsiteY162" fmla="*/ 584359 h 3114675"/>
                <a:gd name="connsiteX163" fmla="*/ 1111013 w 2076450"/>
                <a:gd name="connsiteY163" fmla="*/ 603409 h 3114675"/>
                <a:gd name="connsiteX164" fmla="*/ 1111013 w 2076450"/>
                <a:gd name="connsiteY164" fmla="*/ 603409 h 3114675"/>
                <a:gd name="connsiteX165" fmla="*/ 1251030 w 2076450"/>
                <a:gd name="connsiteY165" fmla="*/ 632936 h 3114675"/>
                <a:gd name="connsiteX166" fmla="*/ 1251030 w 2076450"/>
                <a:gd name="connsiteY166" fmla="*/ 632936 h 3114675"/>
                <a:gd name="connsiteX167" fmla="*/ 1032908 w 2076450"/>
                <a:gd name="connsiteY167" fmla="*/ 760571 h 3114675"/>
                <a:gd name="connsiteX168" fmla="*/ 1028145 w 2076450"/>
                <a:gd name="connsiteY168" fmla="*/ 780574 h 3114675"/>
                <a:gd name="connsiteX169" fmla="*/ 1032908 w 2076450"/>
                <a:gd name="connsiteY169" fmla="*/ 760571 h 3114675"/>
                <a:gd name="connsiteX170" fmla="*/ 1032908 w 2076450"/>
                <a:gd name="connsiteY170" fmla="*/ 760571 h 3114675"/>
                <a:gd name="connsiteX171" fmla="*/ 961470 w 2076450"/>
                <a:gd name="connsiteY171" fmla="*/ 867251 h 3114675"/>
                <a:gd name="connsiteX172" fmla="*/ 961470 w 2076450"/>
                <a:gd name="connsiteY172" fmla="*/ 867251 h 3114675"/>
                <a:gd name="connsiteX173" fmla="*/ 1036718 w 2076450"/>
                <a:gd name="connsiteY173" fmla="*/ 884396 h 3114675"/>
                <a:gd name="connsiteX174" fmla="*/ 1036718 w 2076450"/>
                <a:gd name="connsiteY174" fmla="*/ 884396 h 3114675"/>
                <a:gd name="connsiteX175" fmla="*/ 921465 w 2076450"/>
                <a:gd name="connsiteY175" fmla="*/ 888206 h 3114675"/>
                <a:gd name="connsiteX176" fmla="*/ 921465 w 2076450"/>
                <a:gd name="connsiteY176" fmla="*/ 888206 h 3114675"/>
                <a:gd name="connsiteX177" fmla="*/ 874793 w 2076450"/>
                <a:gd name="connsiteY177" fmla="*/ 904399 h 3114675"/>
                <a:gd name="connsiteX178" fmla="*/ 874793 w 2076450"/>
                <a:gd name="connsiteY178" fmla="*/ 904399 h 3114675"/>
                <a:gd name="connsiteX179" fmla="*/ 681435 w 2076450"/>
                <a:gd name="connsiteY179" fmla="*/ 904399 h 3114675"/>
                <a:gd name="connsiteX180" fmla="*/ 777638 w 2076450"/>
                <a:gd name="connsiteY180" fmla="*/ 946309 h 3114675"/>
                <a:gd name="connsiteX181" fmla="*/ 681435 w 2076450"/>
                <a:gd name="connsiteY181" fmla="*/ 904399 h 3114675"/>
                <a:gd name="connsiteX182" fmla="*/ 1532970 w 2076450"/>
                <a:gd name="connsiteY182" fmla="*/ 1327309 h 3114675"/>
                <a:gd name="connsiteX183" fmla="*/ 1532970 w 2076450"/>
                <a:gd name="connsiteY183" fmla="*/ 1327309 h 3114675"/>
                <a:gd name="connsiteX184" fmla="*/ 757635 w 2076450"/>
                <a:gd name="connsiteY184" fmla="*/ 1423511 h 3114675"/>
                <a:gd name="connsiteX185" fmla="*/ 757635 w 2076450"/>
                <a:gd name="connsiteY185" fmla="*/ 1423511 h 3114675"/>
                <a:gd name="connsiteX186" fmla="*/ 1558688 w 2076450"/>
                <a:gd name="connsiteY186" fmla="*/ 1764506 h 3114675"/>
                <a:gd name="connsiteX187" fmla="*/ 1558688 w 2076450"/>
                <a:gd name="connsiteY187" fmla="*/ 1764506 h 3114675"/>
                <a:gd name="connsiteX188" fmla="*/ 1766333 w 2076450"/>
                <a:gd name="connsiteY188" fmla="*/ 1807369 h 3114675"/>
                <a:gd name="connsiteX189" fmla="*/ 1766333 w 2076450"/>
                <a:gd name="connsiteY189" fmla="*/ 1807369 h 3114675"/>
                <a:gd name="connsiteX190" fmla="*/ 1769190 w 2076450"/>
                <a:gd name="connsiteY190" fmla="*/ 2006441 h 3114675"/>
                <a:gd name="connsiteX191" fmla="*/ 1769190 w 2076450"/>
                <a:gd name="connsiteY191" fmla="*/ 2006441 h 3114675"/>
                <a:gd name="connsiteX192" fmla="*/ 151845 w 2076450"/>
                <a:gd name="connsiteY192" fmla="*/ 2329339 h 3114675"/>
                <a:gd name="connsiteX193" fmla="*/ 151845 w 2076450"/>
                <a:gd name="connsiteY193" fmla="*/ 2329339 h 3114675"/>
                <a:gd name="connsiteX194" fmla="*/ 301388 w 2076450"/>
                <a:gd name="connsiteY194" fmla="*/ 2397919 h 3114675"/>
                <a:gd name="connsiteX195" fmla="*/ 469028 w 2076450"/>
                <a:gd name="connsiteY195" fmla="*/ 2426494 h 3114675"/>
                <a:gd name="connsiteX196" fmla="*/ 301388 w 2076450"/>
                <a:gd name="connsiteY196" fmla="*/ 2397919 h 3114675"/>
                <a:gd name="connsiteX197" fmla="*/ 517605 w 2076450"/>
                <a:gd name="connsiteY197" fmla="*/ 2406491 h 3114675"/>
                <a:gd name="connsiteX198" fmla="*/ 517605 w 2076450"/>
                <a:gd name="connsiteY198" fmla="*/ 2406491 h 3114675"/>
                <a:gd name="connsiteX199" fmla="*/ 423308 w 2076450"/>
                <a:gd name="connsiteY199" fmla="*/ 2736056 h 3114675"/>
                <a:gd name="connsiteX200" fmla="*/ 423308 w 2076450"/>
                <a:gd name="connsiteY200" fmla="*/ 2736056 h 3114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</a:cxnLst>
              <a:rect l="l" t="t" r="r" b="b"/>
              <a:pathLst>
                <a:path w="2076450" h="3114675">
                  <a:moveTo>
                    <a:pt x="949088" y="7144"/>
                  </a:moveTo>
                  <a:cubicBezTo>
                    <a:pt x="938610" y="62389"/>
                    <a:pt x="972900" y="200501"/>
                    <a:pt x="883365" y="105251"/>
                  </a:cubicBezTo>
                  <a:cubicBezTo>
                    <a:pt x="870983" y="105251"/>
                    <a:pt x="992903" y="314801"/>
                    <a:pt x="909083" y="238601"/>
                  </a:cubicBezTo>
                  <a:cubicBezTo>
                    <a:pt x="898605" y="171926"/>
                    <a:pt x="863363" y="174784"/>
                    <a:pt x="833835" y="193834"/>
                  </a:cubicBezTo>
                  <a:cubicBezTo>
                    <a:pt x="732870" y="154781"/>
                    <a:pt x="858600" y="285274"/>
                    <a:pt x="817643" y="301466"/>
                  </a:cubicBezTo>
                  <a:cubicBezTo>
                    <a:pt x="895748" y="301466"/>
                    <a:pt x="870030" y="356711"/>
                    <a:pt x="810023" y="328136"/>
                  </a:cubicBezTo>
                  <a:cubicBezTo>
                    <a:pt x="906225" y="459581"/>
                    <a:pt x="686198" y="348139"/>
                    <a:pt x="684293" y="381476"/>
                  </a:cubicBezTo>
                  <a:cubicBezTo>
                    <a:pt x="777638" y="421481"/>
                    <a:pt x="622380" y="411004"/>
                    <a:pt x="703343" y="451009"/>
                  </a:cubicBezTo>
                  <a:cubicBezTo>
                    <a:pt x="833835" y="496729"/>
                    <a:pt x="615713" y="505301"/>
                    <a:pt x="714773" y="539591"/>
                  </a:cubicBezTo>
                  <a:cubicBezTo>
                    <a:pt x="761445" y="555784"/>
                    <a:pt x="860505" y="517684"/>
                    <a:pt x="828120" y="573881"/>
                  </a:cubicBezTo>
                  <a:cubicBezTo>
                    <a:pt x="890033" y="568166"/>
                    <a:pt x="887175" y="616744"/>
                    <a:pt x="947183" y="577691"/>
                  </a:cubicBezTo>
                  <a:cubicBezTo>
                    <a:pt x="977663" y="712946"/>
                    <a:pt x="680483" y="534829"/>
                    <a:pt x="731918" y="618649"/>
                  </a:cubicBezTo>
                  <a:cubicBezTo>
                    <a:pt x="670005" y="621506"/>
                    <a:pt x="575708" y="525304"/>
                    <a:pt x="530940" y="601504"/>
                  </a:cubicBezTo>
                  <a:cubicBezTo>
                    <a:pt x="396638" y="611981"/>
                    <a:pt x="563325" y="655796"/>
                    <a:pt x="597615" y="649129"/>
                  </a:cubicBezTo>
                  <a:cubicBezTo>
                    <a:pt x="487125" y="737711"/>
                    <a:pt x="741443" y="614839"/>
                    <a:pt x="629048" y="688181"/>
                  </a:cubicBezTo>
                  <a:cubicBezTo>
                    <a:pt x="648098" y="779621"/>
                    <a:pt x="834788" y="621506"/>
                    <a:pt x="714773" y="728186"/>
                  </a:cubicBezTo>
                  <a:cubicBezTo>
                    <a:pt x="762398" y="785336"/>
                    <a:pt x="937658" y="659606"/>
                    <a:pt x="947183" y="689134"/>
                  </a:cubicBezTo>
                  <a:cubicBezTo>
                    <a:pt x="884318" y="784384"/>
                    <a:pt x="764303" y="785336"/>
                    <a:pt x="674768" y="758666"/>
                  </a:cubicBezTo>
                  <a:cubicBezTo>
                    <a:pt x="734775" y="821531"/>
                    <a:pt x="570945" y="739616"/>
                    <a:pt x="528083" y="788194"/>
                  </a:cubicBezTo>
                  <a:cubicBezTo>
                    <a:pt x="468075" y="789146"/>
                    <a:pt x="536655" y="836771"/>
                    <a:pt x="530940" y="846296"/>
                  </a:cubicBezTo>
                  <a:cubicBezTo>
                    <a:pt x="598568" y="865346"/>
                    <a:pt x="709058" y="934879"/>
                    <a:pt x="569040" y="912971"/>
                  </a:cubicBezTo>
                  <a:cubicBezTo>
                    <a:pt x="508080" y="912019"/>
                    <a:pt x="602378" y="1022509"/>
                    <a:pt x="502365" y="958691"/>
                  </a:cubicBezTo>
                  <a:cubicBezTo>
                    <a:pt x="451883" y="931069"/>
                    <a:pt x="479505" y="1007269"/>
                    <a:pt x="409973" y="972979"/>
                  </a:cubicBezTo>
                  <a:cubicBezTo>
                    <a:pt x="347108" y="988219"/>
                    <a:pt x="509985" y="1057751"/>
                    <a:pt x="547133" y="1067276"/>
                  </a:cubicBezTo>
                  <a:cubicBezTo>
                    <a:pt x="619523" y="1065371"/>
                    <a:pt x="693818" y="1189196"/>
                    <a:pt x="730013" y="1155859"/>
                  </a:cubicBezTo>
                  <a:cubicBezTo>
                    <a:pt x="636668" y="1233964"/>
                    <a:pt x="512843" y="1162526"/>
                    <a:pt x="409020" y="1204436"/>
                  </a:cubicBezTo>
                  <a:cubicBezTo>
                    <a:pt x="366158" y="1237774"/>
                    <a:pt x="517605" y="1304449"/>
                    <a:pt x="530940" y="1310164"/>
                  </a:cubicBezTo>
                  <a:cubicBezTo>
                    <a:pt x="681435" y="1376839"/>
                    <a:pt x="344250" y="1305401"/>
                    <a:pt x="366158" y="1365409"/>
                  </a:cubicBezTo>
                  <a:cubicBezTo>
                    <a:pt x="458550" y="1420654"/>
                    <a:pt x="541418" y="1491139"/>
                    <a:pt x="637620" y="1413034"/>
                  </a:cubicBezTo>
                  <a:cubicBezTo>
                    <a:pt x="670005" y="1436846"/>
                    <a:pt x="579518" y="1429226"/>
                    <a:pt x="617618" y="1487329"/>
                  </a:cubicBezTo>
                  <a:cubicBezTo>
                    <a:pt x="522368" y="1531144"/>
                    <a:pt x="340440" y="1537811"/>
                    <a:pt x="286148" y="1588294"/>
                  </a:cubicBezTo>
                  <a:cubicBezTo>
                    <a:pt x="365205" y="1664494"/>
                    <a:pt x="451883" y="1673066"/>
                    <a:pt x="550943" y="1688306"/>
                  </a:cubicBezTo>
                  <a:cubicBezTo>
                    <a:pt x="602378" y="1669256"/>
                    <a:pt x="582375" y="1654016"/>
                    <a:pt x="627143" y="1666399"/>
                  </a:cubicBezTo>
                  <a:cubicBezTo>
                    <a:pt x="664290" y="1686401"/>
                    <a:pt x="692865" y="1613059"/>
                    <a:pt x="734775" y="1662589"/>
                  </a:cubicBezTo>
                  <a:cubicBezTo>
                    <a:pt x="690008" y="1710214"/>
                    <a:pt x="452835" y="1702594"/>
                    <a:pt x="604283" y="1759744"/>
                  </a:cubicBezTo>
                  <a:cubicBezTo>
                    <a:pt x="479505" y="1794986"/>
                    <a:pt x="344250" y="1767364"/>
                    <a:pt x="217568" y="1794986"/>
                  </a:cubicBezTo>
                  <a:cubicBezTo>
                    <a:pt x="143273" y="1828324"/>
                    <a:pt x="304245" y="1820704"/>
                    <a:pt x="214710" y="1862614"/>
                  </a:cubicBezTo>
                  <a:cubicBezTo>
                    <a:pt x="175658" y="1910239"/>
                    <a:pt x="361395" y="1859756"/>
                    <a:pt x="335678" y="1914049"/>
                  </a:cubicBezTo>
                  <a:cubicBezTo>
                    <a:pt x="396638" y="1903571"/>
                    <a:pt x="425213" y="1929289"/>
                    <a:pt x="472838" y="1916906"/>
                  </a:cubicBezTo>
                  <a:cubicBezTo>
                    <a:pt x="469028" y="1982629"/>
                    <a:pt x="542370" y="1894999"/>
                    <a:pt x="553800" y="1953101"/>
                  </a:cubicBezTo>
                  <a:cubicBezTo>
                    <a:pt x="615713" y="1943576"/>
                    <a:pt x="709058" y="1981676"/>
                    <a:pt x="602378" y="2004536"/>
                  </a:cubicBezTo>
                  <a:cubicBezTo>
                    <a:pt x="489030" y="2033111"/>
                    <a:pt x="378540" y="2021681"/>
                    <a:pt x="275670" y="2024539"/>
                  </a:cubicBezTo>
                  <a:cubicBezTo>
                    <a:pt x="208995" y="2001679"/>
                    <a:pt x="117555" y="2018824"/>
                    <a:pt x="236618" y="2049304"/>
                  </a:cubicBezTo>
                  <a:cubicBezTo>
                    <a:pt x="332820" y="2060734"/>
                    <a:pt x="145178" y="2068354"/>
                    <a:pt x="262335" y="2092166"/>
                  </a:cubicBezTo>
                  <a:cubicBezTo>
                    <a:pt x="280433" y="2148364"/>
                    <a:pt x="381398" y="2103596"/>
                    <a:pt x="420450" y="2151221"/>
                  </a:cubicBezTo>
                  <a:cubicBezTo>
                    <a:pt x="509033" y="2108359"/>
                    <a:pt x="390923" y="2195036"/>
                    <a:pt x="480458" y="2174081"/>
                  </a:cubicBezTo>
                  <a:cubicBezTo>
                    <a:pt x="575708" y="2192179"/>
                    <a:pt x="324248" y="2267426"/>
                    <a:pt x="269955" y="2228374"/>
                  </a:cubicBezTo>
                  <a:cubicBezTo>
                    <a:pt x="213758" y="2232184"/>
                    <a:pt x="143273" y="2230279"/>
                    <a:pt x="106125" y="2250281"/>
                  </a:cubicBezTo>
                  <a:cubicBezTo>
                    <a:pt x="206138" y="2296001"/>
                    <a:pt x="-65325" y="2235041"/>
                    <a:pt x="45165" y="2290286"/>
                  </a:cubicBezTo>
                  <a:cubicBezTo>
                    <a:pt x="112793" y="2290286"/>
                    <a:pt x="125175" y="2298859"/>
                    <a:pt x="84218" y="2353151"/>
                  </a:cubicBezTo>
                  <a:cubicBezTo>
                    <a:pt x="115650" y="2409349"/>
                    <a:pt x="321390" y="2387441"/>
                    <a:pt x="203280" y="2444591"/>
                  </a:cubicBezTo>
                  <a:cubicBezTo>
                    <a:pt x="147083" y="2440781"/>
                    <a:pt x="65168" y="2474119"/>
                    <a:pt x="172800" y="2478881"/>
                  </a:cubicBezTo>
                  <a:cubicBezTo>
                    <a:pt x="257573" y="2456021"/>
                    <a:pt x="98505" y="2546509"/>
                    <a:pt x="201375" y="2519839"/>
                  </a:cubicBezTo>
                  <a:cubicBezTo>
                    <a:pt x="231855" y="2566511"/>
                    <a:pt x="284243" y="2528411"/>
                    <a:pt x="301388" y="2558891"/>
                  </a:cubicBezTo>
                  <a:cubicBezTo>
                    <a:pt x="372825" y="2593181"/>
                    <a:pt x="107078" y="2573179"/>
                    <a:pt x="76598" y="2589371"/>
                  </a:cubicBezTo>
                  <a:cubicBezTo>
                    <a:pt x="179468" y="2628424"/>
                    <a:pt x="-65325" y="2632234"/>
                    <a:pt x="58500" y="2659856"/>
                  </a:cubicBezTo>
                  <a:cubicBezTo>
                    <a:pt x="100410" y="2649379"/>
                    <a:pt x="183278" y="2635091"/>
                    <a:pt x="110888" y="2693194"/>
                  </a:cubicBezTo>
                  <a:cubicBezTo>
                    <a:pt x="167085" y="2674144"/>
                    <a:pt x="196613" y="2711291"/>
                    <a:pt x="214710" y="2727484"/>
                  </a:cubicBezTo>
                  <a:cubicBezTo>
                    <a:pt x="247095" y="2699861"/>
                    <a:pt x="297578" y="2700814"/>
                    <a:pt x="262335" y="2756059"/>
                  </a:cubicBezTo>
                  <a:cubicBezTo>
                    <a:pt x="318533" y="2733199"/>
                    <a:pt x="387113" y="2651284"/>
                    <a:pt x="358538" y="2733199"/>
                  </a:cubicBezTo>
                  <a:cubicBezTo>
                    <a:pt x="470933" y="2695099"/>
                    <a:pt x="299483" y="2803684"/>
                    <a:pt x="254715" y="2758916"/>
                  </a:cubicBezTo>
                  <a:cubicBezTo>
                    <a:pt x="164228" y="2746534"/>
                    <a:pt x="93743" y="2773204"/>
                    <a:pt x="45165" y="2806541"/>
                  </a:cubicBezTo>
                  <a:cubicBezTo>
                    <a:pt x="161370" y="2800826"/>
                    <a:pt x="-83423" y="2882741"/>
                    <a:pt x="46118" y="2865596"/>
                  </a:cubicBezTo>
                  <a:cubicBezTo>
                    <a:pt x="120413" y="2833211"/>
                    <a:pt x="88028" y="2862739"/>
                    <a:pt x="88980" y="2895124"/>
                  </a:cubicBezTo>
                  <a:cubicBezTo>
                    <a:pt x="132795" y="2875121"/>
                    <a:pt x="93743" y="2942749"/>
                    <a:pt x="155655" y="2902744"/>
                  </a:cubicBezTo>
                  <a:cubicBezTo>
                    <a:pt x="209948" y="2924651"/>
                    <a:pt x="280433" y="2904649"/>
                    <a:pt x="343298" y="2914174"/>
                  </a:cubicBezTo>
                  <a:cubicBezTo>
                    <a:pt x="274718" y="2910364"/>
                    <a:pt x="168038" y="2980849"/>
                    <a:pt x="301388" y="2956084"/>
                  </a:cubicBezTo>
                  <a:cubicBezTo>
                    <a:pt x="209948" y="3007519"/>
                    <a:pt x="314723" y="3013234"/>
                    <a:pt x="361395" y="2980849"/>
                  </a:cubicBezTo>
                  <a:cubicBezTo>
                    <a:pt x="302340" y="3085624"/>
                    <a:pt x="505223" y="3017996"/>
                    <a:pt x="511890" y="3029426"/>
                  </a:cubicBezTo>
                  <a:cubicBezTo>
                    <a:pt x="501413" y="3104674"/>
                    <a:pt x="612855" y="2953226"/>
                    <a:pt x="603330" y="3058001"/>
                  </a:cubicBezTo>
                  <a:cubicBezTo>
                    <a:pt x="692865" y="3028474"/>
                    <a:pt x="764303" y="3011329"/>
                    <a:pt x="825263" y="2954179"/>
                  </a:cubicBezTo>
                  <a:cubicBezTo>
                    <a:pt x="868125" y="3001804"/>
                    <a:pt x="922418" y="2812256"/>
                    <a:pt x="957660" y="2927509"/>
                  </a:cubicBezTo>
                  <a:cubicBezTo>
                    <a:pt x="950993" y="3005614"/>
                    <a:pt x="858600" y="3144679"/>
                    <a:pt x="1013858" y="3102769"/>
                  </a:cubicBezTo>
                  <a:cubicBezTo>
                    <a:pt x="1088153" y="3107531"/>
                    <a:pt x="1167210" y="3117056"/>
                    <a:pt x="1119585" y="3020854"/>
                  </a:cubicBezTo>
                  <a:cubicBezTo>
                    <a:pt x="1095773" y="2920841"/>
                    <a:pt x="1165305" y="2995136"/>
                    <a:pt x="1191975" y="2997041"/>
                  </a:cubicBezTo>
                  <a:cubicBezTo>
                    <a:pt x="1258650" y="3067526"/>
                    <a:pt x="1392953" y="3040856"/>
                    <a:pt x="1468200" y="3026569"/>
                  </a:cubicBezTo>
                  <a:cubicBezTo>
                    <a:pt x="1457723" y="2961799"/>
                    <a:pt x="1529160" y="3010376"/>
                    <a:pt x="1561545" y="3002756"/>
                  </a:cubicBezTo>
                  <a:cubicBezTo>
                    <a:pt x="1593930" y="3038951"/>
                    <a:pt x="1657748" y="3041809"/>
                    <a:pt x="1679655" y="3030379"/>
                  </a:cubicBezTo>
                  <a:cubicBezTo>
                    <a:pt x="1735853" y="3070384"/>
                    <a:pt x="1690133" y="2906554"/>
                    <a:pt x="1748235" y="2996089"/>
                  </a:cubicBezTo>
                  <a:cubicBezTo>
                    <a:pt x="1790145" y="3019901"/>
                    <a:pt x="1871108" y="2994184"/>
                    <a:pt x="1893968" y="3009424"/>
                  </a:cubicBezTo>
                  <a:cubicBezTo>
                    <a:pt x="1889205" y="2959894"/>
                    <a:pt x="1945403" y="2984659"/>
                    <a:pt x="1888253" y="2944654"/>
                  </a:cubicBezTo>
                  <a:cubicBezTo>
                    <a:pt x="1905398" y="2942749"/>
                    <a:pt x="2032080" y="2999899"/>
                    <a:pt x="1964453" y="2947511"/>
                  </a:cubicBezTo>
                  <a:cubicBezTo>
                    <a:pt x="2079705" y="2950369"/>
                    <a:pt x="2036843" y="2899886"/>
                    <a:pt x="1948260" y="2913221"/>
                  </a:cubicBezTo>
                  <a:cubicBezTo>
                    <a:pt x="1883490" y="2907506"/>
                    <a:pt x="1767285" y="2873216"/>
                    <a:pt x="1843485" y="2853214"/>
                  </a:cubicBezTo>
                  <a:cubicBezTo>
                    <a:pt x="1859678" y="2837021"/>
                    <a:pt x="1951118" y="2853214"/>
                    <a:pt x="1883490" y="2818924"/>
                  </a:cubicBezTo>
                  <a:cubicBezTo>
                    <a:pt x="1929210" y="2839879"/>
                    <a:pt x="1994933" y="2790349"/>
                    <a:pt x="1909208" y="2790349"/>
                  </a:cubicBezTo>
                  <a:cubicBezTo>
                    <a:pt x="1962548" y="2784634"/>
                    <a:pt x="1960643" y="2735104"/>
                    <a:pt x="2032080" y="2757964"/>
                  </a:cubicBezTo>
                  <a:cubicBezTo>
                    <a:pt x="1946355" y="2722721"/>
                    <a:pt x="2002553" y="2723674"/>
                    <a:pt x="2036843" y="2711291"/>
                  </a:cubicBezTo>
                  <a:cubicBezTo>
                    <a:pt x="1972073" y="2706529"/>
                    <a:pt x="1884443" y="2674144"/>
                    <a:pt x="2008268" y="2670334"/>
                  </a:cubicBezTo>
                  <a:cubicBezTo>
                    <a:pt x="2132093" y="2620804"/>
                    <a:pt x="1982550" y="2644616"/>
                    <a:pt x="1943498" y="2645569"/>
                  </a:cubicBezTo>
                  <a:cubicBezTo>
                    <a:pt x="2009220" y="2564606"/>
                    <a:pt x="1844438" y="2680811"/>
                    <a:pt x="1793003" y="2651284"/>
                  </a:cubicBezTo>
                  <a:cubicBezTo>
                    <a:pt x="1703468" y="2657951"/>
                    <a:pt x="1501538" y="2570321"/>
                    <a:pt x="1497728" y="2538889"/>
                  </a:cubicBezTo>
                  <a:cubicBezTo>
                    <a:pt x="1528208" y="2533174"/>
                    <a:pt x="1620600" y="2608421"/>
                    <a:pt x="1592025" y="2535079"/>
                  </a:cubicBezTo>
                  <a:cubicBezTo>
                    <a:pt x="1682513" y="2614136"/>
                    <a:pt x="1734900" y="2472214"/>
                    <a:pt x="1824435" y="2566511"/>
                  </a:cubicBezTo>
                  <a:cubicBezTo>
                    <a:pt x="1703468" y="2427446"/>
                    <a:pt x="2134950" y="2525554"/>
                    <a:pt x="1938735" y="2449354"/>
                  </a:cubicBezTo>
                  <a:cubicBezTo>
                    <a:pt x="1915875" y="2436971"/>
                    <a:pt x="2165430" y="2449354"/>
                    <a:pt x="2000648" y="2416969"/>
                  </a:cubicBezTo>
                  <a:cubicBezTo>
                    <a:pt x="1945403" y="2423636"/>
                    <a:pt x="2077800" y="2375059"/>
                    <a:pt x="1993028" y="2387441"/>
                  </a:cubicBezTo>
                  <a:cubicBezTo>
                    <a:pt x="1840628" y="2373154"/>
                    <a:pt x="1705373" y="2382679"/>
                    <a:pt x="1549163" y="2328386"/>
                  </a:cubicBezTo>
                  <a:cubicBezTo>
                    <a:pt x="1451055" y="2308384"/>
                    <a:pt x="1461533" y="2256949"/>
                    <a:pt x="1554878" y="2282666"/>
                  </a:cubicBezTo>
                  <a:cubicBezTo>
                    <a:pt x="1673940" y="2311241"/>
                    <a:pt x="1712040" y="2290286"/>
                    <a:pt x="1823483" y="2291239"/>
                  </a:cubicBezTo>
                  <a:cubicBezTo>
                    <a:pt x="1848248" y="2213134"/>
                    <a:pt x="2103518" y="2260759"/>
                    <a:pt x="1994933" y="2158841"/>
                  </a:cubicBezTo>
                  <a:cubicBezTo>
                    <a:pt x="2052083" y="2127409"/>
                    <a:pt x="2122568" y="2111216"/>
                    <a:pt x="2013983" y="2124551"/>
                  </a:cubicBezTo>
                  <a:cubicBezTo>
                    <a:pt x="1910160" y="2121694"/>
                    <a:pt x="1786335" y="2110264"/>
                    <a:pt x="1699658" y="2061686"/>
                  </a:cubicBezTo>
                  <a:cubicBezTo>
                    <a:pt x="1721565" y="2011204"/>
                    <a:pt x="1873965" y="2095976"/>
                    <a:pt x="1808243" y="2027396"/>
                  </a:cubicBezTo>
                  <a:cubicBezTo>
                    <a:pt x="1845390" y="2033111"/>
                    <a:pt x="1914923" y="2015966"/>
                    <a:pt x="1836818" y="2000726"/>
                  </a:cubicBezTo>
                  <a:cubicBezTo>
                    <a:pt x="1905398" y="1995011"/>
                    <a:pt x="2018745" y="1882616"/>
                    <a:pt x="1875870" y="1935004"/>
                  </a:cubicBezTo>
                  <a:cubicBezTo>
                    <a:pt x="1803480" y="1892141"/>
                    <a:pt x="1605360" y="1962626"/>
                    <a:pt x="1600598" y="1869281"/>
                  </a:cubicBezTo>
                  <a:cubicBezTo>
                    <a:pt x="1705373" y="1889284"/>
                    <a:pt x="1819673" y="1872139"/>
                    <a:pt x="1823483" y="1737836"/>
                  </a:cubicBezTo>
                  <a:cubicBezTo>
                    <a:pt x="1751093" y="1747361"/>
                    <a:pt x="1638698" y="1814036"/>
                    <a:pt x="1592025" y="1729264"/>
                  </a:cubicBezTo>
                  <a:cubicBezTo>
                    <a:pt x="1623458" y="1750219"/>
                    <a:pt x="1690133" y="1734979"/>
                    <a:pt x="1639650" y="1693069"/>
                  </a:cubicBezTo>
                  <a:cubicBezTo>
                    <a:pt x="1694895" y="1704499"/>
                    <a:pt x="1723470" y="1603534"/>
                    <a:pt x="1648223" y="1652111"/>
                  </a:cubicBezTo>
                  <a:cubicBezTo>
                    <a:pt x="1592025" y="1662589"/>
                    <a:pt x="1391048" y="1666399"/>
                    <a:pt x="1437720" y="1613059"/>
                  </a:cubicBezTo>
                  <a:cubicBezTo>
                    <a:pt x="1490108" y="1631156"/>
                    <a:pt x="1612028" y="1607344"/>
                    <a:pt x="1519635" y="1556861"/>
                  </a:cubicBezTo>
                  <a:cubicBezTo>
                    <a:pt x="1584405" y="1579721"/>
                    <a:pt x="1719660" y="1506379"/>
                    <a:pt x="1697753" y="1459706"/>
                  </a:cubicBezTo>
                  <a:cubicBezTo>
                    <a:pt x="1650128" y="1406366"/>
                    <a:pt x="1590120" y="1445419"/>
                    <a:pt x="1539638" y="1435894"/>
                  </a:cubicBezTo>
                  <a:cubicBezTo>
                    <a:pt x="1603455" y="1393984"/>
                    <a:pt x="1538685" y="1420654"/>
                    <a:pt x="1520588" y="1388269"/>
                  </a:cubicBezTo>
                  <a:cubicBezTo>
                    <a:pt x="1471058" y="1479709"/>
                    <a:pt x="1237695" y="1392079"/>
                    <a:pt x="1282463" y="1360646"/>
                  </a:cubicBezTo>
                  <a:cubicBezTo>
                    <a:pt x="1390095" y="1360646"/>
                    <a:pt x="1469153" y="1357789"/>
                    <a:pt x="1568213" y="1328261"/>
                  </a:cubicBezTo>
                  <a:cubicBezTo>
                    <a:pt x="1540590" y="1255871"/>
                    <a:pt x="1746330" y="1225391"/>
                    <a:pt x="1593930" y="1209199"/>
                  </a:cubicBezTo>
                  <a:cubicBezTo>
                    <a:pt x="1560593" y="1139666"/>
                    <a:pt x="1406288" y="1264444"/>
                    <a:pt x="1440578" y="1151096"/>
                  </a:cubicBezTo>
                  <a:cubicBezTo>
                    <a:pt x="1348185" y="1224439"/>
                    <a:pt x="1149113" y="1139666"/>
                    <a:pt x="1127205" y="1094899"/>
                  </a:cubicBezTo>
                  <a:cubicBezTo>
                    <a:pt x="1214835" y="1122521"/>
                    <a:pt x="1236743" y="1092041"/>
                    <a:pt x="1310085" y="1109186"/>
                  </a:cubicBezTo>
                  <a:cubicBezTo>
                    <a:pt x="1300560" y="1078706"/>
                    <a:pt x="1375808" y="1166336"/>
                    <a:pt x="1406288" y="1094899"/>
                  </a:cubicBezTo>
                  <a:cubicBezTo>
                    <a:pt x="1479630" y="1092041"/>
                    <a:pt x="1424385" y="984409"/>
                    <a:pt x="1508205" y="1040606"/>
                  </a:cubicBezTo>
                  <a:cubicBezTo>
                    <a:pt x="1529160" y="993934"/>
                    <a:pt x="1647270" y="970121"/>
                    <a:pt x="1532018" y="969169"/>
                  </a:cubicBezTo>
                  <a:cubicBezTo>
                    <a:pt x="1498680" y="936784"/>
                    <a:pt x="1427243" y="1008221"/>
                    <a:pt x="1421528" y="938689"/>
                  </a:cubicBezTo>
                  <a:cubicBezTo>
                    <a:pt x="1342470" y="1012031"/>
                    <a:pt x="1203405" y="991076"/>
                    <a:pt x="1154828" y="903446"/>
                  </a:cubicBezTo>
                  <a:cubicBezTo>
                    <a:pt x="1199595" y="899636"/>
                    <a:pt x="1305323" y="967264"/>
                    <a:pt x="1304370" y="884396"/>
                  </a:cubicBezTo>
                  <a:cubicBezTo>
                    <a:pt x="1348185" y="928211"/>
                    <a:pt x="1442483" y="914876"/>
                    <a:pt x="1351995" y="868204"/>
                  </a:cubicBezTo>
                  <a:cubicBezTo>
                    <a:pt x="1412003" y="912019"/>
                    <a:pt x="1490108" y="871061"/>
                    <a:pt x="1480583" y="832009"/>
                  </a:cubicBezTo>
                  <a:cubicBezTo>
                    <a:pt x="1625363" y="814864"/>
                    <a:pt x="1407240" y="763429"/>
                    <a:pt x="1363425" y="798671"/>
                  </a:cubicBezTo>
                  <a:cubicBezTo>
                    <a:pt x="1310085" y="684371"/>
                    <a:pt x="1158638" y="849154"/>
                    <a:pt x="1131015" y="755809"/>
                  </a:cubicBezTo>
                  <a:cubicBezTo>
                    <a:pt x="1102440" y="740569"/>
                    <a:pt x="956708" y="677704"/>
                    <a:pt x="1019573" y="655796"/>
                  </a:cubicBezTo>
                  <a:cubicBezTo>
                    <a:pt x="1029098" y="698659"/>
                    <a:pt x="1091963" y="752951"/>
                    <a:pt x="1088153" y="673894"/>
                  </a:cubicBezTo>
                  <a:cubicBezTo>
                    <a:pt x="1124348" y="778669"/>
                    <a:pt x="1187213" y="639604"/>
                    <a:pt x="1244363" y="727234"/>
                  </a:cubicBezTo>
                  <a:cubicBezTo>
                    <a:pt x="1271033" y="670084"/>
                    <a:pt x="1362473" y="748189"/>
                    <a:pt x="1389143" y="667226"/>
                  </a:cubicBezTo>
                  <a:cubicBezTo>
                    <a:pt x="1335803" y="624364"/>
                    <a:pt x="1186260" y="578644"/>
                    <a:pt x="1174830" y="590074"/>
                  </a:cubicBezTo>
                  <a:cubicBezTo>
                    <a:pt x="1230075" y="543401"/>
                    <a:pt x="1273890" y="526256"/>
                    <a:pt x="1180545" y="513874"/>
                  </a:cubicBezTo>
                  <a:cubicBezTo>
                    <a:pt x="1169115" y="479584"/>
                    <a:pt x="1356758" y="462439"/>
                    <a:pt x="1228170" y="415766"/>
                  </a:cubicBezTo>
                  <a:cubicBezTo>
                    <a:pt x="1322468" y="381476"/>
                    <a:pt x="1196738" y="349091"/>
                    <a:pt x="1251983" y="298609"/>
                  </a:cubicBezTo>
                  <a:cubicBezTo>
                    <a:pt x="1150065" y="302419"/>
                    <a:pt x="1100535" y="370046"/>
                    <a:pt x="1035765" y="451009"/>
                  </a:cubicBezTo>
                  <a:cubicBezTo>
                    <a:pt x="960518" y="465296"/>
                    <a:pt x="970995" y="241459"/>
                    <a:pt x="1058625" y="322421"/>
                  </a:cubicBezTo>
                  <a:cubicBezTo>
                    <a:pt x="1152923" y="327184"/>
                    <a:pt x="1126253" y="254794"/>
                    <a:pt x="1052910" y="251936"/>
                  </a:cubicBezTo>
                  <a:cubicBezTo>
                    <a:pt x="1091010" y="247174"/>
                    <a:pt x="1221503" y="242411"/>
                    <a:pt x="1112918" y="211931"/>
                  </a:cubicBezTo>
                  <a:cubicBezTo>
                    <a:pt x="1191023" y="135731"/>
                    <a:pt x="1113870" y="174784"/>
                    <a:pt x="1064340" y="185261"/>
                  </a:cubicBezTo>
                  <a:cubicBezTo>
                    <a:pt x="1030050" y="136684"/>
                    <a:pt x="969090" y="322421"/>
                    <a:pt x="991950" y="191929"/>
                  </a:cubicBezTo>
                  <a:cubicBezTo>
                    <a:pt x="1009095" y="137636"/>
                    <a:pt x="1116728" y="33814"/>
                    <a:pt x="996713" y="111919"/>
                  </a:cubicBezTo>
                  <a:cubicBezTo>
                    <a:pt x="947183" y="118586"/>
                    <a:pt x="1017668" y="24289"/>
                    <a:pt x="949088" y="7144"/>
                  </a:cubicBezTo>
                  <a:lnTo>
                    <a:pt x="949088" y="7144"/>
                  </a:lnTo>
                  <a:lnTo>
                    <a:pt x="949088" y="7144"/>
                  </a:lnTo>
                  <a:close/>
                  <a:moveTo>
                    <a:pt x="886223" y="287179"/>
                  </a:moveTo>
                  <a:cubicBezTo>
                    <a:pt x="950993" y="293846"/>
                    <a:pt x="936705" y="430054"/>
                    <a:pt x="908130" y="327184"/>
                  </a:cubicBezTo>
                  <a:cubicBezTo>
                    <a:pt x="904320" y="313849"/>
                    <a:pt x="879555" y="305276"/>
                    <a:pt x="886223" y="287179"/>
                  </a:cubicBezTo>
                  <a:close/>
                  <a:moveTo>
                    <a:pt x="863363" y="404336"/>
                  </a:moveTo>
                  <a:cubicBezTo>
                    <a:pt x="931943" y="406241"/>
                    <a:pt x="947183" y="504349"/>
                    <a:pt x="876698" y="435769"/>
                  </a:cubicBezTo>
                  <a:cubicBezTo>
                    <a:pt x="877650" y="436721"/>
                    <a:pt x="842408" y="406241"/>
                    <a:pt x="863363" y="404336"/>
                  </a:cubicBezTo>
                  <a:close/>
                  <a:moveTo>
                    <a:pt x="1116728" y="470059"/>
                  </a:moveTo>
                  <a:cubicBezTo>
                    <a:pt x="1142445" y="539591"/>
                    <a:pt x="916703" y="542449"/>
                    <a:pt x="1066245" y="511016"/>
                  </a:cubicBezTo>
                  <a:cubicBezTo>
                    <a:pt x="1087200" y="502444"/>
                    <a:pt x="1096725" y="479584"/>
                    <a:pt x="1116728" y="470059"/>
                  </a:cubicBezTo>
                  <a:close/>
                  <a:moveTo>
                    <a:pt x="1009095" y="584359"/>
                  </a:moveTo>
                  <a:cubicBezTo>
                    <a:pt x="1068150" y="591026"/>
                    <a:pt x="1128158" y="624364"/>
                    <a:pt x="1029098" y="599599"/>
                  </a:cubicBezTo>
                  <a:lnTo>
                    <a:pt x="1009095" y="584359"/>
                  </a:lnTo>
                  <a:lnTo>
                    <a:pt x="1009095" y="584359"/>
                  </a:lnTo>
                  <a:close/>
                  <a:moveTo>
                    <a:pt x="1111013" y="603409"/>
                  </a:moveTo>
                  <a:cubicBezTo>
                    <a:pt x="1179593" y="587216"/>
                    <a:pt x="1100535" y="662464"/>
                    <a:pt x="1111013" y="603409"/>
                  </a:cubicBezTo>
                  <a:close/>
                  <a:moveTo>
                    <a:pt x="1251030" y="632936"/>
                  </a:moveTo>
                  <a:cubicBezTo>
                    <a:pt x="1281510" y="652939"/>
                    <a:pt x="1209120" y="642461"/>
                    <a:pt x="1251030" y="632936"/>
                  </a:cubicBezTo>
                  <a:close/>
                  <a:moveTo>
                    <a:pt x="1032908" y="760571"/>
                  </a:moveTo>
                  <a:cubicBezTo>
                    <a:pt x="1069103" y="813911"/>
                    <a:pt x="1010048" y="875824"/>
                    <a:pt x="1028145" y="780574"/>
                  </a:cubicBezTo>
                  <a:lnTo>
                    <a:pt x="1032908" y="760571"/>
                  </a:lnTo>
                  <a:lnTo>
                    <a:pt x="1032908" y="760571"/>
                  </a:lnTo>
                  <a:close/>
                  <a:moveTo>
                    <a:pt x="961470" y="867251"/>
                  </a:moveTo>
                  <a:cubicBezTo>
                    <a:pt x="989093" y="885349"/>
                    <a:pt x="919560" y="881539"/>
                    <a:pt x="961470" y="867251"/>
                  </a:cubicBezTo>
                  <a:close/>
                  <a:moveTo>
                    <a:pt x="1036718" y="884396"/>
                  </a:moveTo>
                  <a:cubicBezTo>
                    <a:pt x="1052910" y="926306"/>
                    <a:pt x="1022430" y="907256"/>
                    <a:pt x="1036718" y="884396"/>
                  </a:cubicBezTo>
                  <a:close/>
                  <a:moveTo>
                    <a:pt x="921465" y="888206"/>
                  </a:moveTo>
                  <a:cubicBezTo>
                    <a:pt x="952898" y="901541"/>
                    <a:pt x="887175" y="904399"/>
                    <a:pt x="921465" y="888206"/>
                  </a:cubicBezTo>
                  <a:close/>
                  <a:moveTo>
                    <a:pt x="874793" y="904399"/>
                  </a:moveTo>
                  <a:cubicBezTo>
                    <a:pt x="906225" y="917734"/>
                    <a:pt x="840503" y="920591"/>
                    <a:pt x="874793" y="904399"/>
                  </a:cubicBezTo>
                  <a:close/>
                  <a:moveTo>
                    <a:pt x="681435" y="904399"/>
                  </a:moveTo>
                  <a:cubicBezTo>
                    <a:pt x="718583" y="948214"/>
                    <a:pt x="920513" y="896779"/>
                    <a:pt x="777638" y="946309"/>
                  </a:cubicBezTo>
                  <a:cubicBezTo>
                    <a:pt x="745253" y="952976"/>
                    <a:pt x="654765" y="966311"/>
                    <a:pt x="681435" y="904399"/>
                  </a:cubicBezTo>
                  <a:close/>
                  <a:moveTo>
                    <a:pt x="1532970" y="1327309"/>
                  </a:moveTo>
                  <a:cubicBezTo>
                    <a:pt x="1567260" y="1342549"/>
                    <a:pt x="1512015" y="1349216"/>
                    <a:pt x="1532970" y="1327309"/>
                  </a:cubicBezTo>
                  <a:close/>
                  <a:moveTo>
                    <a:pt x="757635" y="1423511"/>
                  </a:moveTo>
                  <a:cubicBezTo>
                    <a:pt x="685245" y="1477804"/>
                    <a:pt x="650003" y="1441609"/>
                    <a:pt x="757635" y="1423511"/>
                  </a:cubicBezTo>
                  <a:close/>
                  <a:moveTo>
                    <a:pt x="1558688" y="1764506"/>
                  </a:moveTo>
                  <a:cubicBezTo>
                    <a:pt x="1654890" y="1774984"/>
                    <a:pt x="1460580" y="1774031"/>
                    <a:pt x="1558688" y="1764506"/>
                  </a:cubicBezTo>
                  <a:close/>
                  <a:moveTo>
                    <a:pt x="1766333" y="1807369"/>
                  </a:moveTo>
                  <a:cubicBezTo>
                    <a:pt x="1818720" y="1806416"/>
                    <a:pt x="1736805" y="1819751"/>
                    <a:pt x="1766333" y="1807369"/>
                  </a:cubicBezTo>
                  <a:close/>
                  <a:moveTo>
                    <a:pt x="1769190" y="2006441"/>
                  </a:moveTo>
                  <a:cubicBezTo>
                    <a:pt x="1833008" y="2002631"/>
                    <a:pt x="1785383" y="2038826"/>
                    <a:pt x="1769190" y="2006441"/>
                  </a:cubicBezTo>
                  <a:close/>
                  <a:moveTo>
                    <a:pt x="151845" y="2329339"/>
                  </a:moveTo>
                  <a:cubicBezTo>
                    <a:pt x="171848" y="2352199"/>
                    <a:pt x="91838" y="2336006"/>
                    <a:pt x="151845" y="2329339"/>
                  </a:cubicBezTo>
                  <a:close/>
                  <a:moveTo>
                    <a:pt x="301388" y="2397919"/>
                  </a:moveTo>
                  <a:cubicBezTo>
                    <a:pt x="343298" y="2445544"/>
                    <a:pt x="410925" y="2404586"/>
                    <a:pt x="469028" y="2426494"/>
                  </a:cubicBezTo>
                  <a:cubicBezTo>
                    <a:pt x="496650" y="2436971"/>
                    <a:pt x="202328" y="2484596"/>
                    <a:pt x="301388" y="2397919"/>
                  </a:cubicBezTo>
                  <a:close/>
                  <a:moveTo>
                    <a:pt x="517605" y="2406491"/>
                  </a:moveTo>
                  <a:cubicBezTo>
                    <a:pt x="548085" y="2420779"/>
                    <a:pt x="455693" y="2415064"/>
                    <a:pt x="517605" y="2406491"/>
                  </a:cubicBezTo>
                  <a:close/>
                  <a:moveTo>
                    <a:pt x="423308" y="2736056"/>
                  </a:moveTo>
                  <a:cubicBezTo>
                    <a:pt x="450930" y="2753201"/>
                    <a:pt x="381398" y="2750344"/>
                    <a:pt x="423308" y="2736056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87755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2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+mn-ea"/>
                <a:cs typeface="+mn-cs"/>
              </a:endParaRPr>
            </a:p>
          </p:txBody>
        </p:sp>
        <p:sp>
          <p:nvSpPr>
            <p:cNvPr id="19" name="Graphic 47">
              <a:extLst>
                <a:ext uri="{FF2B5EF4-FFF2-40B4-BE49-F238E27FC236}">
                  <a16:creationId xmlns:a16="http://schemas.microsoft.com/office/drawing/2014/main" id="{3C87D3BF-BD56-4172-8BBE-5F5EC9FE4EFF}"/>
                </a:ext>
              </a:extLst>
            </p:cNvPr>
            <p:cNvSpPr/>
            <p:nvPr userDrawn="1"/>
          </p:nvSpPr>
          <p:spPr>
            <a:xfrm>
              <a:off x="4108107" y="5612092"/>
              <a:ext cx="413386" cy="620080"/>
            </a:xfrm>
            <a:custGeom>
              <a:avLst/>
              <a:gdLst>
                <a:gd name="connsiteX0" fmla="*/ 949088 w 2076450"/>
                <a:gd name="connsiteY0" fmla="*/ 7144 h 3114675"/>
                <a:gd name="connsiteX1" fmla="*/ 883365 w 2076450"/>
                <a:gd name="connsiteY1" fmla="*/ 105251 h 3114675"/>
                <a:gd name="connsiteX2" fmla="*/ 909083 w 2076450"/>
                <a:gd name="connsiteY2" fmla="*/ 238601 h 3114675"/>
                <a:gd name="connsiteX3" fmla="*/ 833835 w 2076450"/>
                <a:gd name="connsiteY3" fmla="*/ 193834 h 3114675"/>
                <a:gd name="connsiteX4" fmla="*/ 817643 w 2076450"/>
                <a:gd name="connsiteY4" fmla="*/ 301466 h 3114675"/>
                <a:gd name="connsiteX5" fmla="*/ 810023 w 2076450"/>
                <a:gd name="connsiteY5" fmla="*/ 328136 h 3114675"/>
                <a:gd name="connsiteX6" fmla="*/ 684293 w 2076450"/>
                <a:gd name="connsiteY6" fmla="*/ 381476 h 3114675"/>
                <a:gd name="connsiteX7" fmla="*/ 703343 w 2076450"/>
                <a:gd name="connsiteY7" fmla="*/ 451009 h 3114675"/>
                <a:gd name="connsiteX8" fmla="*/ 714773 w 2076450"/>
                <a:gd name="connsiteY8" fmla="*/ 539591 h 3114675"/>
                <a:gd name="connsiteX9" fmla="*/ 828120 w 2076450"/>
                <a:gd name="connsiteY9" fmla="*/ 573881 h 3114675"/>
                <a:gd name="connsiteX10" fmla="*/ 947183 w 2076450"/>
                <a:gd name="connsiteY10" fmla="*/ 577691 h 3114675"/>
                <a:gd name="connsiteX11" fmla="*/ 731918 w 2076450"/>
                <a:gd name="connsiteY11" fmla="*/ 618649 h 3114675"/>
                <a:gd name="connsiteX12" fmla="*/ 530940 w 2076450"/>
                <a:gd name="connsiteY12" fmla="*/ 601504 h 3114675"/>
                <a:gd name="connsiteX13" fmla="*/ 597615 w 2076450"/>
                <a:gd name="connsiteY13" fmla="*/ 649129 h 3114675"/>
                <a:gd name="connsiteX14" fmla="*/ 629048 w 2076450"/>
                <a:gd name="connsiteY14" fmla="*/ 688181 h 3114675"/>
                <a:gd name="connsiteX15" fmla="*/ 714773 w 2076450"/>
                <a:gd name="connsiteY15" fmla="*/ 728186 h 3114675"/>
                <a:gd name="connsiteX16" fmla="*/ 947183 w 2076450"/>
                <a:gd name="connsiteY16" fmla="*/ 689134 h 3114675"/>
                <a:gd name="connsiteX17" fmla="*/ 674768 w 2076450"/>
                <a:gd name="connsiteY17" fmla="*/ 758666 h 3114675"/>
                <a:gd name="connsiteX18" fmla="*/ 528083 w 2076450"/>
                <a:gd name="connsiteY18" fmla="*/ 788194 h 3114675"/>
                <a:gd name="connsiteX19" fmla="*/ 530940 w 2076450"/>
                <a:gd name="connsiteY19" fmla="*/ 846296 h 3114675"/>
                <a:gd name="connsiteX20" fmla="*/ 569040 w 2076450"/>
                <a:gd name="connsiteY20" fmla="*/ 912971 h 3114675"/>
                <a:gd name="connsiteX21" fmla="*/ 502365 w 2076450"/>
                <a:gd name="connsiteY21" fmla="*/ 958691 h 3114675"/>
                <a:gd name="connsiteX22" fmla="*/ 409973 w 2076450"/>
                <a:gd name="connsiteY22" fmla="*/ 972979 h 3114675"/>
                <a:gd name="connsiteX23" fmla="*/ 547133 w 2076450"/>
                <a:gd name="connsiteY23" fmla="*/ 1067276 h 3114675"/>
                <a:gd name="connsiteX24" fmla="*/ 730013 w 2076450"/>
                <a:gd name="connsiteY24" fmla="*/ 1155859 h 3114675"/>
                <a:gd name="connsiteX25" fmla="*/ 409020 w 2076450"/>
                <a:gd name="connsiteY25" fmla="*/ 1204436 h 3114675"/>
                <a:gd name="connsiteX26" fmla="*/ 530940 w 2076450"/>
                <a:gd name="connsiteY26" fmla="*/ 1310164 h 3114675"/>
                <a:gd name="connsiteX27" fmla="*/ 366158 w 2076450"/>
                <a:gd name="connsiteY27" fmla="*/ 1365409 h 3114675"/>
                <a:gd name="connsiteX28" fmla="*/ 637620 w 2076450"/>
                <a:gd name="connsiteY28" fmla="*/ 1413034 h 3114675"/>
                <a:gd name="connsiteX29" fmla="*/ 617618 w 2076450"/>
                <a:gd name="connsiteY29" fmla="*/ 1487329 h 3114675"/>
                <a:gd name="connsiteX30" fmla="*/ 286148 w 2076450"/>
                <a:gd name="connsiteY30" fmla="*/ 1588294 h 3114675"/>
                <a:gd name="connsiteX31" fmla="*/ 550943 w 2076450"/>
                <a:gd name="connsiteY31" fmla="*/ 1688306 h 3114675"/>
                <a:gd name="connsiteX32" fmla="*/ 627143 w 2076450"/>
                <a:gd name="connsiteY32" fmla="*/ 1666399 h 3114675"/>
                <a:gd name="connsiteX33" fmla="*/ 734775 w 2076450"/>
                <a:gd name="connsiteY33" fmla="*/ 1662589 h 3114675"/>
                <a:gd name="connsiteX34" fmla="*/ 604283 w 2076450"/>
                <a:gd name="connsiteY34" fmla="*/ 1759744 h 3114675"/>
                <a:gd name="connsiteX35" fmla="*/ 217568 w 2076450"/>
                <a:gd name="connsiteY35" fmla="*/ 1794986 h 3114675"/>
                <a:gd name="connsiteX36" fmla="*/ 214710 w 2076450"/>
                <a:gd name="connsiteY36" fmla="*/ 1862614 h 3114675"/>
                <a:gd name="connsiteX37" fmla="*/ 335678 w 2076450"/>
                <a:gd name="connsiteY37" fmla="*/ 1914049 h 3114675"/>
                <a:gd name="connsiteX38" fmla="*/ 472838 w 2076450"/>
                <a:gd name="connsiteY38" fmla="*/ 1916906 h 3114675"/>
                <a:gd name="connsiteX39" fmla="*/ 553800 w 2076450"/>
                <a:gd name="connsiteY39" fmla="*/ 1953101 h 3114675"/>
                <a:gd name="connsiteX40" fmla="*/ 602378 w 2076450"/>
                <a:gd name="connsiteY40" fmla="*/ 2004536 h 3114675"/>
                <a:gd name="connsiteX41" fmla="*/ 275670 w 2076450"/>
                <a:gd name="connsiteY41" fmla="*/ 2024539 h 3114675"/>
                <a:gd name="connsiteX42" fmla="*/ 236618 w 2076450"/>
                <a:gd name="connsiteY42" fmla="*/ 2049304 h 3114675"/>
                <a:gd name="connsiteX43" fmla="*/ 262335 w 2076450"/>
                <a:gd name="connsiteY43" fmla="*/ 2092166 h 3114675"/>
                <a:gd name="connsiteX44" fmla="*/ 420450 w 2076450"/>
                <a:gd name="connsiteY44" fmla="*/ 2151221 h 3114675"/>
                <a:gd name="connsiteX45" fmla="*/ 480458 w 2076450"/>
                <a:gd name="connsiteY45" fmla="*/ 2174081 h 3114675"/>
                <a:gd name="connsiteX46" fmla="*/ 269955 w 2076450"/>
                <a:gd name="connsiteY46" fmla="*/ 2228374 h 3114675"/>
                <a:gd name="connsiteX47" fmla="*/ 106125 w 2076450"/>
                <a:gd name="connsiteY47" fmla="*/ 2250281 h 3114675"/>
                <a:gd name="connsiteX48" fmla="*/ 45165 w 2076450"/>
                <a:gd name="connsiteY48" fmla="*/ 2290286 h 3114675"/>
                <a:gd name="connsiteX49" fmla="*/ 84218 w 2076450"/>
                <a:gd name="connsiteY49" fmla="*/ 2353151 h 3114675"/>
                <a:gd name="connsiteX50" fmla="*/ 203280 w 2076450"/>
                <a:gd name="connsiteY50" fmla="*/ 2444591 h 3114675"/>
                <a:gd name="connsiteX51" fmla="*/ 172800 w 2076450"/>
                <a:gd name="connsiteY51" fmla="*/ 2478881 h 3114675"/>
                <a:gd name="connsiteX52" fmla="*/ 201375 w 2076450"/>
                <a:gd name="connsiteY52" fmla="*/ 2519839 h 3114675"/>
                <a:gd name="connsiteX53" fmla="*/ 301388 w 2076450"/>
                <a:gd name="connsiteY53" fmla="*/ 2558891 h 3114675"/>
                <a:gd name="connsiteX54" fmla="*/ 76598 w 2076450"/>
                <a:gd name="connsiteY54" fmla="*/ 2589371 h 3114675"/>
                <a:gd name="connsiteX55" fmla="*/ 58500 w 2076450"/>
                <a:gd name="connsiteY55" fmla="*/ 2659856 h 3114675"/>
                <a:gd name="connsiteX56" fmla="*/ 110888 w 2076450"/>
                <a:gd name="connsiteY56" fmla="*/ 2693194 h 3114675"/>
                <a:gd name="connsiteX57" fmla="*/ 214710 w 2076450"/>
                <a:gd name="connsiteY57" fmla="*/ 2727484 h 3114675"/>
                <a:gd name="connsiteX58" fmla="*/ 262335 w 2076450"/>
                <a:gd name="connsiteY58" fmla="*/ 2756059 h 3114675"/>
                <a:gd name="connsiteX59" fmla="*/ 358538 w 2076450"/>
                <a:gd name="connsiteY59" fmla="*/ 2733199 h 3114675"/>
                <a:gd name="connsiteX60" fmla="*/ 254715 w 2076450"/>
                <a:gd name="connsiteY60" fmla="*/ 2758916 h 3114675"/>
                <a:gd name="connsiteX61" fmla="*/ 45165 w 2076450"/>
                <a:gd name="connsiteY61" fmla="*/ 2806541 h 3114675"/>
                <a:gd name="connsiteX62" fmla="*/ 46118 w 2076450"/>
                <a:gd name="connsiteY62" fmla="*/ 2865596 h 3114675"/>
                <a:gd name="connsiteX63" fmla="*/ 88980 w 2076450"/>
                <a:gd name="connsiteY63" fmla="*/ 2895124 h 3114675"/>
                <a:gd name="connsiteX64" fmla="*/ 155655 w 2076450"/>
                <a:gd name="connsiteY64" fmla="*/ 2902744 h 3114675"/>
                <a:gd name="connsiteX65" fmla="*/ 343298 w 2076450"/>
                <a:gd name="connsiteY65" fmla="*/ 2914174 h 3114675"/>
                <a:gd name="connsiteX66" fmla="*/ 301388 w 2076450"/>
                <a:gd name="connsiteY66" fmla="*/ 2956084 h 3114675"/>
                <a:gd name="connsiteX67" fmla="*/ 361395 w 2076450"/>
                <a:gd name="connsiteY67" fmla="*/ 2980849 h 3114675"/>
                <a:gd name="connsiteX68" fmla="*/ 511890 w 2076450"/>
                <a:gd name="connsiteY68" fmla="*/ 3029426 h 3114675"/>
                <a:gd name="connsiteX69" fmla="*/ 603330 w 2076450"/>
                <a:gd name="connsiteY69" fmla="*/ 3058001 h 3114675"/>
                <a:gd name="connsiteX70" fmla="*/ 825263 w 2076450"/>
                <a:gd name="connsiteY70" fmla="*/ 2954179 h 3114675"/>
                <a:gd name="connsiteX71" fmla="*/ 957660 w 2076450"/>
                <a:gd name="connsiteY71" fmla="*/ 2927509 h 3114675"/>
                <a:gd name="connsiteX72" fmla="*/ 1013858 w 2076450"/>
                <a:gd name="connsiteY72" fmla="*/ 3102769 h 3114675"/>
                <a:gd name="connsiteX73" fmla="*/ 1119585 w 2076450"/>
                <a:gd name="connsiteY73" fmla="*/ 3020854 h 3114675"/>
                <a:gd name="connsiteX74" fmla="*/ 1191975 w 2076450"/>
                <a:gd name="connsiteY74" fmla="*/ 2997041 h 3114675"/>
                <a:gd name="connsiteX75" fmla="*/ 1468200 w 2076450"/>
                <a:gd name="connsiteY75" fmla="*/ 3026569 h 3114675"/>
                <a:gd name="connsiteX76" fmla="*/ 1561545 w 2076450"/>
                <a:gd name="connsiteY76" fmla="*/ 3002756 h 3114675"/>
                <a:gd name="connsiteX77" fmla="*/ 1679655 w 2076450"/>
                <a:gd name="connsiteY77" fmla="*/ 3030379 h 3114675"/>
                <a:gd name="connsiteX78" fmla="*/ 1748235 w 2076450"/>
                <a:gd name="connsiteY78" fmla="*/ 2996089 h 3114675"/>
                <a:gd name="connsiteX79" fmla="*/ 1893968 w 2076450"/>
                <a:gd name="connsiteY79" fmla="*/ 3009424 h 3114675"/>
                <a:gd name="connsiteX80" fmla="*/ 1888253 w 2076450"/>
                <a:gd name="connsiteY80" fmla="*/ 2944654 h 3114675"/>
                <a:gd name="connsiteX81" fmla="*/ 1964453 w 2076450"/>
                <a:gd name="connsiteY81" fmla="*/ 2947511 h 3114675"/>
                <a:gd name="connsiteX82" fmla="*/ 1948260 w 2076450"/>
                <a:gd name="connsiteY82" fmla="*/ 2913221 h 3114675"/>
                <a:gd name="connsiteX83" fmla="*/ 1843485 w 2076450"/>
                <a:gd name="connsiteY83" fmla="*/ 2853214 h 3114675"/>
                <a:gd name="connsiteX84" fmla="*/ 1883490 w 2076450"/>
                <a:gd name="connsiteY84" fmla="*/ 2818924 h 3114675"/>
                <a:gd name="connsiteX85" fmla="*/ 1909208 w 2076450"/>
                <a:gd name="connsiteY85" fmla="*/ 2790349 h 3114675"/>
                <a:gd name="connsiteX86" fmla="*/ 2032080 w 2076450"/>
                <a:gd name="connsiteY86" fmla="*/ 2757964 h 3114675"/>
                <a:gd name="connsiteX87" fmla="*/ 2036843 w 2076450"/>
                <a:gd name="connsiteY87" fmla="*/ 2711291 h 3114675"/>
                <a:gd name="connsiteX88" fmla="*/ 2008268 w 2076450"/>
                <a:gd name="connsiteY88" fmla="*/ 2670334 h 3114675"/>
                <a:gd name="connsiteX89" fmla="*/ 1943498 w 2076450"/>
                <a:gd name="connsiteY89" fmla="*/ 2645569 h 3114675"/>
                <a:gd name="connsiteX90" fmla="*/ 1793003 w 2076450"/>
                <a:gd name="connsiteY90" fmla="*/ 2651284 h 3114675"/>
                <a:gd name="connsiteX91" fmla="*/ 1497728 w 2076450"/>
                <a:gd name="connsiteY91" fmla="*/ 2538889 h 3114675"/>
                <a:gd name="connsiteX92" fmla="*/ 1592025 w 2076450"/>
                <a:gd name="connsiteY92" fmla="*/ 2535079 h 3114675"/>
                <a:gd name="connsiteX93" fmla="*/ 1824435 w 2076450"/>
                <a:gd name="connsiteY93" fmla="*/ 2566511 h 3114675"/>
                <a:gd name="connsiteX94" fmla="*/ 1938735 w 2076450"/>
                <a:gd name="connsiteY94" fmla="*/ 2449354 h 3114675"/>
                <a:gd name="connsiteX95" fmla="*/ 2000648 w 2076450"/>
                <a:gd name="connsiteY95" fmla="*/ 2416969 h 3114675"/>
                <a:gd name="connsiteX96" fmla="*/ 1993028 w 2076450"/>
                <a:gd name="connsiteY96" fmla="*/ 2387441 h 3114675"/>
                <a:gd name="connsiteX97" fmla="*/ 1549163 w 2076450"/>
                <a:gd name="connsiteY97" fmla="*/ 2328386 h 3114675"/>
                <a:gd name="connsiteX98" fmla="*/ 1554878 w 2076450"/>
                <a:gd name="connsiteY98" fmla="*/ 2282666 h 3114675"/>
                <a:gd name="connsiteX99" fmla="*/ 1823483 w 2076450"/>
                <a:gd name="connsiteY99" fmla="*/ 2291239 h 3114675"/>
                <a:gd name="connsiteX100" fmla="*/ 1994933 w 2076450"/>
                <a:gd name="connsiteY100" fmla="*/ 2158841 h 3114675"/>
                <a:gd name="connsiteX101" fmla="*/ 2013983 w 2076450"/>
                <a:gd name="connsiteY101" fmla="*/ 2124551 h 3114675"/>
                <a:gd name="connsiteX102" fmla="*/ 1699658 w 2076450"/>
                <a:gd name="connsiteY102" fmla="*/ 2061686 h 3114675"/>
                <a:gd name="connsiteX103" fmla="*/ 1808243 w 2076450"/>
                <a:gd name="connsiteY103" fmla="*/ 2027396 h 3114675"/>
                <a:gd name="connsiteX104" fmla="*/ 1836818 w 2076450"/>
                <a:gd name="connsiteY104" fmla="*/ 2000726 h 3114675"/>
                <a:gd name="connsiteX105" fmla="*/ 1875870 w 2076450"/>
                <a:gd name="connsiteY105" fmla="*/ 1935004 h 3114675"/>
                <a:gd name="connsiteX106" fmla="*/ 1600598 w 2076450"/>
                <a:gd name="connsiteY106" fmla="*/ 1869281 h 3114675"/>
                <a:gd name="connsiteX107" fmla="*/ 1823483 w 2076450"/>
                <a:gd name="connsiteY107" fmla="*/ 1737836 h 3114675"/>
                <a:gd name="connsiteX108" fmla="*/ 1592025 w 2076450"/>
                <a:gd name="connsiteY108" fmla="*/ 1729264 h 3114675"/>
                <a:gd name="connsiteX109" fmla="*/ 1639650 w 2076450"/>
                <a:gd name="connsiteY109" fmla="*/ 1693069 h 3114675"/>
                <a:gd name="connsiteX110" fmla="*/ 1648223 w 2076450"/>
                <a:gd name="connsiteY110" fmla="*/ 1652111 h 3114675"/>
                <a:gd name="connsiteX111" fmla="*/ 1437720 w 2076450"/>
                <a:gd name="connsiteY111" fmla="*/ 1613059 h 3114675"/>
                <a:gd name="connsiteX112" fmla="*/ 1519635 w 2076450"/>
                <a:gd name="connsiteY112" fmla="*/ 1556861 h 3114675"/>
                <a:gd name="connsiteX113" fmla="*/ 1697753 w 2076450"/>
                <a:gd name="connsiteY113" fmla="*/ 1459706 h 3114675"/>
                <a:gd name="connsiteX114" fmla="*/ 1539638 w 2076450"/>
                <a:gd name="connsiteY114" fmla="*/ 1435894 h 3114675"/>
                <a:gd name="connsiteX115" fmla="*/ 1520588 w 2076450"/>
                <a:gd name="connsiteY115" fmla="*/ 1388269 h 3114675"/>
                <a:gd name="connsiteX116" fmla="*/ 1282463 w 2076450"/>
                <a:gd name="connsiteY116" fmla="*/ 1360646 h 3114675"/>
                <a:gd name="connsiteX117" fmla="*/ 1568213 w 2076450"/>
                <a:gd name="connsiteY117" fmla="*/ 1328261 h 3114675"/>
                <a:gd name="connsiteX118" fmla="*/ 1593930 w 2076450"/>
                <a:gd name="connsiteY118" fmla="*/ 1209199 h 3114675"/>
                <a:gd name="connsiteX119" fmla="*/ 1440578 w 2076450"/>
                <a:gd name="connsiteY119" fmla="*/ 1151096 h 3114675"/>
                <a:gd name="connsiteX120" fmla="*/ 1127205 w 2076450"/>
                <a:gd name="connsiteY120" fmla="*/ 1094899 h 3114675"/>
                <a:gd name="connsiteX121" fmla="*/ 1310085 w 2076450"/>
                <a:gd name="connsiteY121" fmla="*/ 1109186 h 3114675"/>
                <a:gd name="connsiteX122" fmla="*/ 1406288 w 2076450"/>
                <a:gd name="connsiteY122" fmla="*/ 1094899 h 3114675"/>
                <a:gd name="connsiteX123" fmla="*/ 1508205 w 2076450"/>
                <a:gd name="connsiteY123" fmla="*/ 1040606 h 3114675"/>
                <a:gd name="connsiteX124" fmla="*/ 1532018 w 2076450"/>
                <a:gd name="connsiteY124" fmla="*/ 969169 h 3114675"/>
                <a:gd name="connsiteX125" fmla="*/ 1421528 w 2076450"/>
                <a:gd name="connsiteY125" fmla="*/ 938689 h 3114675"/>
                <a:gd name="connsiteX126" fmla="*/ 1154828 w 2076450"/>
                <a:gd name="connsiteY126" fmla="*/ 903446 h 3114675"/>
                <a:gd name="connsiteX127" fmla="*/ 1304370 w 2076450"/>
                <a:gd name="connsiteY127" fmla="*/ 884396 h 3114675"/>
                <a:gd name="connsiteX128" fmla="*/ 1351995 w 2076450"/>
                <a:gd name="connsiteY128" fmla="*/ 868204 h 3114675"/>
                <a:gd name="connsiteX129" fmla="*/ 1480583 w 2076450"/>
                <a:gd name="connsiteY129" fmla="*/ 832009 h 3114675"/>
                <a:gd name="connsiteX130" fmla="*/ 1363425 w 2076450"/>
                <a:gd name="connsiteY130" fmla="*/ 798671 h 3114675"/>
                <a:gd name="connsiteX131" fmla="*/ 1131015 w 2076450"/>
                <a:gd name="connsiteY131" fmla="*/ 755809 h 3114675"/>
                <a:gd name="connsiteX132" fmla="*/ 1019573 w 2076450"/>
                <a:gd name="connsiteY132" fmla="*/ 655796 h 3114675"/>
                <a:gd name="connsiteX133" fmla="*/ 1088153 w 2076450"/>
                <a:gd name="connsiteY133" fmla="*/ 673894 h 3114675"/>
                <a:gd name="connsiteX134" fmla="*/ 1244363 w 2076450"/>
                <a:gd name="connsiteY134" fmla="*/ 727234 h 3114675"/>
                <a:gd name="connsiteX135" fmla="*/ 1389143 w 2076450"/>
                <a:gd name="connsiteY135" fmla="*/ 667226 h 3114675"/>
                <a:gd name="connsiteX136" fmla="*/ 1174830 w 2076450"/>
                <a:gd name="connsiteY136" fmla="*/ 590074 h 3114675"/>
                <a:gd name="connsiteX137" fmla="*/ 1180545 w 2076450"/>
                <a:gd name="connsiteY137" fmla="*/ 513874 h 3114675"/>
                <a:gd name="connsiteX138" fmla="*/ 1228170 w 2076450"/>
                <a:gd name="connsiteY138" fmla="*/ 415766 h 3114675"/>
                <a:gd name="connsiteX139" fmla="*/ 1251983 w 2076450"/>
                <a:gd name="connsiteY139" fmla="*/ 298609 h 3114675"/>
                <a:gd name="connsiteX140" fmla="*/ 1035765 w 2076450"/>
                <a:gd name="connsiteY140" fmla="*/ 451009 h 3114675"/>
                <a:gd name="connsiteX141" fmla="*/ 1058625 w 2076450"/>
                <a:gd name="connsiteY141" fmla="*/ 322421 h 3114675"/>
                <a:gd name="connsiteX142" fmla="*/ 1052910 w 2076450"/>
                <a:gd name="connsiteY142" fmla="*/ 251936 h 3114675"/>
                <a:gd name="connsiteX143" fmla="*/ 1112918 w 2076450"/>
                <a:gd name="connsiteY143" fmla="*/ 211931 h 3114675"/>
                <a:gd name="connsiteX144" fmla="*/ 1064340 w 2076450"/>
                <a:gd name="connsiteY144" fmla="*/ 185261 h 3114675"/>
                <a:gd name="connsiteX145" fmla="*/ 991950 w 2076450"/>
                <a:gd name="connsiteY145" fmla="*/ 191929 h 3114675"/>
                <a:gd name="connsiteX146" fmla="*/ 996713 w 2076450"/>
                <a:gd name="connsiteY146" fmla="*/ 111919 h 3114675"/>
                <a:gd name="connsiteX147" fmla="*/ 949088 w 2076450"/>
                <a:gd name="connsiteY147" fmla="*/ 7144 h 3114675"/>
                <a:gd name="connsiteX148" fmla="*/ 949088 w 2076450"/>
                <a:gd name="connsiteY148" fmla="*/ 7144 h 3114675"/>
                <a:gd name="connsiteX149" fmla="*/ 949088 w 2076450"/>
                <a:gd name="connsiteY149" fmla="*/ 7144 h 3114675"/>
                <a:gd name="connsiteX150" fmla="*/ 886223 w 2076450"/>
                <a:gd name="connsiteY150" fmla="*/ 287179 h 3114675"/>
                <a:gd name="connsiteX151" fmla="*/ 908130 w 2076450"/>
                <a:gd name="connsiteY151" fmla="*/ 327184 h 3114675"/>
                <a:gd name="connsiteX152" fmla="*/ 886223 w 2076450"/>
                <a:gd name="connsiteY152" fmla="*/ 287179 h 3114675"/>
                <a:gd name="connsiteX153" fmla="*/ 863363 w 2076450"/>
                <a:gd name="connsiteY153" fmla="*/ 404336 h 3114675"/>
                <a:gd name="connsiteX154" fmla="*/ 876698 w 2076450"/>
                <a:gd name="connsiteY154" fmla="*/ 435769 h 3114675"/>
                <a:gd name="connsiteX155" fmla="*/ 863363 w 2076450"/>
                <a:gd name="connsiteY155" fmla="*/ 404336 h 3114675"/>
                <a:gd name="connsiteX156" fmla="*/ 1116728 w 2076450"/>
                <a:gd name="connsiteY156" fmla="*/ 470059 h 3114675"/>
                <a:gd name="connsiteX157" fmla="*/ 1066245 w 2076450"/>
                <a:gd name="connsiteY157" fmla="*/ 511016 h 3114675"/>
                <a:gd name="connsiteX158" fmla="*/ 1116728 w 2076450"/>
                <a:gd name="connsiteY158" fmla="*/ 470059 h 3114675"/>
                <a:gd name="connsiteX159" fmla="*/ 1009095 w 2076450"/>
                <a:gd name="connsiteY159" fmla="*/ 584359 h 3114675"/>
                <a:gd name="connsiteX160" fmla="*/ 1029098 w 2076450"/>
                <a:gd name="connsiteY160" fmla="*/ 599599 h 3114675"/>
                <a:gd name="connsiteX161" fmla="*/ 1009095 w 2076450"/>
                <a:gd name="connsiteY161" fmla="*/ 584359 h 3114675"/>
                <a:gd name="connsiteX162" fmla="*/ 1009095 w 2076450"/>
                <a:gd name="connsiteY162" fmla="*/ 584359 h 3114675"/>
                <a:gd name="connsiteX163" fmla="*/ 1111013 w 2076450"/>
                <a:gd name="connsiteY163" fmla="*/ 603409 h 3114675"/>
                <a:gd name="connsiteX164" fmla="*/ 1111013 w 2076450"/>
                <a:gd name="connsiteY164" fmla="*/ 603409 h 3114675"/>
                <a:gd name="connsiteX165" fmla="*/ 1251030 w 2076450"/>
                <a:gd name="connsiteY165" fmla="*/ 632936 h 3114675"/>
                <a:gd name="connsiteX166" fmla="*/ 1251030 w 2076450"/>
                <a:gd name="connsiteY166" fmla="*/ 632936 h 3114675"/>
                <a:gd name="connsiteX167" fmla="*/ 1032908 w 2076450"/>
                <a:gd name="connsiteY167" fmla="*/ 760571 h 3114675"/>
                <a:gd name="connsiteX168" fmla="*/ 1028145 w 2076450"/>
                <a:gd name="connsiteY168" fmla="*/ 780574 h 3114675"/>
                <a:gd name="connsiteX169" fmla="*/ 1032908 w 2076450"/>
                <a:gd name="connsiteY169" fmla="*/ 760571 h 3114675"/>
                <a:gd name="connsiteX170" fmla="*/ 1032908 w 2076450"/>
                <a:gd name="connsiteY170" fmla="*/ 760571 h 3114675"/>
                <a:gd name="connsiteX171" fmla="*/ 961470 w 2076450"/>
                <a:gd name="connsiteY171" fmla="*/ 867251 h 3114675"/>
                <a:gd name="connsiteX172" fmla="*/ 961470 w 2076450"/>
                <a:gd name="connsiteY172" fmla="*/ 867251 h 3114675"/>
                <a:gd name="connsiteX173" fmla="*/ 1036718 w 2076450"/>
                <a:gd name="connsiteY173" fmla="*/ 884396 h 3114675"/>
                <a:gd name="connsiteX174" fmla="*/ 1036718 w 2076450"/>
                <a:gd name="connsiteY174" fmla="*/ 884396 h 3114675"/>
                <a:gd name="connsiteX175" fmla="*/ 921465 w 2076450"/>
                <a:gd name="connsiteY175" fmla="*/ 888206 h 3114675"/>
                <a:gd name="connsiteX176" fmla="*/ 921465 w 2076450"/>
                <a:gd name="connsiteY176" fmla="*/ 888206 h 3114675"/>
                <a:gd name="connsiteX177" fmla="*/ 874793 w 2076450"/>
                <a:gd name="connsiteY177" fmla="*/ 904399 h 3114675"/>
                <a:gd name="connsiteX178" fmla="*/ 874793 w 2076450"/>
                <a:gd name="connsiteY178" fmla="*/ 904399 h 3114675"/>
                <a:gd name="connsiteX179" fmla="*/ 681435 w 2076450"/>
                <a:gd name="connsiteY179" fmla="*/ 904399 h 3114675"/>
                <a:gd name="connsiteX180" fmla="*/ 777638 w 2076450"/>
                <a:gd name="connsiteY180" fmla="*/ 946309 h 3114675"/>
                <a:gd name="connsiteX181" fmla="*/ 681435 w 2076450"/>
                <a:gd name="connsiteY181" fmla="*/ 904399 h 3114675"/>
                <a:gd name="connsiteX182" fmla="*/ 1532970 w 2076450"/>
                <a:gd name="connsiteY182" fmla="*/ 1327309 h 3114675"/>
                <a:gd name="connsiteX183" fmla="*/ 1532970 w 2076450"/>
                <a:gd name="connsiteY183" fmla="*/ 1327309 h 3114675"/>
                <a:gd name="connsiteX184" fmla="*/ 757635 w 2076450"/>
                <a:gd name="connsiteY184" fmla="*/ 1423511 h 3114675"/>
                <a:gd name="connsiteX185" fmla="*/ 757635 w 2076450"/>
                <a:gd name="connsiteY185" fmla="*/ 1423511 h 3114675"/>
                <a:gd name="connsiteX186" fmla="*/ 1558688 w 2076450"/>
                <a:gd name="connsiteY186" fmla="*/ 1764506 h 3114675"/>
                <a:gd name="connsiteX187" fmla="*/ 1558688 w 2076450"/>
                <a:gd name="connsiteY187" fmla="*/ 1764506 h 3114675"/>
                <a:gd name="connsiteX188" fmla="*/ 1766333 w 2076450"/>
                <a:gd name="connsiteY188" fmla="*/ 1807369 h 3114675"/>
                <a:gd name="connsiteX189" fmla="*/ 1766333 w 2076450"/>
                <a:gd name="connsiteY189" fmla="*/ 1807369 h 3114675"/>
                <a:gd name="connsiteX190" fmla="*/ 1769190 w 2076450"/>
                <a:gd name="connsiteY190" fmla="*/ 2006441 h 3114675"/>
                <a:gd name="connsiteX191" fmla="*/ 1769190 w 2076450"/>
                <a:gd name="connsiteY191" fmla="*/ 2006441 h 3114675"/>
                <a:gd name="connsiteX192" fmla="*/ 151845 w 2076450"/>
                <a:gd name="connsiteY192" fmla="*/ 2329339 h 3114675"/>
                <a:gd name="connsiteX193" fmla="*/ 151845 w 2076450"/>
                <a:gd name="connsiteY193" fmla="*/ 2329339 h 3114675"/>
                <a:gd name="connsiteX194" fmla="*/ 301388 w 2076450"/>
                <a:gd name="connsiteY194" fmla="*/ 2397919 h 3114675"/>
                <a:gd name="connsiteX195" fmla="*/ 469028 w 2076450"/>
                <a:gd name="connsiteY195" fmla="*/ 2426494 h 3114675"/>
                <a:gd name="connsiteX196" fmla="*/ 301388 w 2076450"/>
                <a:gd name="connsiteY196" fmla="*/ 2397919 h 3114675"/>
                <a:gd name="connsiteX197" fmla="*/ 517605 w 2076450"/>
                <a:gd name="connsiteY197" fmla="*/ 2406491 h 3114675"/>
                <a:gd name="connsiteX198" fmla="*/ 517605 w 2076450"/>
                <a:gd name="connsiteY198" fmla="*/ 2406491 h 3114675"/>
                <a:gd name="connsiteX199" fmla="*/ 423308 w 2076450"/>
                <a:gd name="connsiteY199" fmla="*/ 2736056 h 3114675"/>
                <a:gd name="connsiteX200" fmla="*/ 423308 w 2076450"/>
                <a:gd name="connsiteY200" fmla="*/ 2736056 h 3114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</a:cxnLst>
              <a:rect l="l" t="t" r="r" b="b"/>
              <a:pathLst>
                <a:path w="2076450" h="3114675">
                  <a:moveTo>
                    <a:pt x="949088" y="7144"/>
                  </a:moveTo>
                  <a:cubicBezTo>
                    <a:pt x="938610" y="62389"/>
                    <a:pt x="972900" y="200501"/>
                    <a:pt x="883365" y="105251"/>
                  </a:cubicBezTo>
                  <a:cubicBezTo>
                    <a:pt x="870983" y="105251"/>
                    <a:pt x="992903" y="314801"/>
                    <a:pt x="909083" y="238601"/>
                  </a:cubicBezTo>
                  <a:cubicBezTo>
                    <a:pt x="898605" y="171926"/>
                    <a:pt x="863363" y="174784"/>
                    <a:pt x="833835" y="193834"/>
                  </a:cubicBezTo>
                  <a:cubicBezTo>
                    <a:pt x="732870" y="154781"/>
                    <a:pt x="858600" y="285274"/>
                    <a:pt x="817643" y="301466"/>
                  </a:cubicBezTo>
                  <a:cubicBezTo>
                    <a:pt x="895748" y="301466"/>
                    <a:pt x="870030" y="356711"/>
                    <a:pt x="810023" y="328136"/>
                  </a:cubicBezTo>
                  <a:cubicBezTo>
                    <a:pt x="906225" y="459581"/>
                    <a:pt x="686198" y="348139"/>
                    <a:pt x="684293" y="381476"/>
                  </a:cubicBezTo>
                  <a:cubicBezTo>
                    <a:pt x="777638" y="421481"/>
                    <a:pt x="622380" y="411004"/>
                    <a:pt x="703343" y="451009"/>
                  </a:cubicBezTo>
                  <a:cubicBezTo>
                    <a:pt x="833835" y="496729"/>
                    <a:pt x="615713" y="505301"/>
                    <a:pt x="714773" y="539591"/>
                  </a:cubicBezTo>
                  <a:cubicBezTo>
                    <a:pt x="761445" y="555784"/>
                    <a:pt x="860505" y="517684"/>
                    <a:pt x="828120" y="573881"/>
                  </a:cubicBezTo>
                  <a:cubicBezTo>
                    <a:pt x="890033" y="568166"/>
                    <a:pt x="887175" y="616744"/>
                    <a:pt x="947183" y="577691"/>
                  </a:cubicBezTo>
                  <a:cubicBezTo>
                    <a:pt x="977663" y="712946"/>
                    <a:pt x="680483" y="534829"/>
                    <a:pt x="731918" y="618649"/>
                  </a:cubicBezTo>
                  <a:cubicBezTo>
                    <a:pt x="670005" y="621506"/>
                    <a:pt x="575708" y="525304"/>
                    <a:pt x="530940" y="601504"/>
                  </a:cubicBezTo>
                  <a:cubicBezTo>
                    <a:pt x="396638" y="611981"/>
                    <a:pt x="563325" y="655796"/>
                    <a:pt x="597615" y="649129"/>
                  </a:cubicBezTo>
                  <a:cubicBezTo>
                    <a:pt x="487125" y="737711"/>
                    <a:pt x="741443" y="614839"/>
                    <a:pt x="629048" y="688181"/>
                  </a:cubicBezTo>
                  <a:cubicBezTo>
                    <a:pt x="648098" y="779621"/>
                    <a:pt x="834788" y="621506"/>
                    <a:pt x="714773" y="728186"/>
                  </a:cubicBezTo>
                  <a:cubicBezTo>
                    <a:pt x="762398" y="785336"/>
                    <a:pt x="937658" y="659606"/>
                    <a:pt x="947183" y="689134"/>
                  </a:cubicBezTo>
                  <a:cubicBezTo>
                    <a:pt x="884318" y="784384"/>
                    <a:pt x="764303" y="785336"/>
                    <a:pt x="674768" y="758666"/>
                  </a:cubicBezTo>
                  <a:cubicBezTo>
                    <a:pt x="734775" y="821531"/>
                    <a:pt x="570945" y="739616"/>
                    <a:pt x="528083" y="788194"/>
                  </a:cubicBezTo>
                  <a:cubicBezTo>
                    <a:pt x="468075" y="789146"/>
                    <a:pt x="536655" y="836771"/>
                    <a:pt x="530940" y="846296"/>
                  </a:cubicBezTo>
                  <a:cubicBezTo>
                    <a:pt x="598568" y="865346"/>
                    <a:pt x="709058" y="934879"/>
                    <a:pt x="569040" y="912971"/>
                  </a:cubicBezTo>
                  <a:cubicBezTo>
                    <a:pt x="508080" y="912019"/>
                    <a:pt x="602378" y="1022509"/>
                    <a:pt x="502365" y="958691"/>
                  </a:cubicBezTo>
                  <a:cubicBezTo>
                    <a:pt x="451883" y="931069"/>
                    <a:pt x="479505" y="1007269"/>
                    <a:pt x="409973" y="972979"/>
                  </a:cubicBezTo>
                  <a:cubicBezTo>
                    <a:pt x="347108" y="988219"/>
                    <a:pt x="509985" y="1057751"/>
                    <a:pt x="547133" y="1067276"/>
                  </a:cubicBezTo>
                  <a:cubicBezTo>
                    <a:pt x="619523" y="1065371"/>
                    <a:pt x="693818" y="1189196"/>
                    <a:pt x="730013" y="1155859"/>
                  </a:cubicBezTo>
                  <a:cubicBezTo>
                    <a:pt x="636668" y="1233964"/>
                    <a:pt x="512843" y="1162526"/>
                    <a:pt x="409020" y="1204436"/>
                  </a:cubicBezTo>
                  <a:cubicBezTo>
                    <a:pt x="366158" y="1237774"/>
                    <a:pt x="517605" y="1304449"/>
                    <a:pt x="530940" y="1310164"/>
                  </a:cubicBezTo>
                  <a:cubicBezTo>
                    <a:pt x="681435" y="1376839"/>
                    <a:pt x="344250" y="1305401"/>
                    <a:pt x="366158" y="1365409"/>
                  </a:cubicBezTo>
                  <a:cubicBezTo>
                    <a:pt x="458550" y="1420654"/>
                    <a:pt x="541418" y="1491139"/>
                    <a:pt x="637620" y="1413034"/>
                  </a:cubicBezTo>
                  <a:cubicBezTo>
                    <a:pt x="670005" y="1436846"/>
                    <a:pt x="579518" y="1429226"/>
                    <a:pt x="617618" y="1487329"/>
                  </a:cubicBezTo>
                  <a:cubicBezTo>
                    <a:pt x="522368" y="1531144"/>
                    <a:pt x="340440" y="1537811"/>
                    <a:pt x="286148" y="1588294"/>
                  </a:cubicBezTo>
                  <a:cubicBezTo>
                    <a:pt x="365205" y="1664494"/>
                    <a:pt x="451883" y="1673066"/>
                    <a:pt x="550943" y="1688306"/>
                  </a:cubicBezTo>
                  <a:cubicBezTo>
                    <a:pt x="602378" y="1669256"/>
                    <a:pt x="582375" y="1654016"/>
                    <a:pt x="627143" y="1666399"/>
                  </a:cubicBezTo>
                  <a:cubicBezTo>
                    <a:pt x="664290" y="1686401"/>
                    <a:pt x="692865" y="1613059"/>
                    <a:pt x="734775" y="1662589"/>
                  </a:cubicBezTo>
                  <a:cubicBezTo>
                    <a:pt x="690008" y="1710214"/>
                    <a:pt x="452835" y="1702594"/>
                    <a:pt x="604283" y="1759744"/>
                  </a:cubicBezTo>
                  <a:cubicBezTo>
                    <a:pt x="479505" y="1794986"/>
                    <a:pt x="344250" y="1767364"/>
                    <a:pt x="217568" y="1794986"/>
                  </a:cubicBezTo>
                  <a:cubicBezTo>
                    <a:pt x="143273" y="1828324"/>
                    <a:pt x="304245" y="1820704"/>
                    <a:pt x="214710" y="1862614"/>
                  </a:cubicBezTo>
                  <a:cubicBezTo>
                    <a:pt x="175658" y="1910239"/>
                    <a:pt x="361395" y="1859756"/>
                    <a:pt x="335678" y="1914049"/>
                  </a:cubicBezTo>
                  <a:cubicBezTo>
                    <a:pt x="396638" y="1903571"/>
                    <a:pt x="425213" y="1929289"/>
                    <a:pt x="472838" y="1916906"/>
                  </a:cubicBezTo>
                  <a:cubicBezTo>
                    <a:pt x="469028" y="1982629"/>
                    <a:pt x="542370" y="1894999"/>
                    <a:pt x="553800" y="1953101"/>
                  </a:cubicBezTo>
                  <a:cubicBezTo>
                    <a:pt x="615713" y="1943576"/>
                    <a:pt x="709058" y="1981676"/>
                    <a:pt x="602378" y="2004536"/>
                  </a:cubicBezTo>
                  <a:cubicBezTo>
                    <a:pt x="489030" y="2033111"/>
                    <a:pt x="378540" y="2021681"/>
                    <a:pt x="275670" y="2024539"/>
                  </a:cubicBezTo>
                  <a:cubicBezTo>
                    <a:pt x="208995" y="2001679"/>
                    <a:pt x="117555" y="2018824"/>
                    <a:pt x="236618" y="2049304"/>
                  </a:cubicBezTo>
                  <a:cubicBezTo>
                    <a:pt x="332820" y="2060734"/>
                    <a:pt x="145178" y="2068354"/>
                    <a:pt x="262335" y="2092166"/>
                  </a:cubicBezTo>
                  <a:cubicBezTo>
                    <a:pt x="280433" y="2148364"/>
                    <a:pt x="381398" y="2103596"/>
                    <a:pt x="420450" y="2151221"/>
                  </a:cubicBezTo>
                  <a:cubicBezTo>
                    <a:pt x="509033" y="2108359"/>
                    <a:pt x="390923" y="2195036"/>
                    <a:pt x="480458" y="2174081"/>
                  </a:cubicBezTo>
                  <a:cubicBezTo>
                    <a:pt x="575708" y="2192179"/>
                    <a:pt x="324248" y="2267426"/>
                    <a:pt x="269955" y="2228374"/>
                  </a:cubicBezTo>
                  <a:cubicBezTo>
                    <a:pt x="213758" y="2232184"/>
                    <a:pt x="143273" y="2230279"/>
                    <a:pt x="106125" y="2250281"/>
                  </a:cubicBezTo>
                  <a:cubicBezTo>
                    <a:pt x="206138" y="2296001"/>
                    <a:pt x="-65325" y="2235041"/>
                    <a:pt x="45165" y="2290286"/>
                  </a:cubicBezTo>
                  <a:cubicBezTo>
                    <a:pt x="112793" y="2290286"/>
                    <a:pt x="125175" y="2298859"/>
                    <a:pt x="84218" y="2353151"/>
                  </a:cubicBezTo>
                  <a:cubicBezTo>
                    <a:pt x="115650" y="2409349"/>
                    <a:pt x="321390" y="2387441"/>
                    <a:pt x="203280" y="2444591"/>
                  </a:cubicBezTo>
                  <a:cubicBezTo>
                    <a:pt x="147083" y="2440781"/>
                    <a:pt x="65168" y="2474119"/>
                    <a:pt x="172800" y="2478881"/>
                  </a:cubicBezTo>
                  <a:cubicBezTo>
                    <a:pt x="257573" y="2456021"/>
                    <a:pt x="98505" y="2546509"/>
                    <a:pt x="201375" y="2519839"/>
                  </a:cubicBezTo>
                  <a:cubicBezTo>
                    <a:pt x="231855" y="2566511"/>
                    <a:pt x="284243" y="2528411"/>
                    <a:pt x="301388" y="2558891"/>
                  </a:cubicBezTo>
                  <a:cubicBezTo>
                    <a:pt x="372825" y="2593181"/>
                    <a:pt x="107078" y="2573179"/>
                    <a:pt x="76598" y="2589371"/>
                  </a:cubicBezTo>
                  <a:cubicBezTo>
                    <a:pt x="179468" y="2628424"/>
                    <a:pt x="-65325" y="2632234"/>
                    <a:pt x="58500" y="2659856"/>
                  </a:cubicBezTo>
                  <a:cubicBezTo>
                    <a:pt x="100410" y="2649379"/>
                    <a:pt x="183278" y="2635091"/>
                    <a:pt x="110888" y="2693194"/>
                  </a:cubicBezTo>
                  <a:cubicBezTo>
                    <a:pt x="167085" y="2674144"/>
                    <a:pt x="196613" y="2711291"/>
                    <a:pt x="214710" y="2727484"/>
                  </a:cubicBezTo>
                  <a:cubicBezTo>
                    <a:pt x="247095" y="2699861"/>
                    <a:pt x="297578" y="2700814"/>
                    <a:pt x="262335" y="2756059"/>
                  </a:cubicBezTo>
                  <a:cubicBezTo>
                    <a:pt x="318533" y="2733199"/>
                    <a:pt x="387113" y="2651284"/>
                    <a:pt x="358538" y="2733199"/>
                  </a:cubicBezTo>
                  <a:cubicBezTo>
                    <a:pt x="470933" y="2695099"/>
                    <a:pt x="299483" y="2803684"/>
                    <a:pt x="254715" y="2758916"/>
                  </a:cubicBezTo>
                  <a:cubicBezTo>
                    <a:pt x="164228" y="2746534"/>
                    <a:pt x="93743" y="2773204"/>
                    <a:pt x="45165" y="2806541"/>
                  </a:cubicBezTo>
                  <a:cubicBezTo>
                    <a:pt x="161370" y="2800826"/>
                    <a:pt x="-83423" y="2882741"/>
                    <a:pt x="46118" y="2865596"/>
                  </a:cubicBezTo>
                  <a:cubicBezTo>
                    <a:pt x="120413" y="2833211"/>
                    <a:pt x="88028" y="2862739"/>
                    <a:pt x="88980" y="2895124"/>
                  </a:cubicBezTo>
                  <a:cubicBezTo>
                    <a:pt x="132795" y="2875121"/>
                    <a:pt x="93743" y="2942749"/>
                    <a:pt x="155655" y="2902744"/>
                  </a:cubicBezTo>
                  <a:cubicBezTo>
                    <a:pt x="209948" y="2924651"/>
                    <a:pt x="280433" y="2904649"/>
                    <a:pt x="343298" y="2914174"/>
                  </a:cubicBezTo>
                  <a:cubicBezTo>
                    <a:pt x="274718" y="2910364"/>
                    <a:pt x="168038" y="2980849"/>
                    <a:pt x="301388" y="2956084"/>
                  </a:cubicBezTo>
                  <a:cubicBezTo>
                    <a:pt x="209948" y="3007519"/>
                    <a:pt x="314723" y="3013234"/>
                    <a:pt x="361395" y="2980849"/>
                  </a:cubicBezTo>
                  <a:cubicBezTo>
                    <a:pt x="302340" y="3085624"/>
                    <a:pt x="505223" y="3017996"/>
                    <a:pt x="511890" y="3029426"/>
                  </a:cubicBezTo>
                  <a:cubicBezTo>
                    <a:pt x="501413" y="3104674"/>
                    <a:pt x="612855" y="2953226"/>
                    <a:pt x="603330" y="3058001"/>
                  </a:cubicBezTo>
                  <a:cubicBezTo>
                    <a:pt x="692865" y="3028474"/>
                    <a:pt x="764303" y="3011329"/>
                    <a:pt x="825263" y="2954179"/>
                  </a:cubicBezTo>
                  <a:cubicBezTo>
                    <a:pt x="868125" y="3001804"/>
                    <a:pt x="922418" y="2812256"/>
                    <a:pt x="957660" y="2927509"/>
                  </a:cubicBezTo>
                  <a:cubicBezTo>
                    <a:pt x="950993" y="3005614"/>
                    <a:pt x="858600" y="3144679"/>
                    <a:pt x="1013858" y="3102769"/>
                  </a:cubicBezTo>
                  <a:cubicBezTo>
                    <a:pt x="1088153" y="3107531"/>
                    <a:pt x="1167210" y="3117056"/>
                    <a:pt x="1119585" y="3020854"/>
                  </a:cubicBezTo>
                  <a:cubicBezTo>
                    <a:pt x="1095773" y="2920841"/>
                    <a:pt x="1165305" y="2995136"/>
                    <a:pt x="1191975" y="2997041"/>
                  </a:cubicBezTo>
                  <a:cubicBezTo>
                    <a:pt x="1258650" y="3067526"/>
                    <a:pt x="1392953" y="3040856"/>
                    <a:pt x="1468200" y="3026569"/>
                  </a:cubicBezTo>
                  <a:cubicBezTo>
                    <a:pt x="1457723" y="2961799"/>
                    <a:pt x="1529160" y="3010376"/>
                    <a:pt x="1561545" y="3002756"/>
                  </a:cubicBezTo>
                  <a:cubicBezTo>
                    <a:pt x="1593930" y="3038951"/>
                    <a:pt x="1657748" y="3041809"/>
                    <a:pt x="1679655" y="3030379"/>
                  </a:cubicBezTo>
                  <a:cubicBezTo>
                    <a:pt x="1735853" y="3070384"/>
                    <a:pt x="1690133" y="2906554"/>
                    <a:pt x="1748235" y="2996089"/>
                  </a:cubicBezTo>
                  <a:cubicBezTo>
                    <a:pt x="1790145" y="3019901"/>
                    <a:pt x="1871108" y="2994184"/>
                    <a:pt x="1893968" y="3009424"/>
                  </a:cubicBezTo>
                  <a:cubicBezTo>
                    <a:pt x="1889205" y="2959894"/>
                    <a:pt x="1945403" y="2984659"/>
                    <a:pt x="1888253" y="2944654"/>
                  </a:cubicBezTo>
                  <a:cubicBezTo>
                    <a:pt x="1905398" y="2942749"/>
                    <a:pt x="2032080" y="2999899"/>
                    <a:pt x="1964453" y="2947511"/>
                  </a:cubicBezTo>
                  <a:cubicBezTo>
                    <a:pt x="2079705" y="2950369"/>
                    <a:pt x="2036843" y="2899886"/>
                    <a:pt x="1948260" y="2913221"/>
                  </a:cubicBezTo>
                  <a:cubicBezTo>
                    <a:pt x="1883490" y="2907506"/>
                    <a:pt x="1767285" y="2873216"/>
                    <a:pt x="1843485" y="2853214"/>
                  </a:cubicBezTo>
                  <a:cubicBezTo>
                    <a:pt x="1859678" y="2837021"/>
                    <a:pt x="1951118" y="2853214"/>
                    <a:pt x="1883490" y="2818924"/>
                  </a:cubicBezTo>
                  <a:cubicBezTo>
                    <a:pt x="1929210" y="2839879"/>
                    <a:pt x="1994933" y="2790349"/>
                    <a:pt x="1909208" y="2790349"/>
                  </a:cubicBezTo>
                  <a:cubicBezTo>
                    <a:pt x="1962548" y="2784634"/>
                    <a:pt x="1960643" y="2735104"/>
                    <a:pt x="2032080" y="2757964"/>
                  </a:cubicBezTo>
                  <a:cubicBezTo>
                    <a:pt x="1946355" y="2722721"/>
                    <a:pt x="2002553" y="2723674"/>
                    <a:pt x="2036843" y="2711291"/>
                  </a:cubicBezTo>
                  <a:cubicBezTo>
                    <a:pt x="1972073" y="2706529"/>
                    <a:pt x="1884443" y="2674144"/>
                    <a:pt x="2008268" y="2670334"/>
                  </a:cubicBezTo>
                  <a:cubicBezTo>
                    <a:pt x="2132093" y="2620804"/>
                    <a:pt x="1982550" y="2644616"/>
                    <a:pt x="1943498" y="2645569"/>
                  </a:cubicBezTo>
                  <a:cubicBezTo>
                    <a:pt x="2009220" y="2564606"/>
                    <a:pt x="1844438" y="2680811"/>
                    <a:pt x="1793003" y="2651284"/>
                  </a:cubicBezTo>
                  <a:cubicBezTo>
                    <a:pt x="1703468" y="2657951"/>
                    <a:pt x="1501538" y="2570321"/>
                    <a:pt x="1497728" y="2538889"/>
                  </a:cubicBezTo>
                  <a:cubicBezTo>
                    <a:pt x="1528208" y="2533174"/>
                    <a:pt x="1620600" y="2608421"/>
                    <a:pt x="1592025" y="2535079"/>
                  </a:cubicBezTo>
                  <a:cubicBezTo>
                    <a:pt x="1682513" y="2614136"/>
                    <a:pt x="1734900" y="2472214"/>
                    <a:pt x="1824435" y="2566511"/>
                  </a:cubicBezTo>
                  <a:cubicBezTo>
                    <a:pt x="1703468" y="2427446"/>
                    <a:pt x="2134950" y="2525554"/>
                    <a:pt x="1938735" y="2449354"/>
                  </a:cubicBezTo>
                  <a:cubicBezTo>
                    <a:pt x="1915875" y="2436971"/>
                    <a:pt x="2165430" y="2449354"/>
                    <a:pt x="2000648" y="2416969"/>
                  </a:cubicBezTo>
                  <a:cubicBezTo>
                    <a:pt x="1945403" y="2423636"/>
                    <a:pt x="2077800" y="2375059"/>
                    <a:pt x="1993028" y="2387441"/>
                  </a:cubicBezTo>
                  <a:cubicBezTo>
                    <a:pt x="1840628" y="2373154"/>
                    <a:pt x="1705373" y="2382679"/>
                    <a:pt x="1549163" y="2328386"/>
                  </a:cubicBezTo>
                  <a:cubicBezTo>
                    <a:pt x="1451055" y="2308384"/>
                    <a:pt x="1461533" y="2256949"/>
                    <a:pt x="1554878" y="2282666"/>
                  </a:cubicBezTo>
                  <a:cubicBezTo>
                    <a:pt x="1673940" y="2311241"/>
                    <a:pt x="1712040" y="2290286"/>
                    <a:pt x="1823483" y="2291239"/>
                  </a:cubicBezTo>
                  <a:cubicBezTo>
                    <a:pt x="1848248" y="2213134"/>
                    <a:pt x="2103518" y="2260759"/>
                    <a:pt x="1994933" y="2158841"/>
                  </a:cubicBezTo>
                  <a:cubicBezTo>
                    <a:pt x="2052083" y="2127409"/>
                    <a:pt x="2122568" y="2111216"/>
                    <a:pt x="2013983" y="2124551"/>
                  </a:cubicBezTo>
                  <a:cubicBezTo>
                    <a:pt x="1910160" y="2121694"/>
                    <a:pt x="1786335" y="2110264"/>
                    <a:pt x="1699658" y="2061686"/>
                  </a:cubicBezTo>
                  <a:cubicBezTo>
                    <a:pt x="1721565" y="2011204"/>
                    <a:pt x="1873965" y="2095976"/>
                    <a:pt x="1808243" y="2027396"/>
                  </a:cubicBezTo>
                  <a:cubicBezTo>
                    <a:pt x="1845390" y="2033111"/>
                    <a:pt x="1914923" y="2015966"/>
                    <a:pt x="1836818" y="2000726"/>
                  </a:cubicBezTo>
                  <a:cubicBezTo>
                    <a:pt x="1905398" y="1995011"/>
                    <a:pt x="2018745" y="1882616"/>
                    <a:pt x="1875870" y="1935004"/>
                  </a:cubicBezTo>
                  <a:cubicBezTo>
                    <a:pt x="1803480" y="1892141"/>
                    <a:pt x="1605360" y="1962626"/>
                    <a:pt x="1600598" y="1869281"/>
                  </a:cubicBezTo>
                  <a:cubicBezTo>
                    <a:pt x="1705373" y="1889284"/>
                    <a:pt x="1819673" y="1872139"/>
                    <a:pt x="1823483" y="1737836"/>
                  </a:cubicBezTo>
                  <a:cubicBezTo>
                    <a:pt x="1751093" y="1747361"/>
                    <a:pt x="1638698" y="1814036"/>
                    <a:pt x="1592025" y="1729264"/>
                  </a:cubicBezTo>
                  <a:cubicBezTo>
                    <a:pt x="1623458" y="1750219"/>
                    <a:pt x="1690133" y="1734979"/>
                    <a:pt x="1639650" y="1693069"/>
                  </a:cubicBezTo>
                  <a:cubicBezTo>
                    <a:pt x="1694895" y="1704499"/>
                    <a:pt x="1723470" y="1603534"/>
                    <a:pt x="1648223" y="1652111"/>
                  </a:cubicBezTo>
                  <a:cubicBezTo>
                    <a:pt x="1592025" y="1662589"/>
                    <a:pt x="1391048" y="1666399"/>
                    <a:pt x="1437720" y="1613059"/>
                  </a:cubicBezTo>
                  <a:cubicBezTo>
                    <a:pt x="1490108" y="1631156"/>
                    <a:pt x="1612028" y="1607344"/>
                    <a:pt x="1519635" y="1556861"/>
                  </a:cubicBezTo>
                  <a:cubicBezTo>
                    <a:pt x="1584405" y="1579721"/>
                    <a:pt x="1719660" y="1506379"/>
                    <a:pt x="1697753" y="1459706"/>
                  </a:cubicBezTo>
                  <a:cubicBezTo>
                    <a:pt x="1650128" y="1406366"/>
                    <a:pt x="1590120" y="1445419"/>
                    <a:pt x="1539638" y="1435894"/>
                  </a:cubicBezTo>
                  <a:cubicBezTo>
                    <a:pt x="1603455" y="1393984"/>
                    <a:pt x="1538685" y="1420654"/>
                    <a:pt x="1520588" y="1388269"/>
                  </a:cubicBezTo>
                  <a:cubicBezTo>
                    <a:pt x="1471058" y="1479709"/>
                    <a:pt x="1237695" y="1392079"/>
                    <a:pt x="1282463" y="1360646"/>
                  </a:cubicBezTo>
                  <a:cubicBezTo>
                    <a:pt x="1390095" y="1360646"/>
                    <a:pt x="1469153" y="1357789"/>
                    <a:pt x="1568213" y="1328261"/>
                  </a:cubicBezTo>
                  <a:cubicBezTo>
                    <a:pt x="1540590" y="1255871"/>
                    <a:pt x="1746330" y="1225391"/>
                    <a:pt x="1593930" y="1209199"/>
                  </a:cubicBezTo>
                  <a:cubicBezTo>
                    <a:pt x="1560593" y="1139666"/>
                    <a:pt x="1406288" y="1264444"/>
                    <a:pt x="1440578" y="1151096"/>
                  </a:cubicBezTo>
                  <a:cubicBezTo>
                    <a:pt x="1348185" y="1224439"/>
                    <a:pt x="1149113" y="1139666"/>
                    <a:pt x="1127205" y="1094899"/>
                  </a:cubicBezTo>
                  <a:cubicBezTo>
                    <a:pt x="1214835" y="1122521"/>
                    <a:pt x="1236743" y="1092041"/>
                    <a:pt x="1310085" y="1109186"/>
                  </a:cubicBezTo>
                  <a:cubicBezTo>
                    <a:pt x="1300560" y="1078706"/>
                    <a:pt x="1375808" y="1166336"/>
                    <a:pt x="1406288" y="1094899"/>
                  </a:cubicBezTo>
                  <a:cubicBezTo>
                    <a:pt x="1479630" y="1092041"/>
                    <a:pt x="1424385" y="984409"/>
                    <a:pt x="1508205" y="1040606"/>
                  </a:cubicBezTo>
                  <a:cubicBezTo>
                    <a:pt x="1529160" y="993934"/>
                    <a:pt x="1647270" y="970121"/>
                    <a:pt x="1532018" y="969169"/>
                  </a:cubicBezTo>
                  <a:cubicBezTo>
                    <a:pt x="1498680" y="936784"/>
                    <a:pt x="1427243" y="1008221"/>
                    <a:pt x="1421528" y="938689"/>
                  </a:cubicBezTo>
                  <a:cubicBezTo>
                    <a:pt x="1342470" y="1012031"/>
                    <a:pt x="1203405" y="991076"/>
                    <a:pt x="1154828" y="903446"/>
                  </a:cubicBezTo>
                  <a:cubicBezTo>
                    <a:pt x="1199595" y="899636"/>
                    <a:pt x="1305323" y="967264"/>
                    <a:pt x="1304370" y="884396"/>
                  </a:cubicBezTo>
                  <a:cubicBezTo>
                    <a:pt x="1348185" y="928211"/>
                    <a:pt x="1442483" y="914876"/>
                    <a:pt x="1351995" y="868204"/>
                  </a:cubicBezTo>
                  <a:cubicBezTo>
                    <a:pt x="1412003" y="912019"/>
                    <a:pt x="1490108" y="871061"/>
                    <a:pt x="1480583" y="832009"/>
                  </a:cubicBezTo>
                  <a:cubicBezTo>
                    <a:pt x="1625363" y="814864"/>
                    <a:pt x="1407240" y="763429"/>
                    <a:pt x="1363425" y="798671"/>
                  </a:cubicBezTo>
                  <a:cubicBezTo>
                    <a:pt x="1310085" y="684371"/>
                    <a:pt x="1158638" y="849154"/>
                    <a:pt x="1131015" y="755809"/>
                  </a:cubicBezTo>
                  <a:cubicBezTo>
                    <a:pt x="1102440" y="740569"/>
                    <a:pt x="956708" y="677704"/>
                    <a:pt x="1019573" y="655796"/>
                  </a:cubicBezTo>
                  <a:cubicBezTo>
                    <a:pt x="1029098" y="698659"/>
                    <a:pt x="1091963" y="752951"/>
                    <a:pt x="1088153" y="673894"/>
                  </a:cubicBezTo>
                  <a:cubicBezTo>
                    <a:pt x="1124348" y="778669"/>
                    <a:pt x="1187213" y="639604"/>
                    <a:pt x="1244363" y="727234"/>
                  </a:cubicBezTo>
                  <a:cubicBezTo>
                    <a:pt x="1271033" y="670084"/>
                    <a:pt x="1362473" y="748189"/>
                    <a:pt x="1389143" y="667226"/>
                  </a:cubicBezTo>
                  <a:cubicBezTo>
                    <a:pt x="1335803" y="624364"/>
                    <a:pt x="1186260" y="578644"/>
                    <a:pt x="1174830" y="590074"/>
                  </a:cubicBezTo>
                  <a:cubicBezTo>
                    <a:pt x="1230075" y="543401"/>
                    <a:pt x="1273890" y="526256"/>
                    <a:pt x="1180545" y="513874"/>
                  </a:cubicBezTo>
                  <a:cubicBezTo>
                    <a:pt x="1169115" y="479584"/>
                    <a:pt x="1356758" y="462439"/>
                    <a:pt x="1228170" y="415766"/>
                  </a:cubicBezTo>
                  <a:cubicBezTo>
                    <a:pt x="1322468" y="381476"/>
                    <a:pt x="1196738" y="349091"/>
                    <a:pt x="1251983" y="298609"/>
                  </a:cubicBezTo>
                  <a:cubicBezTo>
                    <a:pt x="1150065" y="302419"/>
                    <a:pt x="1100535" y="370046"/>
                    <a:pt x="1035765" y="451009"/>
                  </a:cubicBezTo>
                  <a:cubicBezTo>
                    <a:pt x="960518" y="465296"/>
                    <a:pt x="970995" y="241459"/>
                    <a:pt x="1058625" y="322421"/>
                  </a:cubicBezTo>
                  <a:cubicBezTo>
                    <a:pt x="1152923" y="327184"/>
                    <a:pt x="1126253" y="254794"/>
                    <a:pt x="1052910" y="251936"/>
                  </a:cubicBezTo>
                  <a:cubicBezTo>
                    <a:pt x="1091010" y="247174"/>
                    <a:pt x="1221503" y="242411"/>
                    <a:pt x="1112918" y="211931"/>
                  </a:cubicBezTo>
                  <a:cubicBezTo>
                    <a:pt x="1191023" y="135731"/>
                    <a:pt x="1113870" y="174784"/>
                    <a:pt x="1064340" y="185261"/>
                  </a:cubicBezTo>
                  <a:cubicBezTo>
                    <a:pt x="1030050" y="136684"/>
                    <a:pt x="969090" y="322421"/>
                    <a:pt x="991950" y="191929"/>
                  </a:cubicBezTo>
                  <a:cubicBezTo>
                    <a:pt x="1009095" y="137636"/>
                    <a:pt x="1116728" y="33814"/>
                    <a:pt x="996713" y="111919"/>
                  </a:cubicBezTo>
                  <a:cubicBezTo>
                    <a:pt x="947183" y="118586"/>
                    <a:pt x="1017668" y="24289"/>
                    <a:pt x="949088" y="7144"/>
                  </a:cubicBezTo>
                  <a:lnTo>
                    <a:pt x="949088" y="7144"/>
                  </a:lnTo>
                  <a:lnTo>
                    <a:pt x="949088" y="7144"/>
                  </a:lnTo>
                  <a:close/>
                  <a:moveTo>
                    <a:pt x="886223" y="287179"/>
                  </a:moveTo>
                  <a:cubicBezTo>
                    <a:pt x="950993" y="293846"/>
                    <a:pt x="936705" y="430054"/>
                    <a:pt x="908130" y="327184"/>
                  </a:cubicBezTo>
                  <a:cubicBezTo>
                    <a:pt x="904320" y="313849"/>
                    <a:pt x="879555" y="305276"/>
                    <a:pt x="886223" y="287179"/>
                  </a:cubicBezTo>
                  <a:close/>
                  <a:moveTo>
                    <a:pt x="863363" y="404336"/>
                  </a:moveTo>
                  <a:cubicBezTo>
                    <a:pt x="931943" y="406241"/>
                    <a:pt x="947183" y="504349"/>
                    <a:pt x="876698" y="435769"/>
                  </a:cubicBezTo>
                  <a:cubicBezTo>
                    <a:pt x="877650" y="436721"/>
                    <a:pt x="842408" y="406241"/>
                    <a:pt x="863363" y="404336"/>
                  </a:cubicBezTo>
                  <a:close/>
                  <a:moveTo>
                    <a:pt x="1116728" y="470059"/>
                  </a:moveTo>
                  <a:cubicBezTo>
                    <a:pt x="1142445" y="539591"/>
                    <a:pt x="916703" y="542449"/>
                    <a:pt x="1066245" y="511016"/>
                  </a:cubicBezTo>
                  <a:cubicBezTo>
                    <a:pt x="1087200" y="502444"/>
                    <a:pt x="1096725" y="479584"/>
                    <a:pt x="1116728" y="470059"/>
                  </a:cubicBezTo>
                  <a:close/>
                  <a:moveTo>
                    <a:pt x="1009095" y="584359"/>
                  </a:moveTo>
                  <a:cubicBezTo>
                    <a:pt x="1068150" y="591026"/>
                    <a:pt x="1128158" y="624364"/>
                    <a:pt x="1029098" y="599599"/>
                  </a:cubicBezTo>
                  <a:lnTo>
                    <a:pt x="1009095" y="584359"/>
                  </a:lnTo>
                  <a:lnTo>
                    <a:pt x="1009095" y="584359"/>
                  </a:lnTo>
                  <a:close/>
                  <a:moveTo>
                    <a:pt x="1111013" y="603409"/>
                  </a:moveTo>
                  <a:cubicBezTo>
                    <a:pt x="1179593" y="587216"/>
                    <a:pt x="1100535" y="662464"/>
                    <a:pt x="1111013" y="603409"/>
                  </a:cubicBezTo>
                  <a:close/>
                  <a:moveTo>
                    <a:pt x="1251030" y="632936"/>
                  </a:moveTo>
                  <a:cubicBezTo>
                    <a:pt x="1281510" y="652939"/>
                    <a:pt x="1209120" y="642461"/>
                    <a:pt x="1251030" y="632936"/>
                  </a:cubicBezTo>
                  <a:close/>
                  <a:moveTo>
                    <a:pt x="1032908" y="760571"/>
                  </a:moveTo>
                  <a:cubicBezTo>
                    <a:pt x="1069103" y="813911"/>
                    <a:pt x="1010048" y="875824"/>
                    <a:pt x="1028145" y="780574"/>
                  </a:cubicBezTo>
                  <a:lnTo>
                    <a:pt x="1032908" y="760571"/>
                  </a:lnTo>
                  <a:lnTo>
                    <a:pt x="1032908" y="760571"/>
                  </a:lnTo>
                  <a:close/>
                  <a:moveTo>
                    <a:pt x="961470" y="867251"/>
                  </a:moveTo>
                  <a:cubicBezTo>
                    <a:pt x="989093" y="885349"/>
                    <a:pt x="919560" y="881539"/>
                    <a:pt x="961470" y="867251"/>
                  </a:cubicBezTo>
                  <a:close/>
                  <a:moveTo>
                    <a:pt x="1036718" y="884396"/>
                  </a:moveTo>
                  <a:cubicBezTo>
                    <a:pt x="1052910" y="926306"/>
                    <a:pt x="1022430" y="907256"/>
                    <a:pt x="1036718" y="884396"/>
                  </a:cubicBezTo>
                  <a:close/>
                  <a:moveTo>
                    <a:pt x="921465" y="888206"/>
                  </a:moveTo>
                  <a:cubicBezTo>
                    <a:pt x="952898" y="901541"/>
                    <a:pt x="887175" y="904399"/>
                    <a:pt x="921465" y="888206"/>
                  </a:cubicBezTo>
                  <a:close/>
                  <a:moveTo>
                    <a:pt x="874793" y="904399"/>
                  </a:moveTo>
                  <a:cubicBezTo>
                    <a:pt x="906225" y="917734"/>
                    <a:pt x="840503" y="920591"/>
                    <a:pt x="874793" y="904399"/>
                  </a:cubicBezTo>
                  <a:close/>
                  <a:moveTo>
                    <a:pt x="681435" y="904399"/>
                  </a:moveTo>
                  <a:cubicBezTo>
                    <a:pt x="718583" y="948214"/>
                    <a:pt x="920513" y="896779"/>
                    <a:pt x="777638" y="946309"/>
                  </a:cubicBezTo>
                  <a:cubicBezTo>
                    <a:pt x="745253" y="952976"/>
                    <a:pt x="654765" y="966311"/>
                    <a:pt x="681435" y="904399"/>
                  </a:cubicBezTo>
                  <a:close/>
                  <a:moveTo>
                    <a:pt x="1532970" y="1327309"/>
                  </a:moveTo>
                  <a:cubicBezTo>
                    <a:pt x="1567260" y="1342549"/>
                    <a:pt x="1512015" y="1349216"/>
                    <a:pt x="1532970" y="1327309"/>
                  </a:cubicBezTo>
                  <a:close/>
                  <a:moveTo>
                    <a:pt x="757635" y="1423511"/>
                  </a:moveTo>
                  <a:cubicBezTo>
                    <a:pt x="685245" y="1477804"/>
                    <a:pt x="650003" y="1441609"/>
                    <a:pt x="757635" y="1423511"/>
                  </a:cubicBezTo>
                  <a:close/>
                  <a:moveTo>
                    <a:pt x="1558688" y="1764506"/>
                  </a:moveTo>
                  <a:cubicBezTo>
                    <a:pt x="1654890" y="1774984"/>
                    <a:pt x="1460580" y="1774031"/>
                    <a:pt x="1558688" y="1764506"/>
                  </a:cubicBezTo>
                  <a:close/>
                  <a:moveTo>
                    <a:pt x="1766333" y="1807369"/>
                  </a:moveTo>
                  <a:cubicBezTo>
                    <a:pt x="1818720" y="1806416"/>
                    <a:pt x="1736805" y="1819751"/>
                    <a:pt x="1766333" y="1807369"/>
                  </a:cubicBezTo>
                  <a:close/>
                  <a:moveTo>
                    <a:pt x="1769190" y="2006441"/>
                  </a:moveTo>
                  <a:cubicBezTo>
                    <a:pt x="1833008" y="2002631"/>
                    <a:pt x="1785383" y="2038826"/>
                    <a:pt x="1769190" y="2006441"/>
                  </a:cubicBezTo>
                  <a:close/>
                  <a:moveTo>
                    <a:pt x="151845" y="2329339"/>
                  </a:moveTo>
                  <a:cubicBezTo>
                    <a:pt x="171848" y="2352199"/>
                    <a:pt x="91838" y="2336006"/>
                    <a:pt x="151845" y="2329339"/>
                  </a:cubicBezTo>
                  <a:close/>
                  <a:moveTo>
                    <a:pt x="301388" y="2397919"/>
                  </a:moveTo>
                  <a:cubicBezTo>
                    <a:pt x="343298" y="2445544"/>
                    <a:pt x="410925" y="2404586"/>
                    <a:pt x="469028" y="2426494"/>
                  </a:cubicBezTo>
                  <a:cubicBezTo>
                    <a:pt x="496650" y="2436971"/>
                    <a:pt x="202328" y="2484596"/>
                    <a:pt x="301388" y="2397919"/>
                  </a:cubicBezTo>
                  <a:close/>
                  <a:moveTo>
                    <a:pt x="517605" y="2406491"/>
                  </a:moveTo>
                  <a:cubicBezTo>
                    <a:pt x="548085" y="2420779"/>
                    <a:pt x="455693" y="2415064"/>
                    <a:pt x="517605" y="2406491"/>
                  </a:cubicBezTo>
                  <a:close/>
                  <a:moveTo>
                    <a:pt x="423308" y="2736056"/>
                  </a:moveTo>
                  <a:cubicBezTo>
                    <a:pt x="450930" y="2753201"/>
                    <a:pt x="381398" y="2750344"/>
                    <a:pt x="423308" y="2736056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87755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2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+mn-ea"/>
                <a:cs typeface="+mn-cs"/>
              </a:endParaRPr>
            </a:p>
          </p:txBody>
        </p:sp>
        <p:sp>
          <p:nvSpPr>
            <p:cNvPr id="20" name="Graphic 47">
              <a:extLst>
                <a:ext uri="{FF2B5EF4-FFF2-40B4-BE49-F238E27FC236}">
                  <a16:creationId xmlns:a16="http://schemas.microsoft.com/office/drawing/2014/main" id="{D752D5FF-7FA0-4429-8040-0A05DD9A2F23}"/>
                </a:ext>
              </a:extLst>
            </p:cNvPr>
            <p:cNvSpPr/>
            <p:nvPr userDrawn="1"/>
          </p:nvSpPr>
          <p:spPr>
            <a:xfrm>
              <a:off x="7383021" y="5279009"/>
              <a:ext cx="413386" cy="620080"/>
            </a:xfrm>
            <a:custGeom>
              <a:avLst/>
              <a:gdLst>
                <a:gd name="connsiteX0" fmla="*/ 949088 w 2076450"/>
                <a:gd name="connsiteY0" fmla="*/ 7144 h 3114675"/>
                <a:gd name="connsiteX1" fmla="*/ 883365 w 2076450"/>
                <a:gd name="connsiteY1" fmla="*/ 105251 h 3114675"/>
                <a:gd name="connsiteX2" fmla="*/ 909083 w 2076450"/>
                <a:gd name="connsiteY2" fmla="*/ 238601 h 3114675"/>
                <a:gd name="connsiteX3" fmla="*/ 833835 w 2076450"/>
                <a:gd name="connsiteY3" fmla="*/ 193834 h 3114675"/>
                <a:gd name="connsiteX4" fmla="*/ 817643 w 2076450"/>
                <a:gd name="connsiteY4" fmla="*/ 301466 h 3114675"/>
                <a:gd name="connsiteX5" fmla="*/ 810023 w 2076450"/>
                <a:gd name="connsiteY5" fmla="*/ 328136 h 3114675"/>
                <a:gd name="connsiteX6" fmla="*/ 684293 w 2076450"/>
                <a:gd name="connsiteY6" fmla="*/ 381476 h 3114675"/>
                <a:gd name="connsiteX7" fmla="*/ 703343 w 2076450"/>
                <a:gd name="connsiteY7" fmla="*/ 451009 h 3114675"/>
                <a:gd name="connsiteX8" fmla="*/ 714773 w 2076450"/>
                <a:gd name="connsiteY8" fmla="*/ 539591 h 3114675"/>
                <a:gd name="connsiteX9" fmla="*/ 828120 w 2076450"/>
                <a:gd name="connsiteY9" fmla="*/ 573881 h 3114675"/>
                <a:gd name="connsiteX10" fmla="*/ 947183 w 2076450"/>
                <a:gd name="connsiteY10" fmla="*/ 577691 h 3114675"/>
                <a:gd name="connsiteX11" fmla="*/ 731918 w 2076450"/>
                <a:gd name="connsiteY11" fmla="*/ 618649 h 3114675"/>
                <a:gd name="connsiteX12" fmla="*/ 530940 w 2076450"/>
                <a:gd name="connsiteY12" fmla="*/ 601504 h 3114675"/>
                <a:gd name="connsiteX13" fmla="*/ 597615 w 2076450"/>
                <a:gd name="connsiteY13" fmla="*/ 649129 h 3114675"/>
                <a:gd name="connsiteX14" fmla="*/ 629048 w 2076450"/>
                <a:gd name="connsiteY14" fmla="*/ 688181 h 3114675"/>
                <a:gd name="connsiteX15" fmla="*/ 714773 w 2076450"/>
                <a:gd name="connsiteY15" fmla="*/ 728186 h 3114675"/>
                <a:gd name="connsiteX16" fmla="*/ 947183 w 2076450"/>
                <a:gd name="connsiteY16" fmla="*/ 689134 h 3114675"/>
                <a:gd name="connsiteX17" fmla="*/ 674768 w 2076450"/>
                <a:gd name="connsiteY17" fmla="*/ 758666 h 3114675"/>
                <a:gd name="connsiteX18" fmla="*/ 528083 w 2076450"/>
                <a:gd name="connsiteY18" fmla="*/ 788194 h 3114675"/>
                <a:gd name="connsiteX19" fmla="*/ 530940 w 2076450"/>
                <a:gd name="connsiteY19" fmla="*/ 846296 h 3114675"/>
                <a:gd name="connsiteX20" fmla="*/ 569040 w 2076450"/>
                <a:gd name="connsiteY20" fmla="*/ 912971 h 3114675"/>
                <a:gd name="connsiteX21" fmla="*/ 502365 w 2076450"/>
                <a:gd name="connsiteY21" fmla="*/ 958691 h 3114675"/>
                <a:gd name="connsiteX22" fmla="*/ 409973 w 2076450"/>
                <a:gd name="connsiteY22" fmla="*/ 972979 h 3114675"/>
                <a:gd name="connsiteX23" fmla="*/ 547133 w 2076450"/>
                <a:gd name="connsiteY23" fmla="*/ 1067276 h 3114675"/>
                <a:gd name="connsiteX24" fmla="*/ 730013 w 2076450"/>
                <a:gd name="connsiteY24" fmla="*/ 1155859 h 3114675"/>
                <a:gd name="connsiteX25" fmla="*/ 409020 w 2076450"/>
                <a:gd name="connsiteY25" fmla="*/ 1204436 h 3114675"/>
                <a:gd name="connsiteX26" fmla="*/ 530940 w 2076450"/>
                <a:gd name="connsiteY26" fmla="*/ 1310164 h 3114675"/>
                <a:gd name="connsiteX27" fmla="*/ 366158 w 2076450"/>
                <a:gd name="connsiteY27" fmla="*/ 1365409 h 3114675"/>
                <a:gd name="connsiteX28" fmla="*/ 637620 w 2076450"/>
                <a:gd name="connsiteY28" fmla="*/ 1413034 h 3114675"/>
                <a:gd name="connsiteX29" fmla="*/ 617618 w 2076450"/>
                <a:gd name="connsiteY29" fmla="*/ 1487329 h 3114675"/>
                <a:gd name="connsiteX30" fmla="*/ 286148 w 2076450"/>
                <a:gd name="connsiteY30" fmla="*/ 1588294 h 3114675"/>
                <a:gd name="connsiteX31" fmla="*/ 550943 w 2076450"/>
                <a:gd name="connsiteY31" fmla="*/ 1688306 h 3114675"/>
                <a:gd name="connsiteX32" fmla="*/ 627143 w 2076450"/>
                <a:gd name="connsiteY32" fmla="*/ 1666399 h 3114675"/>
                <a:gd name="connsiteX33" fmla="*/ 734775 w 2076450"/>
                <a:gd name="connsiteY33" fmla="*/ 1662589 h 3114675"/>
                <a:gd name="connsiteX34" fmla="*/ 604283 w 2076450"/>
                <a:gd name="connsiteY34" fmla="*/ 1759744 h 3114675"/>
                <a:gd name="connsiteX35" fmla="*/ 217568 w 2076450"/>
                <a:gd name="connsiteY35" fmla="*/ 1794986 h 3114675"/>
                <a:gd name="connsiteX36" fmla="*/ 214710 w 2076450"/>
                <a:gd name="connsiteY36" fmla="*/ 1862614 h 3114675"/>
                <a:gd name="connsiteX37" fmla="*/ 335678 w 2076450"/>
                <a:gd name="connsiteY37" fmla="*/ 1914049 h 3114675"/>
                <a:gd name="connsiteX38" fmla="*/ 472838 w 2076450"/>
                <a:gd name="connsiteY38" fmla="*/ 1916906 h 3114675"/>
                <a:gd name="connsiteX39" fmla="*/ 553800 w 2076450"/>
                <a:gd name="connsiteY39" fmla="*/ 1953101 h 3114675"/>
                <a:gd name="connsiteX40" fmla="*/ 602378 w 2076450"/>
                <a:gd name="connsiteY40" fmla="*/ 2004536 h 3114675"/>
                <a:gd name="connsiteX41" fmla="*/ 275670 w 2076450"/>
                <a:gd name="connsiteY41" fmla="*/ 2024539 h 3114675"/>
                <a:gd name="connsiteX42" fmla="*/ 236618 w 2076450"/>
                <a:gd name="connsiteY42" fmla="*/ 2049304 h 3114675"/>
                <a:gd name="connsiteX43" fmla="*/ 262335 w 2076450"/>
                <a:gd name="connsiteY43" fmla="*/ 2092166 h 3114675"/>
                <a:gd name="connsiteX44" fmla="*/ 420450 w 2076450"/>
                <a:gd name="connsiteY44" fmla="*/ 2151221 h 3114675"/>
                <a:gd name="connsiteX45" fmla="*/ 480458 w 2076450"/>
                <a:gd name="connsiteY45" fmla="*/ 2174081 h 3114675"/>
                <a:gd name="connsiteX46" fmla="*/ 269955 w 2076450"/>
                <a:gd name="connsiteY46" fmla="*/ 2228374 h 3114675"/>
                <a:gd name="connsiteX47" fmla="*/ 106125 w 2076450"/>
                <a:gd name="connsiteY47" fmla="*/ 2250281 h 3114675"/>
                <a:gd name="connsiteX48" fmla="*/ 45165 w 2076450"/>
                <a:gd name="connsiteY48" fmla="*/ 2290286 h 3114675"/>
                <a:gd name="connsiteX49" fmla="*/ 84218 w 2076450"/>
                <a:gd name="connsiteY49" fmla="*/ 2353151 h 3114675"/>
                <a:gd name="connsiteX50" fmla="*/ 203280 w 2076450"/>
                <a:gd name="connsiteY50" fmla="*/ 2444591 h 3114675"/>
                <a:gd name="connsiteX51" fmla="*/ 172800 w 2076450"/>
                <a:gd name="connsiteY51" fmla="*/ 2478881 h 3114675"/>
                <a:gd name="connsiteX52" fmla="*/ 201375 w 2076450"/>
                <a:gd name="connsiteY52" fmla="*/ 2519839 h 3114675"/>
                <a:gd name="connsiteX53" fmla="*/ 301388 w 2076450"/>
                <a:gd name="connsiteY53" fmla="*/ 2558891 h 3114675"/>
                <a:gd name="connsiteX54" fmla="*/ 76598 w 2076450"/>
                <a:gd name="connsiteY54" fmla="*/ 2589371 h 3114675"/>
                <a:gd name="connsiteX55" fmla="*/ 58500 w 2076450"/>
                <a:gd name="connsiteY55" fmla="*/ 2659856 h 3114675"/>
                <a:gd name="connsiteX56" fmla="*/ 110888 w 2076450"/>
                <a:gd name="connsiteY56" fmla="*/ 2693194 h 3114675"/>
                <a:gd name="connsiteX57" fmla="*/ 214710 w 2076450"/>
                <a:gd name="connsiteY57" fmla="*/ 2727484 h 3114675"/>
                <a:gd name="connsiteX58" fmla="*/ 262335 w 2076450"/>
                <a:gd name="connsiteY58" fmla="*/ 2756059 h 3114675"/>
                <a:gd name="connsiteX59" fmla="*/ 358538 w 2076450"/>
                <a:gd name="connsiteY59" fmla="*/ 2733199 h 3114675"/>
                <a:gd name="connsiteX60" fmla="*/ 254715 w 2076450"/>
                <a:gd name="connsiteY60" fmla="*/ 2758916 h 3114675"/>
                <a:gd name="connsiteX61" fmla="*/ 45165 w 2076450"/>
                <a:gd name="connsiteY61" fmla="*/ 2806541 h 3114675"/>
                <a:gd name="connsiteX62" fmla="*/ 46118 w 2076450"/>
                <a:gd name="connsiteY62" fmla="*/ 2865596 h 3114675"/>
                <a:gd name="connsiteX63" fmla="*/ 88980 w 2076450"/>
                <a:gd name="connsiteY63" fmla="*/ 2895124 h 3114675"/>
                <a:gd name="connsiteX64" fmla="*/ 155655 w 2076450"/>
                <a:gd name="connsiteY64" fmla="*/ 2902744 h 3114675"/>
                <a:gd name="connsiteX65" fmla="*/ 343298 w 2076450"/>
                <a:gd name="connsiteY65" fmla="*/ 2914174 h 3114675"/>
                <a:gd name="connsiteX66" fmla="*/ 301388 w 2076450"/>
                <a:gd name="connsiteY66" fmla="*/ 2956084 h 3114675"/>
                <a:gd name="connsiteX67" fmla="*/ 361395 w 2076450"/>
                <a:gd name="connsiteY67" fmla="*/ 2980849 h 3114675"/>
                <a:gd name="connsiteX68" fmla="*/ 511890 w 2076450"/>
                <a:gd name="connsiteY68" fmla="*/ 3029426 h 3114675"/>
                <a:gd name="connsiteX69" fmla="*/ 603330 w 2076450"/>
                <a:gd name="connsiteY69" fmla="*/ 3058001 h 3114675"/>
                <a:gd name="connsiteX70" fmla="*/ 825263 w 2076450"/>
                <a:gd name="connsiteY70" fmla="*/ 2954179 h 3114675"/>
                <a:gd name="connsiteX71" fmla="*/ 957660 w 2076450"/>
                <a:gd name="connsiteY71" fmla="*/ 2927509 h 3114675"/>
                <a:gd name="connsiteX72" fmla="*/ 1013858 w 2076450"/>
                <a:gd name="connsiteY72" fmla="*/ 3102769 h 3114675"/>
                <a:gd name="connsiteX73" fmla="*/ 1119585 w 2076450"/>
                <a:gd name="connsiteY73" fmla="*/ 3020854 h 3114675"/>
                <a:gd name="connsiteX74" fmla="*/ 1191975 w 2076450"/>
                <a:gd name="connsiteY74" fmla="*/ 2997041 h 3114675"/>
                <a:gd name="connsiteX75" fmla="*/ 1468200 w 2076450"/>
                <a:gd name="connsiteY75" fmla="*/ 3026569 h 3114675"/>
                <a:gd name="connsiteX76" fmla="*/ 1561545 w 2076450"/>
                <a:gd name="connsiteY76" fmla="*/ 3002756 h 3114675"/>
                <a:gd name="connsiteX77" fmla="*/ 1679655 w 2076450"/>
                <a:gd name="connsiteY77" fmla="*/ 3030379 h 3114675"/>
                <a:gd name="connsiteX78" fmla="*/ 1748235 w 2076450"/>
                <a:gd name="connsiteY78" fmla="*/ 2996089 h 3114675"/>
                <a:gd name="connsiteX79" fmla="*/ 1893968 w 2076450"/>
                <a:gd name="connsiteY79" fmla="*/ 3009424 h 3114675"/>
                <a:gd name="connsiteX80" fmla="*/ 1888253 w 2076450"/>
                <a:gd name="connsiteY80" fmla="*/ 2944654 h 3114675"/>
                <a:gd name="connsiteX81" fmla="*/ 1964453 w 2076450"/>
                <a:gd name="connsiteY81" fmla="*/ 2947511 h 3114675"/>
                <a:gd name="connsiteX82" fmla="*/ 1948260 w 2076450"/>
                <a:gd name="connsiteY82" fmla="*/ 2913221 h 3114675"/>
                <a:gd name="connsiteX83" fmla="*/ 1843485 w 2076450"/>
                <a:gd name="connsiteY83" fmla="*/ 2853214 h 3114675"/>
                <a:gd name="connsiteX84" fmla="*/ 1883490 w 2076450"/>
                <a:gd name="connsiteY84" fmla="*/ 2818924 h 3114675"/>
                <a:gd name="connsiteX85" fmla="*/ 1909208 w 2076450"/>
                <a:gd name="connsiteY85" fmla="*/ 2790349 h 3114675"/>
                <a:gd name="connsiteX86" fmla="*/ 2032080 w 2076450"/>
                <a:gd name="connsiteY86" fmla="*/ 2757964 h 3114675"/>
                <a:gd name="connsiteX87" fmla="*/ 2036843 w 2076450"/>
                <a:gd name="connsiteY87" fmla="*/ 2711291 h 3114675"/>
                <a:gd name="connsiteX88" fmla="*/ 2008268 w 2076450"/>
                <a:gd name="connsiteY88" fmla="*/ 2670334 h 3114675"/>
                <a:gd name="connsiteX89" fmla="*/ 1943498 w 2076450"/>
                <a:gd name="connsiteY89" fmla="*/ 2645569 h 3114675"/>
                <a:gd name="connsiteX90" fmla="*/ 1793003 w 2076450"/>
                <a:gd name="connsiteY90" fmla="*/ 2651284 h 3114675"/>
                <a:gd name="connsiteX91" fmla="*/ 1497728 w 2076450"/>
                <a:gd name="connsiteY91" fmla="*/ 2538889 h 3114675"/>
                <a:gd name="connsiteX92" fmla="*/ 1592025 w 2076450"/>
                <a:gd name="connsiteY92" fmla="*/ 2535079 h 3114675"/>
                <a:gd name="connsiteX93" fmla="*/ 1824435 w 2076450"/>
                <a:gd name="connsiteY93" fmla="*/ 2566511 h 3114675"/>
                <a:gd name="connsiteX94" fmla="*/ 1938735 w 2076450"/>
                <a:gd name="connsiteY94" fmla="*/ 2449354 h 3114675"/>
                <a:gd name="connsiteX95" fmla="*/ 2000648 w 2076450"/>
                <a:gd name="connsiteY95" fmla="*/ 2416969 h 3114675"/>
                <a:gd name="connsiteX96" fmla="*/ 1993028 w 2076450"/>
                <a:gd name="connsiteY96" fmla="*/ 2387441 h 3114675"/>
                <a:gd name="connsiteX97" fmla="*/ 1549163 w 2076450"/>
                <a:gd name="connsiteY97" fmla="*/ 2328386 h 3114675"/>
                <a:gd name="connsiteX98" fmla="*/ 1554878 w 2076450"/>
                <a:gd name="connsiteY98" fmla="*/ 2282666 h 3114675"/>
                <a:gd name="connsiteX99" fmla="*/ 1823483 w 2076450"/>
                <a:gd name="connsiteY99" fmla="*/ 2291239 h 3114675"/>
                <a:gd name="connsiteX100" fmla="*/ 1994933 w 2076450"/>
                <a:gd name="connsiteY100" fmla="*/ 2158841 h 3114675"/>
                <a:gd name="connsiteX101" fmla="*/ 2013983 w 2076450"/>
                <a:gd name="connsiteY101" fmla="*/ 2124551 h 3114675"/>
                <a:gd name="connsiteX102" fmla="*/ 1699658 w 2076450"/>
                <a:gd name="connsiteY102" fmla="*/ 2061686 h 3114675"/>
                <a:gd name="connsiteX103" fmla="*/ 1808243 w 2076450"/>
                <a:gd name="connsiteY103" fmla="*/ 2027396 h 3114675"/>
                <a:gd name="connsiteX104" fmla="*/ 1836818 w 2076450"/>
                <a:gd name="connsiteY104" fmla="*/ 2000726 h 3114675"/>
                <a:gd name="connsiteX105" fmla="*/ 1875870 w 2076450"/>
                <a:gd name="connsiteY105" fmla="*/ 1935004 h 3114675"/>
                <a:gd name="connsiteX106" fmla="*/ 1600598 w 2076450"/>
                <a:gd name="connsiteY106" fmla="*/ 1869281 h 3114675"/>
                <a:gd name="connsiteX107" fmla="*/ 1823483 w 2076450"/>
                <a:gd name="connsiteY107" fmla="*/ 1737836 h 3114675"/>
                <a:gd name="connsiteX108" fmla="*/ 1592025 w 2076450"/>
                <a:gd name="connsiteY108" fmla="*/ 1729264 h 3114675"/>
                <a:gd name="connsiteX109" fmla="*/ 1639650 w 2076450"/>
                <a:gd name="connsiteY109" fmla="*/ 1693069 h 3114675"/>
                <a:gd name="connsiteX110" fmla="*/ 1648223 w 2076450"/>
                <a:gd name="connsiteY110" fmla="*/ 1652111 h 3114675"/>
                <a:gd name="connsiteX111" fmla="*/ 1437720 w 2076450"/>
                <a:gd name="connsiteY111" fmla="*/ 1613059 h 3114675"/>
                <a:gd name="connsiteX112" fmla="*/ 1519635 w 2076450"/>
                <a:gd name="connsiteY112" fmla="*/ 1556861 h 3114675"/>
                <a:gd name="connsiteX113" fmla="*/ 1697753 w 2076450"/>
                <a:gd name="connsiteY113" fmla="*/ 1459706 h 3114675"/>
                <a:gd name="connsiteX114" fmla="*/ 1539638 w 2076450"/>
                <a:gd name="connsiteY114" fmla="*/ 1435894 h 3114675"/>
                <a:gd name="connsiteX115" fmla="*/ 1520588 w 2076450"/>
                <a:gd name="connsiteY115" fmla="*/ 1388269 h 3114675"/>
                <a:gd name="connsiteX116" fmla="*/ 1282463 w 2076450"/>
                <a:gd name="connsiteY116" fmla="*/ 1360646 h 3114675"/>
                <a:gd name="connsiteX117" fmla="*/ 1568213 w 2076450"/>
                <a:gd name="connsiteY117" fmla="*/ 1328261 h 3114675"/>
                <a:gd name="connsiteX118" fmla="*/ 1593930 w 2076450"/>
                <a:gd name="connsiteY118" fmla="*/ 1209199 h 3114675"/>
                <a:gd name="connsiteX119" fmla="*/ 1440578 w 2076450"/>
                <a:gd name="connsiteY119" fmla="*/ 1151096 h 3114675"/>
                <a:gd name="connsiteX120" fmla="*/ 1127205 w 2076450"/>
                <a:gd name="connsiteY120" fmla="*/ 1094899 h 3114675"/>
                <a:gd name="connsiteX121" fmla="*/ 1310085 w 2076450"/>
                <a:gd name="connsiteY121" fmla="*/ 1109186 h 3114675"/>
                <a:gd name="connsiteX122" fmla="*/ 1406288 w 2076450"/>
                <a:gd name="connsiteY122" fmla="*/ 1094899 h 3114675"/>
                <a:gd name="connsiteX123" fmla="*/ 1508205 w 2076450"/>
                <a:gd name="connsiteY123" fmla="*/ 1040606 h 3114675"/>
                <a:gd name="connsiteX124" fmla="*/ 1532018 w 2076450"/>
                <a:gd name="connsiteY124" fmla="*/ 969169 h 3114675"/>
                <a:gd name="connsiteX125" fmla="*/ 1421528 w 2076450"/>
                <a:gd name="connsiteY125" fmla="*/ 938689 h 3114675"/>
                <a:gd name="connsiteX126" fmla="*/ 1154828 w 2076450"/>
                <a:gd name="connsiteY126" fmla="*/ 903446 h 3114675"/>
                <a:gd name="connsiteX127" fmla="*/ 1304370 w 2076450"/>
                <a:gd name="connsiteY127" fmla="*/ 884396 h 3114675"/>
                <a:gd name="connsiteX128" fmla="*/ 1351995 w 2076450"/>
                <a:gd name="connsiteY128" fmla="*/ 868204 h 3114675"/>
                <a:gd name="connsiteX129" fmla="*/ 1480583 w 2076450"/>
                <a:gd name="connsiteY129" fmla="*/ 832009 h 3114675"/>
                <a:gd name="connsiteX130" fmla="*/ 1363425 w 2076450"/>
                <a:gd name="connsiteY130" fmla="*/ 798671 h 3114675"/>
                <a:gd name="connsiteX131" fmla="*/ 1131015 w 2076450"/>
                <a:gd name="connsiteY131" fmla="*/ 755809 h 3114675"/>
                <a:gd name="connsiteX132" fmla="*/ 1019573 w 2076450"/>
                <a:gd name="connsiteY132" fmla="*/ 655796 h 3114675"/>
                <a:gd name="connsiteX133" fmla="*/ 1088153 w 2076450"/>
                <a:gd name="connsiteY133" fmla="*/ 673894 h 3114675"/>
                <a:gd name="connsiteX134" fmla="*/ 1244363 w 2076450"/>
                <a:gd name="connsiteY134" fmla="*/ 727234 h 3114675"/>
                <a:gd name="connsiteX135" fmla="*/ 1389143 w 2076450"/>
                <a:gd name="connsiteY135" fmla="*/ 667226 h 3114675"/>
                <a:gd name="connsiteX136" fmla="*/ 1174830 w 2076450"/>
                <a:gd name="connsiteY136" fmla="*/ 590074 h 3114675"/>
                <a:gd name="connsiteX137" fmla="*/ 1180545 w 2076450"/>
                <a:gd name="connsiteY137" fmla="*/ 513874 h 3114675"/>
                <a:gd name="connsiteX138" fmla="*/ 1228170 w 2076450"/>
                <a:gd name="connsiteY138" fmla="*/ 415766 h 3114675"/>
                <a:gd name="connsiteX139" fmla="*/ 1251983 w 2076450"/>
                <a:gd name="connsiteY139" fmla="*/ 298609 h 3114675"/>
                <a:gd name="connsiteX140" fmla="*/ 1035765 w 2076450"/>
                <a:gd name="connsiteY140" fmla="*/ 451009 h 3114675"/>
                <a:gd name="connsiteX141" fmla="*/ 1058625 w 2076450"/>
                <a:gd name="connsiteY141" fmla="*/ 322421 h 3114675"/>
                <a:gd name="connsiteX142" fmla="*/ 1052910 w 2076450"/>
                <a:gd name="connsiteY142" fmla="*/ 251936 h 3114675"/>
                <a:gd name="connsiteX143" fmla="*/ 1112918 w 2076450"/>
                <a:gd name="connsiteY143" fmla="*/ 211931 h 3114675"/>
                <a:gd name="connsiteX144" fmla="*/ 1064340 w 2076450"/>
                <a:gd name="connsiteY144" fmla="*/ 185261 h 3114675"/>
                <a:gd name="connsiteX145" fmla="*/ 991950 w 2076450"/>
                <a:gd name="connsiteY145" fmla="*/ 191929 h 3114675"/>
                <a:gd name="connsiteX146" fmla="*/ 996713 w 2076450"/>
                <a:gd name="connsiteY146" fmla="*/ 111919 h 3114675"/>
                <a:gd name="connsiteX147" fmla="*/ 949088 w 2076450"/>
                <a:gd name="connsiteY147" fmla="*/ 7144 h 3114675"/>
                <a:gd name="connsiteX148" fmla="*/ 949088 w 2076450"/>
                <a:gd name="connsiteY148" fmla="*/ 7144 h 3114675"/>
                <a:gd name="connsiteX149" fmla="*/ 949088 w 2076450"/>
                <a:gd name="connsiteY149" fmla="*/ 7144 h 3114675"/>
                <a:gd name="connsiteX150" fmla="*/ 886223 w 2076450"/>
                <a:gd name="connsiteY150" fmla="*/ 287179 h 3114675"/>
                <a:gd name="connsiteX151" fmla="*/ 908130 w 2076450"/>
                <a:gd name="connsiteY151" fmla="*/ 327184 h 3114675"/>
                <a:gd name="connsiteX152" fmla="*/ 886223 w 2076450"/>
                <a:gd name="connsiteY152" fmla="*/ 287179 h 3114675"/>
                <a:gd name="connsiteX153" fmla="*/ 863363 w 2076450"/>
                <a:gd name="connsiteY153" fmla="*/ 404336 h 3114675"/>
                <a:gd name="connsiteX154" fmla="*/ 876698 w 2076450"/>
                <a:gd name="connsiteY154" fmla="*/ 435769 h 3114675"/>
                <a:gd name="connsiteX155" fmla="*/ 863363 w 2076450"/>
                <a:gd name="connsiteY155" fmla="*/ 404336 h 3114675"/>
                <a:gd name="connsiteX156" fmla="*/ 1116728 w 2076450"/>
                <a:gd name="connsiteY156" fmla="*/ 470059 h 3114675"/>
                <a:gd name="connsiteX157" fmla="*/ 1066245 w 2076450"/>
                <a:gd name="connsiteY157" fmla="*/ 511016 h 3114675"/>
                <a:gd name="connsiteX158" fmla="*/ 1116728 w 2076450"/>
                <a:gd name="connsiteY158" fmla="*/ 470059 h 3114675"/>
                <a:gd name="connsiteX159" fmla="*/ 1009095 w 2076450"/>
                <a:gd name="connsiteY159" fmla="*/ 584359 h 3114675"/>
                <a:gd name="connsiteX160" fmla="*/ 1029098 w 2076450"/>
                <a:gd name="connsiteY160" fmla="*/ 599599 h 3114675"/>
                <a:gd name="connsiteX161" fmla="*/ 1009095 w 2076450"/>
                <a:gd name="connsiteY161" fmla="*/ 584359 h 3114675"/>
                <a:gd name="connsiteX162" fmla="*/ 1009095 w 2076450"/>
                <a:gd name="connsiteY162" fmla="*/ 584359 h 3114675"/>
                <a:gd name="connsiteX163" fmla="*/ 1111013 w 2076450"/>
                <a:gd name="connsiteY163" fmla="*/ 603409 h 3114675"/>
                <a:gd name="connsiteX164" fmla="*/ 1111013 w 2076450"/>
                <a:gd name="connsiteY164" fmla="*/ 603409 h 3114675"/>
                <a:gd name="connsiteX165" fmla="*/ 1251030 w 2076450"/>
                <a:gd name="connsiteY165" fmla="*/ 632936 h 3114675"/>
                <a:gd name="connsiteX166" fmla="*/ 1251030 w 2076450"/>
                <a:gd name="connsiteY166" fmla="*/ 632936 h 3114675"/>
                <a:gd name="connsiteX167" fmla="*/ 1032908 w 2076450"/>
                <a:gd name="connsiteY167" fmla="*/ 760571 h 3114675"/>
                <a:gd name="connsiteX168" fmla="*/ 1028145 w 2076450"/>
                <a:gd name="connsiteY168" fmla="*/ 780574 h 3114675"/>
                <a:gd name="connsiteX169" fmla="*/ 1032908 w 2076450"/>
                <a:gd name="connsiteY169" fmla="*/ 760571 h 3114675"/>
                <a:gd name="connsiteX170" fmla="*/ 1032908 w 2076450"/>
                <a:gd name="connsiteY170" fmla="*/ 760571 h 3114675"/>
                <a:gd name="connsiteX171" fmla="*/ 961470 w 2076450"/>
                <a:gd name="connsiteY171" fmla="*/ 867251 h 3114675"/>
                <a:gd name="connsiteX172" fmla="*/ 961470 w 2076450"/>
                <a:gd name="connsiteY172" fmla="*/ 867251 h 3114675"/>
                <a:gd name="connsiteX173" fmla="*/ 1036718 w 2076450"/>
                <a:gd name="connsiteY173" fmla="*/ 884396 h 3114675"/>
                <a:gd name="connsiteX174" fmla="*/ 1036718 w 2076450"/>
                <a:gd name="connsiteY174" fmla="*/ 884396 h 3114675"/>
                <a:gd name="connsiteX175" fmla="*/ 921465 w 2076450"/>
                <a:gd name="connsiteY175" fmla="*/ 888206 h 3114675"/>
                <a:gd name="connsiteX176" fmla="*/ 921465 w 2076450"/>
                <a:gd name="connsiteY176" fmla="*/ 888206 h 3114675"/>
                <a:gd name="connsiteX177" fmla="*/ 874793 w 2076450"/>
                <a:gd name="connsiteY177" fmla="*/ 904399 h 3114675"/>
                <a:gd name="connsiteX178" fmla="*/ 874793 w 2076450"/>
                <a:gd name="connsiteY178" fmla="*/ 904399 h 3114675"/>
                <a:gd name="connsiteX179" fmla="*/ 681435 w 2076450"/>
                <a:gd name="connsiteY179" fmla="*/ 904399 h 3114675"/>
                <a:gd name="connsiteX180" fmla="*/ 777638 w 2076450"/>
                <a:gd name="connsiteY180" fmla="*/ 946309 h 3114675"/>
                <a:gd name="connsiteX181" fmla="*/ 681435 w 2076450"/>
                <a:gd name="connsiteY181" fmla="*/ 904399 h 3114675"/>
                <a:gd name="connsiteX182" fmla="*/ 1532970 w 2076450"/>
                <a:gd name="connsiteY182" fmla="*/ 1327309 h 3114675"/>
                <a:gd name="connsiteX183" fmla="*/ 1532970 w 2076450"/>
                <a:gd name="connsiteY183" fmla="*/ 1327309 h 3114675"/>
                <a:gd name="connsiteX184" fmla="*/ 757635 w 2076450"/>
                <a:gd name="connsiteY184" fmla="*/ 1423511 h 3114675"/>
                <a:gd name="connsiteX185" fmla="*/ 757635 w 2076450"/>
                <a:gd name="connsiteY185" fmla="*/ 1423511 h 3114675"/>
                <a:gd name="connsiteX186" fmla="*/ 1558688 w 2076450"/>
                <a:gd name="connsiteY186" fmla="*/ 1764506 h 3114675"/>
                <a:gd name="connsiteX187" fmla="*/ 1558688 w 2076450"/>
                <a:gd name="connsiteY187" fmla="*/ 1764506 h 3114675"/>
                <a:gd name="connsiteX188" fmla="*/ 1766333 w 2076450"/>
                <a:gd name="connsiteY188" fmla="*/ 1807369 h 3114675"/>
                <a:gd name="connsiteX189" fmla="*/ 1766333 w 2076450"/>
                <a:gd name="connsiteY189" fmla="*/ 1807369 h 3114675"/>
                <a:gd name="connsiteX190" fmla="*/ 1769190 w 2076450"/>
                <a:gd name="connsiteY190" fmla="*/ 2006441 h 3114675"/>
                <a:gd name="connsiteX191" fmla="*/ 1769190 w 2076450"/>
                <a:gd name="connsiteY191" fmla="*/ 2006441 h 3114675"/>
                <a:gd name="connsiteX192" fmla="*/ 151845 w 2076450"/>
                <a:gd name="connsiteY192" fmla="*/ 2329339 h 3114675"/>
                <a:gd name="connsiteX193" fmla="*/ 151845 w 2076450"/>
                <a:gd name="connsiteY193" fmla="*/ 2329339 h 3114675"/>
                <a:gd name="connsiteX194" fmla="*/ 301388 w 2076450"/>
                <a:gd name="connsiteY194" fmla="*/ 2397919 h 3114675"/>
                <a:gd name="connsiteX195" fmla="*/ 469028 w 2076450"/>
                <a:gd name="connsiteY195" fmla="*/ 2426494 h 3114675"/>
                <a:gd name="connsiteX196" fmla="*/ 301388 w 2076450"/>
                <a:gd name="connsiteY196" fmla="*/ 2397919 h 3114675"/>
                <a:gd name="connsiteX197" fmla="*/ 517605 w 2076450"/>
                <a:gd name="connsiteY197" fmla="*/ 2406491 h 3114675"/>
                <a:gd name="connsiteX198" fmla="*/ 517605 w 2076450"/>
                <a:gd name="connsiteY198" fmla="*/ 2406491 h 3114675"/>
                <a:gd name="connsiteX199" fmla="*/ 423308 w 2076450"/>
                <a:gd name="connsiteY199" fmla="*/ 2736056 h 3114675"/>
                <a:gd name="connsiteX200" fmla="*/ 423308 w 2076450"/>
                <a:gd name="connsiteY200" fmla="*/ 2736056 h 3114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</a:cxnLst>
              <a:rect l="l" t="t" r="r" b="b"/>
              <a:pathLst>
                <a:path w="2076450" h="3114675">
                  <a:moveTo>
                    <a:pt x="949088" y="7144"/>
                  </a:moveTo>
                  <a:cubicBezTo>
                    <a:pt x="938610" y="62389"/>
                    <a:pt x="972900" y="200501"/>
                    <a:pt x="883365" y="105251"/>
                  </a:cubicBezTo>
                  <a:cubicBezTo>
                    <a:pt x="870983" y="105251"/>
                    <a:pt x="992903" y="314801"/>
                    <a:pt x="909083" y="238601"/>
                  </a:cubicBezTo>
                  <a:cubicBezTo>
                    <a:pt x="898605" y="171926"/>
                    <a:pt x="863363" y="174784"/>
                    <a:pt x="833835" y="193834"/>
                  </a:cubicBezTo>
                  <a:cubicBezTo>
                    <a:pt x="732870" y="154781"/>
                    <a:pt x="858600" y="285274"/>
                    <a:pt x="817643" y="301466"/>
                  </a:cubicBezTo>
                  <a:cubicBezTo>
                    <a:pt x="895748" y="301466"/>
                    <a:pt x="870030" y="356711"/>
                    <a:pt x="810023" y="328136"/>
                  </a:cubicBezTo>
                  <a:cubicBezTo>
                    <a:pt x="906225" y="459581"/>
                    <a:pt x="686198" y="348139"/>
                    <a:pt x="684293" y="381476"/>
                  </a:cubicBezTo>
                  <a:cubicBezTo>
                    <a:pt x="777638" y="421481"/>
                    <a:pt x="622380" y="411004"/>
                    <a:pt x="703343" y="451009"/>
                  </a:cubicBezTo>
                  <a:cubicBezTo>
                    <a:pt x="833835" y="496729"/>
                    <a:pt x="615713" y="505301"/>
                    <a:pt x="714773" y="539591"/>
                  </a:cubicBezTo>
                  <a:cubicBezTo>
                    <a:pt x="761445" y="555784"/>
                    <a:pt x="860505" y="517684"/>
                    <a:pt x="828120" y="573881"/>
                  </a:cubicBezTo>
                  <a:cubicBezTo>
                    <a:pt x="890033" y="568166"/>
                    <a:pt x="887175" y="616744"/>
                    <a:pt x="947183" y="577691"/>
                  </a:cubicBezTo>
                  <a:cubicBezTo>
                    <a:pt x="977663" y="712946"/>
                    <a:pt x="680483" y="534829"/>
                    <a:pt x="731918" y="618649"/>
                  </a:cubicBezTo>
                  <a:cubicBezTo>
                    <a:pt x="670005" y="621506"/>
                    <a:pt x="575708" y="525304"/>
                    <a:pt x="530940" y="601504"/>
                  </a:cubicBezTo>
                  <a:cubicBezTo>
                    <a:pt x="396638" y="611981"/>
                    <a:pt x="563325" y="655796"/>
                    <a:pt x="597615" y="649129"/>
                  </a:cubicBezTo>
                  <a:cubicBezTo>
                    <a:pt x="487125" y="737711"/>
                    <a:pt x="741443" y="614839"/>
                    <a:pt x="629048" y="688181"/>
                  </a:cubicBezTo>
                  <a:cubicBezTo>
                    <a:pt x="648098" y="779621"/>
                    <a:pt x="834788" y="621506"/>
                    <a:pt x="714773" y="728186"/>
                  </a:cubicBezTo>
                  <a:cubicBezTo>
                    <a:pt x="762398" y="785336"/>
                    <a:pt x="937658" y="659606"/>
                    <a:pt x="947183" y="689134"/>
                  </a:cubicBezTo>
                  <a:cubicBezTo>
                    <a:pt x="884318" y="784384"/>
                    <a:pt x="764303" y="785336"/>
                    <a:pt x="674768" y="758666"/>
                  </a:cubicBezTo>
                  <a:cubicBezTo>
                    <a:pt x="734775" y="821531"/>
                    <a:pt x="570945" y="739616"/>
                    <a:pt x="528083" y="788194"/>
                  </a:cubicBezTo>
                  <a:cubicBezTo>
                    <a:pt x="468075" y="789146"/>
                    <a:pt x="536655" y="836771"/>
                    <a:pt x="530940" y="846296"/>
                  </a:cubicBezTo>
                  <a:cubicBezTo>
                    <a:pt x="598568" y="865346"/>
                    <a:pt x="709058" y="934879"/>
                    <a:pt x="569040" y="912971"/>
                  </a:cubicBezTo>
                  <a:cubicBezTo>
                    <a:pt x="508080" y="912019"/>
                    <a:pt x="602378" y="1022509"/>
                    <a:pt x="502365" y="958691"/>
                  </a:cubicBezTo>
                  <a:cubicBezTo>
                    <a:pt x="451883" y="931069"/>
                    <a:pt x="479505" y="1007269"/>
                    <a:pt x="409973" y="972979"/>
                  </a:cubicBezTo>
                  <a:cubicBezTo>
                    <a:pt x="347108" y="988219"/>
                    <a:pt x="509985" y="1057751"/>
                    <a:pt x="547133" y="1067276"/>
                  </a:cubicBezTo>
                  <a:cubicBezTo>
                    <a:pt x="619523" y="1065371"/>
                    <a:pt x="693818" y="1189196"/>
                    <a:pt x="730013" y="1155859"/>
                  </a:cubicBezTo>
                  <a:cubicBezTo>
                    <a:pt x="636668" y="1233964"/>
                    <a:pt x="512843" y="1162526"/>
                    <a:pt x="409020" y="1204436"/>
                  </a:cubicBezTo>
                  <a:cubicBezTo>
                    <a:pt x="366158" y="1237774"/>
                    <a:pt x="517605" y="1304449"/>
                    <a:pt x="530940" y="1310164"/>
                  </a:cubicBezTo>
                  <a:cubicBezTo>
                    <a:pt x="681435" y="1376839"/>
                    <a:pt x="344250" y="1305401"/>
                    <a:pt x="366158" y="1365409"/>
                  </a:cubicBezTo>
                  <a:cubicBezTo>
                    <a:pt x="458550" y="1420654"/>
                    <a:pt x="541418" y="1491139"/>
                    <a:pt x="637620" y="1413034"/>
                  </a:cubicBezTo>
                  <a:cubicBezTo>
                    <a:pt x="670005" y="1436846"/>
                    <a:pt x="579518" y="1429226"/>
                    <a:pt x="617618" y="1487329"/>
                  </a:cubicBezTo>
                  <a:cubicBezTo>
                    <a:pt x="522368" y="1531144"/>
                    <a:pt x="340440" y="1537811"/>
                    <a:pt x="286148" y="1588294"/>
                  </a:cubicBezTo>
                  <a:cubicBezTo>
                    <a:pt x="365205" y="1664494"/>
                    <a:pt x="451883" y="1673066"/>
                    <a:pt x="550943" y="1688306"/>
                  </a:cubicBezTo>
                  <a:cubicBezTo>
                    <a:pt x="602378" y="1669256"/>
                    <a:pt x="582375" y="1654016"/>
                    <a:pt x="627143" y="1666399"/>
                  </a:cubicBezTo>
                  <a:cubicBezTo>
                    <a:pt x="664290" y="1686401"/>
                    <a:pt x="692865" y="1613059"/>
                    <a:pt x="734775" y="1662589"/>
                  </a:cubicBezTo>
                  <a:cubicBezTo>
                    <a:pt x="690008" y="1710214"/>
                    <a:pt x="452835" y="1702594"/>
                    <a:pt x="604283" y="1759744"/>
                  </a:cubicBezTo>
                  <a:cubicBezTo>
                    <a:pt x="479505" y="1794986"/>
                    <a:pt x="344250" y="1767364"/>
                    <a:pt x="217568" y="1794986"/>
                  </a:cubicBezTo>
                  <a:cubicBezTo>
                    <a:pt x="143273" y="1828324"/>
                    <a:pt x="304245" y="1820704"/>
                    <a:pt x="214710" y="1862614"/>
                  </a:cubicBezTo>
                  <a:cubicBezTo>
                    <a:pt x="175658" y="1910239"/>
                    <a:pt x="361395" y="1859756"/>
                    <a:pt x="335678" y="1914049"/>
                  </a:cubicBezTo>
                  <a:cubicBezTo>
                    <a:pt x="396638" y="1903571"/>
                    <a:pt x="425213" y="1929289"/>
                    <a:pt x="472838" y="1916906"/>
                  </a:cubicBezTo>
                  <a:cubicBezTo>
                    <a:pt x="469028" y="1982629"/>
                    <a:pt x="542370" y="1894999"/>
                    <a:pt x="553800" y="1953101"/>
                  </a:cubicBezTo>
                  <a:cubicBezTo>
                    <a:pt x="615713" y="1943576"/>
                    <a:pt x="709058" y="1981676"/>
                    <a:pt x="602378" y="2004536"/>
                  </a:cubicBezTo>
                  <a:cubicBezTo>
                    <a:pt x="489030" y="2033111"/>
                    <a:pt x="378540" y="2021681"/>
                    <a:pt x="275670" y="2024539"/>
                  </a:cubicBezTo>
                  <a:cubicBezTo>
                    <a:pt x="208995" y="2001679"/>
                    <a:pt x="117555" y="2018824"/>
                    <a:pt x="236618" y="2049304"/>
                  </a:cubicBezTo>
                  <a:cubicBezTo>
                    <a:pt x="332820" y="2060734"/>
                    <a:pt x="145178" y="2068354"/>
                    <a:pt x="262335" y="2092166"/>
                  </a:cubicBezTo>
                  <a:cubicBezTo>
                    <a:pt x="280433" y="2148364"/>
                    <a:pt x="381398" y="2103596"/>
                    <a:pt x="420450" y="2151221"/>
                  </a:cubicBezTo>
                  <a:cubicBezTo>
                    <a:pt x="509033" y="2108359"/>
                    <a:pt x="390923" y="2195036"/>
                    <a:pt x="480458" y="2174081"/>
                  </a:cubicBezTo>
                  <a:cubicBezTo>
                    <a:pt x="575708" y="2192179"/>
                    <a:pt x="324248" y="2267426"/>
                    <a:pt x="269955" y="2228374"/>
                  </a:cubicBezTo>
                  <a:cubicBezTo>
                    <a:pt x="213758" y="2232184"/>
                    <a:pt x="143273" y="2230279"/>
                    <a:pt x="106125" y="2250281"/>
                  </a:cubicBezTo>
                  <a:cubicBezTo>
                    <a:pt x="206138" y="2296001"/>
                    <a:pt x="-65325" y="2235041"/>
                    <a:pt x="45165" y="2290286"/>
                  </a:cubicBezTo>
                  <a:cubicBezTo>
                    <a:pt x="112793" y="2290286"/>
                    <a:pt x="125175" y="2298859"/>
                    <a:pt x="84218" y="2353151"/>
                  </a:cubicBezTo>
                  <a:cubicBezTo>
                    <a:pt x="115650" y="2409349"/>
                    <a:pt x="321390" y="2387441"/>
                    <a:pt x="203280" y="2444591"/>
                  </a:cubicBezTo>
                  <a:cubicBezTo>
                    <a:pt x="147083" y="2440781"/>
                    <a:pt x="65168" y="2474119"/>
                    <a:pt x="172800" y="2478881"/>
                  </a:cubicBezTo>
                  <a:cubicBezTo>
                    <a:pt x="257573" y="2456021"/>
                    <a:pt x="98505" y="2546509"/>
                    <a:pt x="201375" y="2519839"/>
                  </a:cubicBezTo>
                  <a:cubicBezTo>
                    <a:pt x="231855" y="2566511"/>
                    <a:pt x="284243" y="2528411"/>
                    <a:pt x="301388" y="2558891"/>
                  </a:cubicBezTo>
                  <a:cubicBezTo>
                    <a:pt x="372825" y="2593181"/>
                    <a:pt x="107078" y="2573179"/>
                    <a:pt x="76598" y="2589371"/>
                  </a:cubicBezTo>
                  <a:cubicBezTo>
                    <a:pt x="179468" y="2628424"/>
                    <a:pt x="-65325" y="2632234"/>
                    <a:pt x="58500" y="2659856"/>
                  </a:cubicBezTo>
                  <a:cubicBezTo>
                    <a:pt x="100410" y="2649379"/>
                    <a:pt x="183278" y="2635091"/>
                    <a:pt x="110888" y="2693194"/>
                  </a:cubicBezTo>
                  <a:cubicBezTo>
                    <a:pt x="167085" y="2674144"/>
                    <a:pt x="196613" y="2711291"/>
                    <a:pt x="214710" y="2727484"/>
                  </a:cubicBezTo>
                  <a:cubicBezTo>
                    <a:pt x="247095" y="2699861"/>
                    <a:pt x="297578" y="2700814"/>
                    <a:pt x="262335" y="2756059"/>
                  </a:cubicBezTo>
                  <a:cubicBezTo>
                    <a:pt x="318533" y="2733199"/>
                    <a:pt x="387113" y="2651284"/>
                    <a:pt x="358538" y="2733199"/>
                  </a:cubicBezTo>
                  <a:cubicBezTo>
                    <a:pt x="470933" y="2695099"/>
                    <a:pt x="299483" y="2803684"/>
                    <a:pt x="254715" y="2758916"/>
                  </a:cubicBezTo>
                  <a:cubicBezTo>
                    <a:pt x="164228" y="2746534"/>
                    <a:pt x="93743" y="2773204"/>
                    <a:pt x="45165" y="2806541"/>
                  </a:cubicBezTo>
                  <a:cubicBezTo>
                    <a:pt x="161370" y="2800826"/>
                    <a:pt x="-83423" y="2882741"/>
                    <a:pt x="46118" y="2865596"/>
                  </a:cubicBezTo>
                  <a:cubicBezTo>
                    <a:pt x="120413" y="2833211"/>
                    <a:pt x="88028" y="2862739"/>
                    <a:pt x="88980" y="2895124"/>
                  </a:cubicBezTo>
                  <a:cubicBezTo>
                    <a:pt x="132795" y="2875121"/>
                    <a:pt x="93743" y="2942749"/>
                    <a:pt x="155655" y="2902744"/>
                  </a:cubicBezTo>
                  <a:cubicBezTo>
                    <a:pt x="209948" y="2924651"/>
                    <a:pt x="280433" y="2904649"/>
                    <a:pt x="343298" y="2914174"/>
                  </a:cubicBezTo>
                  <a:cubicBezTo>
                    <a:pt x="274718" y="2910364"/>
                    <a:pt x="168038" y="2980849"/>
                    <a:pt x="301388" y="2956084"/>
                  </a:cubicBezTo>
                  <a:cubicBezTo>
                    <a:pt x="209948" y="3007519"/>
                    <a:pt x="314723" y="3013234"/>
                    <a:pt x="361395" y="2980849"/>
                  </a:cubicBezTo>
                  <a:cubicBezTo>
                    <a:pt x="302340" y="3085624"/>
                    <a:pt x="505223" y="3017996"/>
                    <a:pt x="511890" y="3029426"/>
                  </a:cubicBezTo>
                  <a:cubicBezTo>
                    <a:pt x="501413" y="3104674"/>
                    <a:pt x="612855" y="2953226"/>
                    <a:pt x="603330" y="3058001"/>
                  </a:cubicBezTo>
                  <a:cubicBezTo>
                    <a:pt x="692865" y="3028474"/>
                    <a:pt x="764303" y="3011329"/>
                    <a:pt x="825263" y="2954179"/>
                  </a:cubicBezTo>
                  <a:cubicBezTo>
                    <a:pt x="868125" y="3001804"/>
                    <a:pt x="922418" y="2812256"/>
                    <a:pt x="957660" y="2927509"/>
                  </a:cubicBezTo>
                  <a:cubicBezTo>
                    <a:pt x="950993" y="3005614"/>
                    <a:pt x="858600" y="3144679"/>
                    <a:pt x="1013858" y="3102769"/>
                  </a:cubicBezTo>
                  <a:cubicBezTo>
                    <a:pt x="1088153" y="3107531"/>
                    <a:pt x="1167210" y="3117056"/>
                    <a:pt x="1119585" y="3020854"/>
                  </a:cubicBezTo>
                  <a:cubicBezTo>
                    <a:pt x="1095773" y="2920841"/>
                    <a:pt x="1165305" y="2995136"/>
                    <a:pt x="1191975" y="2997041"/>
                  </a:cubicBezTo>
                  <a:cubicBezTo>
                    <a:pt x="1258650" y="3067526"/>
                    <a:pt x="1392953" y="3040856"/>
                    <a:pt x="1468200" y="3026569"/>
                  </a:cubicBezTo>
                  <a:cubicBezTo>
                    <a:pt x="1457723" y="2961799"/>
                    <a:pt x="1529160" y="3010376"/>
                    <a:pt x="1561545" y="3002756"/>
                  </a:cubicBezTo>
                  <a:cubicBezTo>
                    <a:pt x="1593930" y="3038951"/>
                    <a:pt x="1657748" y="3041809"/>
                    <a:pt x="1679655" y="3030379"/>
                  </a:cubicBezTo>
                  <a:cubicBezTo>
                    <a:pt x="1735853" y="3070384"/>
                    <a:pt x="1690133" y="2906554"/>
                    <a:pt x="1748235" y="2996089"/>
                  </a:cubicBezTo>
                  <a:cubicBezTo>
                    <a:pt x="1790145" y="3019901"/>
                    <a:pt x="1871108" y="2994184"/>
                    <a:pt x="1893968" y="3009424"/>
                  </a:cubicBezTo>
                  <a:cubicBezTo>
                    <a:pt x="1889205" y="2959894"/>
                    <a:pt x="1945403" y="2984659"/>
                    <a:pt x="1888253" y="2944654"/>
                  </a:cubicBezTo>
                  <a:cubicBezTo>
                    <a:pt x="1905398" y="2942749"/>
                    <a:pt x="2032080" y="2999899"/>
                    <a:pt x="1964453" y="2947511"/>
                  </a:cubicBezTo>
                  <a:cubicBezTo>
                    <a:pt x="2079705" y="2950369"/>
                    <a:pt x="2036843" y="2899886"/>
                    <a:pt x="1948260" y="2913221"/>
                  </a:cubicBezTo>
                  <a:cubicBezTo>
                    <a:pt x="1883490" y="2907506"/>
                    <a:pt x="1767285" y="2873216"/>
                    <a:pt x="1843485" y="2853214"/>
                  </a:cubicBezTo>
                  <a:cubicBezTo>
                    <a:pt x="1859678" y="2837021"/>
                    <a:pt x="1951118" y="2853214"/>
                    <a:pt x="1883490" y="2818924"/>
                  </a:cubicBezTo>
                  <a:cubicBezTo>
                    <a:pt x="1929210" y="2839879"/>
                    <a:pt x="1994933" y="2790349"/>
                    <a:pt x="1909208" y="2790349"/>
                  </a:cubicBezTo>
                  <a:cubicBezTo>
                    <a:pt x="1962548" y="2784634"/>
                    <a:pt x="1960643" y="2735104"/>
                    <a:pt x="2032080" y="2757964"/>
                  </a:cubicBezTo>
                  <a:cubicBezTo>
                    <a:pt x="1946355" y="2722721"/>
                    <a:pt x="2002553" y="2723674"/>
                    <a:pt x="2036843" y="2711291"/>
                  </a:cubicBezTo>
                  <a:cubicBezTo>
                    <a:pt x="1972073" y="2706529"/>
                    <a:pt x="1884443" y="2674144"/>
                    <a:pt x="2008268" y="2670334"/>
                  </a:cubicBezTo>
                  <a:cubicBezTo>
                    <a:pt x="2132093" y="2620804"/>
                    <a:pt x="1982550" y="2644616"/>
                    <a:pt x="1943498" y="2645569"/>
                  </a:cubicBezTo>
                  <a:cubicBezTo>
                    <a:pt x="2009220" y="2564606"/>
                    <a:pt x="1844438" y="2680811"/>
                    <a:pt x="1793003" y="2651284"/>
                  </a:cubicBezTo>
                  <a:cubicBezTo>
                    <a:pt x="1703468" y="2657951"/>
                    <a:pt x="1501538" y="2570321"/>
                    <a:pt x="1497728" y="2538889"/>
                  </a:cubicBezTo>
                  <a:cubicBezTo>
                    <a:pt x="1528208" y="2533174"/>
                    <a:pt x="1620600" y="2608421"/>
                    <a:pt x="1592025" y="2535079"/>
                  </a:cubicBezTo>
                  <a:cubicBezTo>
                    <a:pt x="1682513" y="2614136"/>
                    <a:pt x="1734900" y="2472214"/>
                    <a:pt x="1824435" y="2566511"/>
                  </a:cubicBezTo>
                  <a:cubicBezTo>
                    <a:pt x="1703468" y="2427446"/>
                    <a:pt x="2134950" y="2525554"/>
                    <a:pt x="1938735" y="2449354"/>
                  </a:cubicBezTo>
                  <a:cubicBezTo>
                    <a:pt x="1915875" y="2436971"/>
                    <a:pt x="2165430" y="2449354"/>
                    <a:pt x="2000648" y="2416969"/>
                  </a:cubicBezTo>
                  <a:cubicBezTo>
                    <a:pt x="1945403" y="2423636"/>
                    <a:pt x="2077800" y="2375059"/>
                    <a:pt x="1993028" y="2387441"/>
                  </a:cubicBezTo>
                  <a:cubicBezTo>
                    <a:pt x="1840628" y="2373154"/>
                    <a:pt x="1705373" y="2382679"/>
                    <a:pt x="1549163" y="2328386"/>
                  </a:cubicBezTo>
                  <a:cubicBezTo>
                    <a:pt x="1451055" y="2308384"/>
                    <a:pt x="1461533" y="2256949"/>
                    <a:pt x="1554878" y="2282666"/>
                  </a:cubicBezTo>
                  <a:cubicBezTo>
                    <a:pt x="1673940" y="2311241"/>
                    <a:pt x="1712040" y="2290286"/>
                    <a:pt x="1823483" y="2291239"/>
                  </a:cubicBezTo>
                  <a:cubicBezTo>
                    <a:pt x="1848248" y="2213134"/>
                    <a:pt x="2103518" y="2260759"/>
                    <a:pt x="1994933" y="2158841"/>
                  </a:cubicBezTo>
                  <a:cubicBezTo>
                    <a:pt x="2052083" y="2127409"/>
                    <a:pt x="2122568" y="2111216"/>
                    <a:pt x="2013983" y="2124551"/>
                  </a:cubicBezTo>
                  <a:cubicBezTo>
                    <a:pt x="1910160" y="2121694"/>
                    <a:pt x="1786335" y="2110264"/>
                    <a:pt x="1699658" y="2061686"/>
                  </a:cubicBezTo>
                  <a:cubicBezTo>
                    <a:pt x="1721565" y="2011204"/>
                    <a:pt x="1873965" y="2095976"/>
                    <a:pt x="1808243" y="2027396"/>
                  </a:cubicBezTo>
                  <a:cubicBezTo>
                    <a:pt x="1845390" y="2033111"/>
                    <a:pt x="1914923" y="2015966"/>
                    <a:pt x="1836818" y="2000726"/>
                  </a:cubicBezTo>
                  <a:cubicBezTo>
                    <a:pt x="1905398" y="1995011"/>
                    <a:pt x="2018745" y="1882616"/>
                    <a:pt x="1875870" y="1935004"/>
                  </a:cubicBezTo>
                  <a:cubicBezTo>
                    <a:pt x="1803480" y="1892141"/>
                    <a:pt x="1605360" y="1962626"/>
                    <a:pt x="1600598" y="1869281"/>
                  </a:cubicBezTo>
                  <a:cubicBezTo>
                    <a:pt x="1705373" y="1889284"/>
                    <a:pt x="1819673" y="1872139"/>
                    <a:pt x="1823483" y="1737836"/>
                  </a:cubicBezTo>
                  <a:cubicBezTo>
                    <a:pt x="1751093" y="1747361"/>
                    <a:pt x="1638698" y="1814036"/>
                    <a:pt x="1592025" y="1729264"/>
                  </a:cubicBezTo>
                  <a:cubicBezTo>
                    <a:pt x="1623458" y="1750219"/>
                    <a:pt x="1690133" y="1734979"/>
                    <a:pt x="1639650" y="1693069"/>
                  </a:cubicBezTo>
                  <a:cubicBezTo>
                    <a:pt x="1694895" y="1704499"/>
                    <a:pt x="1723470" y="1603534"/>
                    <a:pt x="1648223" y="1652111"/>
                  </a:cubicBezTo>
                  <a:cubicBezTo>
                    <a:pt x="1592025" y="1662589"/>
                    <a:pt x="1391048" y="1666399"/>
                    <a:pt x="1437720" y="1613059"/>
                  </a:cubicBezTo>
                  <a:cubicBezTo>
                    <a:pt x="1490108" y="1631156"/>
                    <a:pt x="1612028" y="1607344"/>
                    <a:pt x="1519635" y="1556861"/>
                  </a:cubicBezTo>
                  <a:cubicBezTo>
                    <a:pt x="1584405" y="1579721"/>
                    <a:pt x="1719660" y="1506379"/>
                    <a:pt x="1697753" y="1459706"/>
                  </a:cubicBezTo>
                  <a:cubicBezTo>
                    <a:pt x="1650128" y="1406366"/>
                    <a:pt x="1590120" y="1445419"/>
                    <a:pt x="1539638" y="1435894"/>
                  </a:cubicBezTo>
                  <a:cubicBezTo>
                    <a:pt x="1603455" y="1393984"/>
                    <a:pt x="1538685" y="1420654"/>
                    <a:pt x="1520588" y="1388269"/>
                  </a:cubicBezTo>
                  <a:cubicBezTo>
                    <a:pt x="1471058" y="1479709"/>
                    <a:pt x="1237695" y="1392079"/>
                    <a:pt x="1282463" y="1360646"/>
                  </a:cubicBezTo>
                  <a:cubicBezTo>
                    <a:pt x="1390095" y="1360646"/>
                    <a:pt x="1469153" y="1357789"/>
                    <a:pt x="1568213" y="1328261"/>
                  </a:cubicBezTo>
                  <a:cubicBezTo>
                    <a:pt x="1540590" y="1255871"/>
                    <a:pt x="1746330" y="1225391"/>
                    <a:pt x="1593930" y="1209199"/>
                  </a:cubicBezTo>
                  <a:cubicBezTo>
                    <a:pt x="1560593" y="1139666"/>
                    <a:pt x="1406288" y="1264444"/>
                    <a:pt x="1440578" y="1151096"/>
                  </a:cubicBezTo>
                  <a:cubicBezTo>
                    <a:pt x="1348185" y="1224439"/>
                    <a:pt x="1149113" y="1139666"/>
                    <a:pt x="1127205" y="1094899"/>
                  </a:cubicBezTo>
                  <a:cubicBezTo>
                    <a:pt x="1214835" y="1122521"/>
                    <a:pt x="1236743" y="1092041"/>
                    <a:pt x="1310085" y="1109186"/>
                  </a:cubicBezTo>
                  <a:cubicBezTo>
                    <a:pt x="1300560" y="1078706"/>
                    <a:pt x="1375808" y="1166336"/>
                    <a:pt x="1406288" y="1094899"/>
                  </a:cubicBezTo>
                  <a:cubicBezTo>
                    <a:pt x="1479630" y="1092041"/>
                    <a:pt x="1424385" y="984409"/>
                    <a:pt x="1508205" y="1040606"/>
                  </a:cubicBezTo>
                  <a:cubicBezTo>
                    <a:pt x="1529160" y="993934"/>
                    <a:pt x="1647270" y="970121"/>
                    <a:pt x="1532018" y="969169"/>
                  </a:cubicBezTo>
                  <a:cubicBezTo>
                    <a:pt x="1498680" y="936784"/>
                    <a:pt x="1427243" y="1008221"/>
                    <a:pt x="1421528" y="938689"/>
                  </a:cubicBezTo>
                  <a:cubicBezTo>
                    <a:pt x="1342470" y="1012031"/>
                    <a:pt x="1203405" y="991076"/>
                    <a:pt x="1154828" y="903446"/>
                  </a:cubicBezTo>
                  <a:cubicBezTo>
                    <a:pt x="1199595" y="899636"/>
                    <a:pt x="1305323" y="967264"/>
                    <a:pt x="1304370" y="884396"/>
                  </a:cubicBezTo>
                  <a:cubicBezTo>
                    <a:pt x="1348185" y="928211"/>
                    <a:pt x="1442483" y="914876"/>
                    <a:pt x="1351995" y="868204"/>
                  </a:cubicBezTo>
                  <a:cubicBezTo>
                    <a:pt x="1412003" y="912019"/>
                    <a:pt x="1490108" y="871061"/>
                    <a:pt x="1480583" y="832009"/>
                  </a:cubicBezTo>
                  <a:cubicBezTo>
                    <a:pt x="1625363" y="814864"/>
                    <a:pt x="1407240" y="763429"/>
                    <a:pt x="1363425" y="798671"/>
                  </a:cubicBezTo>
                  <a:cubicBezTo>
                    <a:pt x="1310085" y="684371"/>
                    <a:pt x="1158638" y="849154"/>
                    <a:pt x="1131015" y="755809"/>
                  </a:cubicBezTo>
                  <a:cubicBezTo>
                    <a:pt x="1102440" y="740569"/>
                    <a:pt x="956708" y="677704"/>
                    <a:pt x="1019573" y="655796"/>
                  </a:cubicBezTo>
                  <a:cubicBezTo>
                    <a:pt x="1029098" y="698659"/>
                    <a:pt x="1091963" y="752951"/>
                    <a:pt x="1088153" y="673894"/>
                  </a:cubicBezTo>
                  <a:cubicBezTo>
                    <a:pt x="1124348" y="778669"/>
                    <a:pt x="1187213" y="639604"/>
                    <a:pt x="1244363" y="727234"/>
                  </a:cubicBezTo>
                  <a:cubicBezTo>
                    <a:pt x="1271033" y="670084"/>
                    <a:pt x="1362473" y="748189"/>
                    <a:pt x="1389143" y="667226"/>
                  </a:cubicBezTo>
                  <a:cubicBezTo>
                    <a:pt x="1335803" y="624364"/>
                    <a:pt x="1186260" y="578644"/>
                    <a:pt x="1174830" y="590074"/>
                  </a:cubicBezTo>
                  <a:cubicBezTo>
                    <a:pt x="1230075" y="543401"/>
                    <a:pt x="1273890" y="526256"/>
                    <a:pt x="1180545" y="513874"/>
                  </a:cubicBezTo>
                  <a:cubicBezTo>
                    <a:pt x="1169115" y="479584"/>
                    <a:pt x="1356758" y="462439"/>
                    <a:pt x="1228170" y="415766"/>
                  </a:cubicBezTo>
                  <a:cubicBezTo>
                    <a:pt x="1322468" y="381476"/>
                    <a:pt x="1196738" y="349091"/>
                    <a:pt x="1251983" y="298609"/>
                  </a:cubicBezTo>
                  <a:cubicBezTo>
                    <a:pt x="1150065" y="302419"/>
                    <a:pt x="1100535" y="370046"/>
                    <a:pt x="1035765" y="451009"/>
                  </a:cubicBezTo>
                  <a:cubicBezTo>
                    <a:pt x="960518" y="465296"/>
                    <a:pt x="970995" y="241459"/>
                    <a:pt x="1058625" y="322421"/>
                  </a:cubicBezTo>
                  <a:cubicBezTo>
                    <a:pt x="1152923" y="327184"/>
                    <a:pt x="1126253" y="254794"/>
                    <a:pt x="1052910" y="251936"/>
                  </a:cubicBezTo>
                  <a:cubicBezTo>
                    <a:pt x="1091010" y="247174"/>
                    <a:pt x="1221503" y="242411"/>
                    <a:pt x="1112918" y="211931"/>
                  </a:cubicBezTo>
                  <a:cubicBezTo>
                    <a:pt x="1191023" y="135731"/>
                    <a:pt x="1113870" y="174784"/>
                    <a:pt x="1064340" y="185261"/>
                  </a:cubicBezTo>
                  <a:cubicBezTo>
                    <a:pt x="1030050" y="136684"/>
                    <a:pt x="969090" y="322421"/>
                    <a:pt x="991950" y="191929"/>
                  </a:cubicBezTo>
                  <a:cubicBezTo>
                    <a:pt x="1009095" y="137636"/>
                    <a:pt x="1116728" y="33814"/>
                    <a:pt x="996713" y="111919"/>
                  </a:cubicBezTo>
                  <a:cubicBezTo>
                    <a:pt x="947183" y="118586"/>
                    <a:pt x="1017668" y="24289"/>
                    <a:pt x="949088" y="7144"/>
                  </a:cubicBezTo>
                  <a:lnTo>
                    <a:pt x="949088" y="7144"/>
                  </a:lnTo>
                  <a:lnTo>
                    <a:pt x="949088" y="7144"/>
                  </a:lnTo>
                  <a:close/>
                  <a:moveTo>
                    <a:pt x="886223" y="287179"/>
                  </a:moveTo>
                  <a:cubicBezTo>
                    <a:pt x="950993" y="293846"/>
                    <a:pt x="936705" y="430054"/>
                    <a:pt x="908130" y="327184"/>
                  </a:cubicBezTo>
                  <a:cubicBezTo>
                    <a:pt x="904320" y="313849"/>
                    <a:pt x="879555" y="305276"/>
                    <a:pt x="886223" y="287179"/>
                  </a:cubicBezTo>
                  <a:close/>
                  <a:moveTo>
                    <a:pt x="863363" y="404336"/>
                  </a:moveTo>
                  <a:cubicBezTo>
                    <a:pt x="931943" y="406241"/>
                    <a:pt x="947183" y="504349"/>
                    <a:pt x="876698" y="435769"/>
                  </a:cubicBezTo>
                  <a:cubicBezTo>
                    <a:pt x="877650" y="436721"/>
                    <a:pt x="842408" y="406241"/>
                    <a:pt x="863363" y="404336"/>
                  </a:cubicBezTo>
                  <a:close/>
                  <a:moveTo>
                    <a:pt x="1116728" y="470059"/>
                  </a:moveTo>
                  <a:cubicBezTo>
                    <a:pt x="1142445" y="539591"/>
                    <a:pt x="916703" y="542449"/>
                    <a:pt x="1066245" y="511016"/>
                  </a:cubicBezTo>
                  <a:cubicBezTo>
                    <a:pt x="1087200" y="502444"/>
                    <a:pt x="1096725" y="479584"/>
                    <a:pt x="1116728" y="470059"/>
                  </a:cubicBezTo>
                  <a:close/>
                  <a:moveTo>
                    <a:pt x="1009095" y="584359"/>
                  </a:moveTo>
                  <a:cubicBezTo>
                    <a:pt x="1068150" y="591026"/>
                    <a:pt x="1128158" y="624364"/>
                    <a:pt x="1029098" y="599599"/>
                  </a:cubicBezTo>
                  <a:lnTo>
                    <a:pt x="1009095" y="584359"/>
                  </a:lnTo>
                  <a:lnTo>
                    <a:pt x="1009095" y="584359"/>
                  </a:lnTo>
                  <a:close/>
                  <a:moveTo>
                    <a:pt x="1111013" y="603409"/>
                  </a:moveTo>
                  <a:cubicBezTo>
                    <a:pt x="1179593" y="587216"/>
                    <a:pt x="1100535" y="662464"/>
                    <a:pt x="1111013" y="603409"/>
                  </a:cubicBezTo>
                  <a:close/>
                  <a:moveTo>
                    <a:pt x="1251030" y="632936"/>
                  </a:moveTo>
                  <a:cubicBezTo>
                    <a:pt x="1281510" y="652939"/>
                    <a:pt x="1209120" y="642461"/>
                    <a:pt x="1251030" y="632936"/>
                  </a:cubicBezTo>
                  <a:close/>
                  <a:moveTo>
                    <a:pt x="1032908" y="760571"/>
                  </a:moveTo>
                  <a:cubicBezTo>
                    <a:pt x="1069103" y="813911"/>
                    <a:pt x="1010048" y="875824"/>
                    <a:pt x="1028145" y="780574"/>
                  </a:cubicBezTo>
                  <a:lnTo>
                    <a:pt x="1032908" y="760571"/>
                  </a:lnTo>
                  <a:lnTo>
                    <a:pt x="1032908" y="760571"/>
                  </a:lnTo>
                  <a:close/>
                  <a:moveTo>
                    <a:pt x="961470" y="867251"/>
                  </a:moveTo>
                  <a:cubicBezTo>
                    <a:pt x="989093" y="885349"/>
                    <a:pt x="919560" y="881539"/>
                    <a:pt x="961470" y="867251"/>
                  </a:cubicBezTo>
                  <a:close/>
                  <a:moveTo>
                    <a:pt x="1036718" y="884396"/>
                  </a:moveTo>
                  <a:cubicBezTo>
                    <a:pt x="1052910" y="926306"/>
                    <a:pt x="1022430" y="907256"/>
                    <a:pt x="1036718" y="884396"/>
                  </a:cubicBezTo>
                  <a:close/>
                  <a:moveTo>
                    <a:pt x="921465" y="888206"/>
                  </a:moveTo>
                  <a:cubicBezTo>
                    <a:pt x="952898" y="901541"/>
                    <a:pt x="887175" y="904399"/>
                    <a:pt x="921465" y="888206"/>
                  </a:cubicBezTo>
                  <a:close/>
                  <a:moveTo>
                    <a:pt x="874793" y="904399"/>
                  </a:moveTo>
                  <a:cubicBezTo>
                    <a:pt x="906225" y="917734"/>
                    <a:pt x="840503" y="920591"/>
                    <a:pt x="874793" y="904399"/>
                  </a:cubicBezTo>
                  <a:close/>
                  <a:moveTo>
                    <a:pt x="681435" y="904399"/>
                  </a:moveTo>
                  <a:cubicBezTo>
                    <a:pt x="718583" y="948214"/>
                    <a:pt x="920513" y="896779"/>
                    <a:pt x="777638" y="946309"/>
                  </a:cubicBezTo>
                  <a:cubicBezTo>
                    <a:pt x="745253" y="952976"/>
                    <a:pt x="654765" y="966311"/>
                    <a:pt x="681435" y="904399"/>
                  </a:cubicBezTo>
                  <a:close/>
                  <a:moveTo>
                    <a:pt x="1532970" y="1327309"/>
                  </a:moveTo>
                  <a:cubicBezTo>
                    <a:pt x="1567260" y="1342549"/>
                    <a:pt x="1512015" y="1349216"/>
                    <a:pt x="1532970" y="1327309"/>
                  </a:cubicBezTo>
                  <a:close/>
                  <a:moveTo>
                    <a:pt x="757635" y="1423511"/>
                  </a:moveTo>
                  <a:cubicBezTo>
                    <a:pt x="685245" y="1477804"/>
                    <a:pt x="650003" y="1441609"/>
                    <a:pt x="757635" y="1423511"/>
                  </a:cubicBezTo>
                  <a:close/>
                  <a:moveTo>
                    <a:pt x="1558688" y="1764506"/>
                  </a:moveTo>
                  <a:cubicBezTo>
                    <a:pt x="1654890" y="1774984"/>
                    <a:pt x="1460580" y="1774031"/>
                    <a:pt x="1558688" y="1764506"/>
                  </a:cubicBezTo>
                  <a:close/>
                  <a:moveTo>
                    <a:pt x="1766333" y="1807369"/>
                  </a:moveTo>
                  <a:cubicBezTo>
                    <a:pt x="1818720" y="1806416"/>
                    <a:pt x="1736805" y="1819751"/>
                    <a:pt x="1766333" y="1807369"/>
                  </a:cubicBezTo>
                  <a:close/>
                  <a:moveTo>
                    <a:pt x="1769190" y="2006441"/>
                  </a:moveTo>
                  <a:cubicBezTo>
                    <a:pt x="1833008" y="2002631"/>
                    <a:pt x="1785383" y="2038826"/>
                    <a:pt x="1769190" y="2006441"/>
                  </a:cubicBezTo>
                  <a:close/>
                  <a:moveTo>
                    <a:pt x="151845" y="2329339"/>
                  </a:moveTo>
                  <a:cubicBezTo>
                    <a:pt x="171848" y="2352199"/>
                    <a:pt x="91838" y="2336006"/>
                    <a:pt x="151845" y="2329339"/>
                  </a:cubicBezTo>
                  <a:close/>
                  <a:moveTo>
                    <a:pt x="301388" y="2397919"/>
                  </a:moveTo>
                  <a:cubicBezTo>
                    <a:pt x="343298" y="2445544"/>
                    <a:pt x="410925" y="2404586"/>
                    <a:pt x="469028" y="2426494"/>
                  </a:cubicBezTo>
                  <a:cubicBezTo>
                    <a:pt x="496650" y="2436971"/>
                    <a:pt x="202328" y="2484596"/>
                    <a:pt x="301388" y="2397919"/>
                  </a:cubicBezTo>
                  <a:close/>
                  <a:moveTo>
                    <a:pt x="517605" y="2406491"/>
                  </a:moveTo>
                  <a:cubicBezTo>
                    <a:pt x="548085" y="2420779"/>
                    <a:pt x="455693" y="2415064"/>
                    <a:pt x="517605" y="2406491"/>
                  </a:cubicBezTo>
                  <a:close/>
                  <a:moveTo>
                    <a:pt x="423308" y="2736056"/>
                  </a:moveTo>
                  <a:cubicBezTo>
                    <a:pt x="450930" y="2753201"/>
                    <a:pt x="381398" y="2750344"/>
                    <a:pt x="423308" y="2736056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87755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2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+mn-ea"/>
                <a:cs typeface="+mn-cs"/>
              </a:endParaRPr>
            </a:p>
          </p:txBody>
        </p:sp>
        <p:sp>
          <p:nvSpPr>
            <p:cNvPr id="21" name="Graphic 47">
              <a:extLst>
                <a:ext uri="{FF2B5EF4-FFF2-40B4-BE49-F238E27FC236}">
                  <a16:creationId xmlns:a16="http://schemas.microsoft.com/office/drawing/2014/main" id="{7FF11956-FF81-4699-A488-3E6A584CE68B}"/>
                </a:ext>
              </a:extLst>
            </p:cNvPr>
            <p:cNvSpPr/>
            <p:nvPr userDrawn="1"/>
          </p:nvSpPr>
          <p:spPr>
            <a:xfrm>
              <a:off x="6963671" y="5558883"/>
              <a:ext cx="206693" cy="310040"/>
            </a:xfrm>
            <a:custGeom>
              <a:avLst/>
              <a:gdLst>
                <a:gd name="connsiteX0" fmla="*/ 949088 w 2076450"/>
                <a:gd name="connsiteY0" fmla="*/ 7144 h 3114675"/>
                <a:gd name="connsiteX1" fmla="*/ 883365 w 2076450"/>
                <a:gd name="connsiteY1" fmla="*/ 105251 h 3114675"/>
                <a:gd name="connsiteX2" fmla="*/ 909083 w 2076450"/>
                <a:gd name="connsiteY2" fmla="*/ 238601 h 3114675"/>
                <a:gd name="connsiteX3" fmla="*/ 833835 w 2076450"/>
                <a:gd name="connsiteY3" fmla="*/ 193834 h 3114675"/>
                <a:gd name="connsiteX4" fmla="*/ 817643 w 2076450"/>
                <a:gd name="connsiteY4" fmla="*/ 301466 h 3114675"/>
                <a:gd name="connsiteX5" fmla="*/ 810023 w 2076450"/>
                <a:gd name="connsiteY5" fmla="*/ 328136 h 3114675"/>
                <a:gd name="connsiteX6" fmla="*/ 684293 w 2076450"/>
                <a:gd name="connsiteY6" fmla="*/ 381476 h 3114675"/>
                <a:gd name="connsiteX7" fmla="*/ 703343 w 2076450"/>
                <a:gd name="connsiteY7" fmla="*/ 451009 h 3114675"/>
                <a:gd name="connsiteX8" fmla="*/ 714773 w 2076450"/>
                <a:gd name="connsiteY8" fmla="*/ 539591 h 3114675"/>
                <a:gd name="connsiteX9" fmla="*/ 828120 w 2076450"/>
                <a:gd name="connsiteY9" fmla="*/ 573881 h 3114675"/>
                <a:gd name="connsiteX10" fmla="*/ 947183 w 2076450"/>
                <a:gd name="connsiteY10" fmla="*/ 577691 h 3114675"/>
                <a:gd name="connsiteX11" fmla="*/ 731918 w 2076450"/>
                <a:gd name="connsiteY11" fmla="*/ 618649 h 3114675"/>
                <a:gd name="connsiteX12" fmla="*/ 530940 w 2076450"/>
                <a:gd name="connsiteY12" fmla="*/ 601504 h 3114675"/>
                <a:gd name="connsiteX13" fmla="*/ 597615 w 2076450"/>
                <a:gd name="connsiteY13" fmla="*/ 649129 h 3114675"/>
                <a:gd name="connsiteX14" fmla="*/ 629048 w 2076450"/>
                <a:gd name="connsiteY14" fmla="*/ 688181 h 3114675"/>
                <a:gd name="connsiteX15" fmla="*/ 714773 w 2076450"/>
                <a:gd name="connsiteY15" fmla="*/ 728186 h 3114675"/>
                <a:gd name="connsiteX16" fmla="*/ 947183 w 2076450"/>
                <a:gd name="connsiteY16" fmla="*/ 689134 h 3114675"/>
                <a:gd name="connsiteX17" fmla="*/ 674768 w 2076450"/>
                <a:gd name="connsiteY17" fmla="*/ 758666 h 3114675"/>
                <a:gd name="connsiteX18" fmla="*/ 528083 w 2076450"/>
                <a:gd name="connsiteY18" fmla="*/ 788194 h 3114675"/>
                <a:gd name="connsiteX19" fmla="*/ 530940 w 2076450"/>
                <a:gd name="connsiteY19" fmla="*/ 846296 h 3114675"/>
                <a:gd name="connsiteX20" fmla="*/ 569040 w 2076450"/>
                <a:gd name="connsiteY20" fmla="*/ 912971 h 3114675"/>
                <a:gd name="connsiteX21" fmla="*/ 502365 w 2076450"/>
                <a:gd name="connsiteY21" fmla="*/ 958691 h 3114675"/>
                <a:gd name="connsiteX22" fmla="*/ 409973 w 2076450"/>
                <a:gd name="connsiteY22" fmla="*/ 972979 h 3114675"/>
                <a:gd name="connsiteX23" fmla="*/ 547133 w 2076450"/>
                <a:gd name="connsiteY23" fmla="*/ 1067276 h 3114675"/>
                <a:gd name="connsiteX24" fmla="*/ 730013 w 2076450"/>
                <a:gd name="connsiteY24" fmla="*/ 1155859 h 3114675"/>
                <a:gd name="connsiteX25" fmla="*/ 409020 w 2076450"/>
                <a:gd name="connsiteY25" fmla="*/ 1204436 h 3114675"/>
                <a:gd name="connsiteX26" fmla="*/ 530940 w 2076450"/>
                <a:gd name="connsiteY26" fmla="*/ 1310164 h 3114675"/>
                <a:gd name="connsiteX27" fmla="*/ 366158 w 2076450"/>
                <a:gd name="connsiteY27" fmla="*/ 1365409 h 3114675"/>
                <a:gd name="connsiteX28" fmla="*/ 637620 w 2076450"/>
                <a:gd name="connsiteY28" fmla="*/ 1413034 h 3114675"/>
                <a:gd name="connsiteX29" fmla="*/ 617618 w 2076450"/>
                <a:gd name="connsiteY29" fmla="*/ 1487329 h 3114675"/>
                <a:gd name="connsiteX30" fmla="*/ 286148 w 2076450"/>
                <a:gd name="connsiteY30" fmla="*/ 1588294 h 3114675"/>
                <a:gd name="connsiteX31" fmla="*/ 550943 w 2076450"/>
                <a:gd name="connsiteY31" fmla="*/ 1688306 h 3114675"/>
                <a:gd name="connsiteX32" fmla="*/ 627143 w 2076450"/>
                <a:gd name="connsiteY32" fmla="*/ 1666399 h 3114675"/>
                <a:gd name="connsiteX33" fmla="*/ 734775 w 2076450"/>
                <a:gd name="connsiteY33" fmla="*/ 1662589 h 3114675"/>
                <a:gd name="connsiteX34" fmla="*/ 604283 w 2076450"/>
                <a:gd name="connsiteY34" fmla="*/ 1759744 h 3114675"/>
                <a:gd name="connsiteX35" fmla="*/ 217568 w 2076450"/>
                <a:gd name="connsiteY35" fmla="*/ 1794986 h 3114675"/>
                <a:gd name="connsiteX36" fmla="*/ 214710 w 2076450"/>
                <a:gd name="connsiteY36" fmla="*/ 1862614 h 3114675"/>
                <a:gd name="connsiteX37" fmla="*/ 335678 w 2076450"/>
                <a:gd name="connsiteY37" fmla="*/ 1914049 h 3114675"/>
                <a:gd name="connsiteX38" fmla="*/ 472838 w 2076450"/>
                <a:gd name="connsiteY38" fmla="*/ 1916906 h 3114675"/>
                <a:gd name="connsiteX39" fmla="*/ 553800 w 2076450"/>
                <a:gd name="connsiteY39" fmla="*/ 1953101 h 3114675"/>
                <a:gd name="connsiteX40" fmla="*/ 602378 w 2076450"/>
                <a:gd name="connsiteY40" fmla="*/ 2004536 h 3114675"/>
                <a:gd name="connsiteX41" fmla="*/ 275670 w 2076450"/>
                <a:gd name="connsiteY41" fmla="*/ 2024539 h 3114675"/>
                <a:gd name="connsiteX42" fmla="*/ 236618 w 2076450"/>
                <a:gd name="connsiteY42" fmla="*/ 2049304 h 3114675"/>
                <a:gd name="connsiteX43" fmla="*/ 262335 w 2076450"/>
                <a:gd name="connsiteY43" fmla="*/ 2092166 h 3114675"/>
                <a:gd name="connsiteX44" fmla="*/ 420450 w 2076450"/>
                <a:gd name="connsiteY44" fmla="*/ 2151221 h 3114675"/>
                <a:gd name="connsiteX45" fmla="*/ 480458 w 2076450"/>
                <a:gd name="connsiteY45" fmla="*/ 2174081 h 3114675"/>
                <a:gd name="connsiteX46" fmla="*/ 269955 w 2076450"/>
                <a:gd name="connsiteY46" fmla="*/ 2228374 h 3114675"/>
                <a:gd name="connsiteX47" fmla="*/ 106125 w 2076450"/>
                <a:gd name="connsiteY47" fmla="*/ 2250281 h 3114675"/>
                <a:gd name="connsiteX48" fmla="*/ 45165 w 2076450"/>
                <a:gd name="connsiteY48" fmla="*/ 2290286 h 3114675"/>
                <a:gd name="connsiteX49" fmla="*/ 84218 w 2076450"/>
                <a:gd name="connsiteY49" fmla="*/ 2353151 h 3114675"/>
                <a:gd name="connsiteX50" fmla="*/ 203280 w 2076450"/>
                <a:gd name="connsiteY50" fmla="*/ 2444591 h 3114675"/>
                <a:gd name="connsiteX51" fmla="*/ 172800 w 2076450"/>
                <a:gd name="connsiteY51" fmla="*/ 2478881 h 3114675"/>
                <a:gd name="connsiteX52" fmla="*/ 201375 w 2076450"/>
                <a:gd name="connsiteY52" fmla="*/ 2519839 h 3114675"/>
                <a:gd name="connsiteX53" fmla="*/ 301388 w 2076450"/>
                <a:gd name="connsiteY53" fmla="*/ 2558891 h 3114675"/>
                <a:gd name="connsiteX54" fmla="*/ 76598 w 2076450"/>
                <a:gd name="connsiteY54" fmla="*/ 2589371 h 3114675"/>
                <a:gd name="connsiteX55" fmla="*/ 58500 w 2076450"/>
                <a:gd name="connsiteY55" fmla="*/ 2659856 h 3114675"/>
                <a:gd name="connsiteX56" fmla="*/ 110888 w 2076450"/>
                <a:gd name="connsiteY56" fmla="*/ 2693194 h 3114675"/>
                <a:gd name="connsiteX57" fmla="*/ 214710 w 2076450"/>
                <a:gd name="connsiteY57" fmla="*/ 2727484 h 3114675"/>
                <a:gd name="connsiteX58" fmla="*/ 262335 w 2076450"/>
                <a:gd name="connsiteY58" fmla="*/ 2756059 h 3114675"/>
                <a:gd name="connsiteX59" fmla="*/ 358538 w 2076450"/>
                <a:gd name="connsiteY59" fmla="*/ 2733199 h 3114675"/>
                <a:gd name="connsiteX60" fmla="*/ 254715 w 2076450"/>
                <a:gd name="connsiteY60" fmla="*/ 2758916 h 3114675"/>
                <a:gd name="connsiteX61" fmla="*/ 45165 w 2076450"/>
                <a:gd name="connsiteY61" fmla="*/ 2806541 h 3114675"/>
                <a:gd name="connsiteX62" fmla="*/ 46118 w 2076450"/>
                <a:gd name="connsiteY62" fmla="*/ 2865596 h 3114675"/>
                <a:gd name="connsiteX63" fmla="*/ 88980 w 2076450"/>
                <a:gd name="connsiteY63" fmla="*/ 2895124 h 3114675"/>
                <a:gd name="connsiteX64" fmla="*/ 155655 w 2076450"/>
                <a:gd name="connsiteY64" fmla="*/ 2902744 h 3114675"/>
                <a:gd name="connsiteX65" fmla="*/ 343298 w 2076450"/>
                <a:gd name="connsiteY65" fmla="*/ 2914174 h 3114675"/>
                <a:gd name="connsiteX66" fmla="*/ 301388 w 2076450"/>
                <a:gd name="connsiteY66" fmla="*/ 2956084 h 3114675"/>
                <a:gd name="connsiteX67" fmla="*/ 361395 w 2076450"/>
                <a:gd name="connsiteY67" fmla="*/ 2980849 h 3114675"/>
                <a:gd name="connsiteX68" fmla="*/ 511890 w 2076450"/>
                <a:gd name="connsiteY68" fmla="*/ 3029426 h 3114675"/>
                <a:gd name="connsiteX69" fmla="*/ 603330 w 2076450"/>
                <a:gd name="connsiteY69" fmla="*/ 3058001 h 3114675"/>
                <a:gd name="connsiteX70" fmla="*/ 825263 w 2076450"/>
                <a:gd name="connsiteY70" fmla="*/ 2954179 h 3114675"/>
                <a:gd name="connsiteX71" fmla="*/ 957660 w 2076450"/>
                <a:gd name="connsiteY71" fmla="*/ 2927509 h 3114675"/>
                <a:gd name="connsiteX72" fmla="*/ 1013858 w 2076450"/>
                <a:gd name="connsiteY72" fmla="*/ 3102769 h 3114675"/>
                <a:gd name="connsiteX73" fmla="*/ 1119585 w 2076450"/>
                <a:gd name="connsiteY73" fmla="*/ 3020854 h 3114675"/>
                <a:gd name="connsiteX74" fmla="*/ 1191975 w 2076450"/>
                <a:gd name="connsiteY74" fmla="*/ 2997041 h 3114675"/>
                <a:gd name="connsiteX75" fmla="*/ 1468200 w 2076450"/>
                <a:gd name="connsiteY75" fmla="*/ 3026569 h 3114675"/>
                <a:gd name="connsiteX76" fmla="*/ 1561545 w 2076450"/>
                <a:gd name="connsiteY76" fmla="*/ 3002756 h 3114675"/>
                <a:gd name="connsiteX77" fmla="*/ 1679655 w 2076450"/>
                <a:gd name="connsiteY77" fmla="*/ 3030379 h 3114675"/>
                <a:gd name="connsiteX78" fmla="*/ 1748235 w 2076450"/>
                <a:gd name="connsiteY78" fmla="*/ 2996089 h 3114675"/>
                <a:gd name="connsiteX79" fmla="*/ 1893968 w 2076450"/>
                <a:gd name="connsiteY79" fmla="*/ 3009424 h 3114675"/>
                <a:gd name="connsiteX80" fmla="*/ 1888253 w 2076450"/>
                <a:gd name="connsiteY80" fmla="*/ 2944654 h 3114675"/>
                <a:gd name="connsiteX81" fmla="*/ 1964453 w 2076450"/>
                <a:gd name="connsiteY81" fmla="*/ 2947511 h 3114675"/>
                <a:gd name="connsiteX82" fmla="*/ 1948260 w 2076450"/>
                <a:gd name="connsiteY82" fmla="*/ 2913221 h 3114675"/>
                <a:gd name="connsiteX83" fmla="*/ 1843485 w 2076450"/>
                <a:gd name="connsiteY83" fmla="*/ 2853214 h 3114675"/>
                <a:gd name="connsiteX84" fmla="*/ 1883490 w 2076450"/>
                <a:gd name="connsiteY84" fmla="*/ 2818924 h 3114675"/>
                <a:gd name="connsiteX85" fmla="*/ 1909208 w 2076450"/>
                <a:gd name="connsiteY85" fmla="*/ 2790349 h 3114675"/>
                <a:gd name="connsiteX86" fmla="*/ 2032080 w 2076450"/>
                <a:gd name="connsiteY86" fmla="*/ 2757964 h 3114675"/>
                <a:gd name="connsiteX87" fmla="*/ 2036843 w 2076450"/>
                <a:gd name="connsiteY87" fmla="*/ 2711291 h 3114675"/>
                <a:gd name="connsiteX88" fmla="*/ 2008268 w 2076450"/>
                <a:gd name="connsiteY88" fmla="*/ 2670334 h 3114675"/>
                <a:gd name="connsiteX89" fmla="*/ 1943498 w 2076450"/>
                <a:gd name="connsiteY89" fmla="*/ 2645569 h 3114675"/>
                <a:gd name="connsiteX90" fmla="*/ 1793003 w 2076450"/>
                <a:gd name="connsiteY90" fmla="*/ 2651284 h 3114675"/>
                <a:gd name="connsiteX91" fmla="*/ 1497728 w 2076450"/>
                <a:gd name="connsiteY91" fmla="*/ 2538889 h 3114675"/>
                <a:gd name="connsiteX92" fmla="*/ 1592025 w 2076450"/>
                <a:gd name="connsiteY92" fmla="*/ 2535079 h 3114675"/>
                <a:gd name="connsiteX93" fmla="*/ 1824435 w 2076450"/>
                <a:gd name="connsiteY93" fmla="*/ 2566511 h 3114675"/>
                <a:gd name="connsiteX94" fmla="*/ 1938735 w 2076450"/>
                <a:gd name="connsiteY94" fmla="*/ 2449354 h 3114675"/>
                <a:gd name="connsiteX95" fmla="*/ 2000648 w 2076450"/>
                <a:gd name="connsiteY95" fmla="*/ 2416969 h 3114675"/>
                <a:gd name="connsiteX96" fmla="*/ 1993028 w 2076450"/>
                <a:gd name="connsiteY96" fmla="*/ 2387441 h 3114675"/>
                <a:gd name="connsiteX97" fmla="*/ 1549163 w 2076450"/>
                <a:gd name="connsiteY97" fmla="*/ 2328386 h 3114675"/>
                <a:gd name="connsiteX98" fmla="*/ 1554878 w 2076450"/>
                <a:gd name="connsiteY98" fmla="*/ 2282666 h 3114675"/>
                <a:gd name="connsiteX99" fmla="*/ 1823483 w 2076450"/>
                <a:gd name="connsiteY99" fmla="*/ 2291239 h 3114675"/>
                <a:gd name="connsiteX100" fmla="*/ 1994933 w 2076450"/>
                <a:gd name="connsiteY100" fmla="*/ 2158841 h 3114675"/>
                <a:gd name="connsiteX101" fmla="*/ 2013983 w 2076450"/>
                <a:gd name="connsiteY101" fmla="*/ 2124551 h 3114675"/>
                <a:gd name="connsiteX102" fmla="*/ 1699658 w 2076450"/>
                <a:gd name="connsiteY102" fmla="*/ 2061686 h 3114675"/>
                <a:gd name="connsiteX103" fmla="*/ 1808243 w 2076450"/>
                <a:gd name="connsiteY103" fmla="*/ 2027396 h 3114675"/>
                <a:gd name="connsiteX104" fmla="*/ 1836818 w 2076450"/>
                <a:gd name="connsiteY104" fmla="*/ 2000726 h 3114675"/>
                <a:gd name="connsiteX105" fmla="*/ 1875870 w 2076450"/>
                <a:gd name="connsiteY105" fmla="*/ 1935004 h 3114675"/>
                <a:gd name="connsiteX106" fmla="*/ 1600598 w 2076450"/>
                <a:gd name="connsiteY106" fmla="*/ 1869281 h 3114675"/>
                <a:gd name="connsiteX107" fmla="*/ 1823483 w 2076450"/>
                <a:gd name="connsiteY107" fmla="*/ 1737836 h 3114675"/>
                <a:gd name="connsiteX108" fmla="*/ 1592025 w 2076450"/>
                <a:gd name="connsiteY108" fmla="*/ 1729264 h 3114675"/>
                <a:gd name="connsiteX109" fmla="*/ 1639650 w 2076450"/>
                <a:gd name="connsiteY109" fmla="*/ 1693069 h 3114675"/>
                <a:gd name="connsiteX110" fmla="*/ 1648223 w 2076450"/>
                <a:gd name="connsiteY110" fmla="*/ 1652111 h 3114675"/>
                <a:gd name="connsiteX111" fmla="*/ 1437720 w 2076450"/>
                <a:gd name="connsiteY111" fmla="*/ 1613059 h 3114675"/>
                <a:gd name="connsiteX112" fmla="*/ 1519635 w 2076450"/>
                <a:gd name="connsiteY112" fmla="*/ 1556861 h 3114675"/>
                <a:gd name="connsiteX113" fmla="*/ 1697753 w 2076450"/>
                <a:gd name="connsiteY113" fmla="*/ 1459706 h 3114675"/>
                <a:gd name="connsiteX114" fmla="*/ 1539638 w 2076450"/>
                <a:gd name="connsiteY114" fmla="*/ 1435894 h 3114675"/>
                <a:gd name="connsiteX115" fmla="*/ 1520588 w 2076450"/>
                <a:gd name="connsiteY115" fmla="*/ 1388269 h 3114675"/>
                <a:gd name="connsiteX116" fmla="*/ 1282463 w 2076450"/>
                <a:gd name="connsiteY116" fmla="*/ 1360646 h 3114675"/>
                <a:gd name="connsiteX117" fmla="*/ 1568213 w 2076450"/>
                <a:gd name="connsiteY117" fmla="*/ 1328261 h 3114675"/>
                <a:gd name="connsiteX118" fmla="*/ 1593930 w 2076450"/>
                <a:gd name="connsiteY118" fmla="*/ 1209199 h 3114675"/>
                <a:gd name="connsiteX119" fmla="*/ 1440578 w 2076450"/>
                <a:gd name="connsiteY119" fmla="*/ 1151096 h 3114675"/>
                <a:gd name="connsiteX120" fmla="*/ 1127205 w 2076450"/>
                <a:gd name="connsiteY120" fmla="*/ 1094899 h 3114675"/>
                <a:gd name="connsiteX121" fmla="*/ 1310085 w 2076450"/>
                <a:gd name="connsiteY121" fmla="*/ 1109186 h 3114675"/>
                <a:gd name="connsiteX122" fmla="*/ 1406288 w 2076450"/>
                <a:gd name="connsiteY122" fmla="*/ 1094899 h 3114675"/>
                <a:gd name="connsiteX123" fmla="*/ 1508205 w 2076450"/>
                <a:gd name="connsiteY123" fmla="*/ 1040606 h 3114675"/>
                <a:gd name="connsiteX124" fmla="*/ 1532018 w 2076450"/>
                <a:gd name="connsiteY124" fmla="*/ 969169 h 3114675"/>
                <a:gd name="connsiteX125" fmla="*/ 1421528 w 2076450"/>
                <a:gd name="connsiteY125" fmla="*/ 938689 h 3114675"/>
                <a:gd name="connsiteX126" fmla="*/ 1154828 w 2076450"/>
                <a:gd name="connsiteY126" fmla="*/ 903446 h 3114675"/>
                <a:gd name="connsiteX127" fmla="*/ 1304370 w 2076450"/>
                <a:gd name="connsiteY127" fmla="*/ 884396 h 3114675"/>
                <a:gd name="connsiteX128" fmla="*/ 1351995 w 2076450"/>
                <a:gd name="connsiteY128" fmla="*/ 868204 h 3114675"/>
                <a:gd name="connsiteX129" fmla="*/ 1480583 w 2076450"/>
                <a:gd name="connsiteY129" fmla="*/ 832009 h 3114675"/>
                <a:gd name="connsiteX130" fmla="*/ 1363425 w 2076450"/>
                <a:gd name="connsiteY130" fmla="*/ 798671 h 3114675"/>
                <a:gd name="connsiteX131" fmla="*/ 1131015 w 2076450"/>
                <a:gd name="connsiteY131" fmla="*/ 755809 h 3114675"/>
                <a:gd name="connsiteX132" fmla="*/ 1019573 w 2076450"/>
                <a:gd name="connsiteY132" fmla="*/ 655796 h 3114675"/>
                <a:gd name="connsiteX133" fmla="*/ 1088153 w 2076450"/>
                <a:gd name="connsiteY133" fmla="*/ 673894 h 3114675"/>
                <a:gd name="connsiteX134" fmla="*/ 1244363 w 2076450"/>
                <a:gd name="connsiteY134" fmla="*/ 727234 h 3114675"/>
                <a:gd name="connsiteX135" fmla="*/ 1389143 w 2076450"/>
                <a:gd name="connsiteY135" fmla="*/ 667226 h 3114675"/>
                <a:gd name="connsiteX136" fmla="*/ 1174830 w 2076450"/>
                <a:gd name="connsiteY136" fmla="*/ 590074 h 3114675"/>
                <a:gd name="connsiteX137" fmla="*/ 1180545 w 2076450"/>
                <a:gd name="connsiteY137" fmla="*/ 513874 h 3114675"/>
                <a:gd name="connsiteX138" fmla="*/ 1228170 w 2076450"/>
                <a:gd name="connsiteY138" fmla="*/ 415766 h 3114675"/>
                <a:gd name="connsiteX139" fmla="*/ 1251983 w 2076450"/>
                <a:gd name="connsiteY139" fmla="*/ 298609 h 3114675"/>
                <a:gd name="connsiteX140" fmla="*/ 1035765 w 2076450"/>
                <a:gd name="connsiteY140" fmla="*/ 451009 h 3114675"/>
                <a:gd name="connsiteX141" fmla="*/ 1058625 w 2076450"/>
                <a:gd name="connsiteY141" fmla="*/ 322421 h 3114675"/>
                <a:gd name="connsiteX142" fmla="*/ 1052910 w 2076450"/>
                <a:gd name="connsiteY142" fmla="*/ 251936 h 3114675"/>
                <a:gd name="connsiteX143" fmla="*/ 1112918 w 2076450"/>
                <a:gd name="connsiteY143" fmla="*/ 211931 h 3114675"/>
                <a:gd name="connsiteX144" fmla="*/ 1064340 w 2076450"/>
                <a:gd name="connsiteY144" fmla="*/ 185261 h 3114675"/>
                <a:gd name="connsiteX145" fmla="*/ 991950 w 2076450"/>
                <a:gd name="connsiteY145" fmla="*/ 191929 h 3114675"/>
                <a:gd name="connsiteX146" fmla="*/ 996713 w 2076450"/>
                <a:gd name="connsiteY146" fmla="*/ 111919 h 3114675"/>
                <a:gd name="connsiteX147" fmla="*/ 949088 w 2076450"/>
                <a:gd name="connsiteY147" fmla="*/ 7144 h 3114675"/>
                <a:gd name="connsiteX148" fmla="*/ 949088 w 2076450"/>
                <a:gd name="connsiteY148" fmla="*/ 7144 h 3114675"/>
                <a:gd name="connsiteX149" fmla="*/ 949088 w 2076450"/>
                <a:gd name="connsiteY149" fmla="*/ 7144 h 3114675"/>
                <a:gd name="connsiteX150" fmla="*/ 886223 w 2076450"/>
                <a:gd name="connsiteY150" fmla="*/ 287179 h 3114675"/>
                <a:gd name="connsiteX151" fmla="*/ 908130 w 2076450"/>
                <a:gd name="connsiteY151" fmla="*/ 327184 h 3114675"/>
                <a:gd name="connsiteX152" fmla="*/ 886223 w 2076450"/>
                <a:gd name="connsiteY152" fmla="*/ 287179 h 3114675"/>
                <a:gd name="connsiteX153" fmla="*/ 863363 w 2076450"/>
                <a:gd name="connsiteY153" fmla="*/ 404336 h 3114675"/>
                <a:gd name="connsiteX154" fmla="*/ 876698 w 2076450"/>
                <a:gd name="connsiteY154" fmla="*/ 435769 h 3114675"/>
                <a:gd name="connsiteX155" fmla="*/ 863363 w 2076450"/>
                <a:gd name="connsiteY155" fmla="*/ 404336 h 3114675"/>
                <a:gd name="connsiteX156" fmla="*/ 1116728 w 2076450"/>
                <a:gd name="connsiteY156" fmla="*/ 470059 h 3114675"/>
                <a:gd name="connsiteX157" fmla="*/ 1066245 w 2076450"/>
                <a:gd name="connsiteY157" fmla="*/ 511016 h 3114675"/>
                <a:gd name="connsiteX158" fmla="*/ 1116728 w 2076450"/>
                <a:gd name="connsiteY158" fmla="*/ 470059 h 3114675"/>
                <a:gd name="connsiteX159" fmla="*/ 1009095 w 2076450"/>
                <a:gd name="connsiteY159" fmla="*/ 584359 h 3114675"/>
                <a:gd name="connsiteX160" fmla="*/ 1029098 w 2076450"/>
                <a:gd name="connsiteY160" fmla="*/ 599599 h 3114675"/>
                <a:gd name="connsiteX161" fmla="*/ 1009095 w 2076450"/>
                <a:gd name="connsiteY161" fmla="*/ 584359 h 3114675"/>
                <a:gd name="connsiteX162" fmla="*/ 1009095 w 2076450"/>
                <a:gd name="connsiteY162" fmla="*/ 584359 h 3114675"/>
                <a:gd name="connsiteX163" fmla="*/ 1111013 w 2076450"/>
                <a:gd name="connsiteY163" fmla="*/ 603409 h 3114675"/>
                <a:gd name="connsiteX164" fmla="*/ 1111013 w 2076450"/>
                <a:gd name="connsiteY164" fmla="*/ 603409 h 3114675"/>
                <a:gd name="connsiteX165" fmla="*/ 1251030 w 2076450"/>
                <a:gd name="connsiteY165" fmla="*/ 632936 h 3114675"/>
                <a:gd name="connsiteX166" fmla="*/ 1251030 w 2076450"/>
                <a:gd name="connsiteY166" fmla="*/ 632936 h 3114675"/>
                <a:gd name="connsiteX167" fmla="*/ 1032908 w 2076450"/>
                <a:gd name="connsiteY167" fmla="*/ 760571 h 3114675"/>
                <a:gd name="connsiteX168" fmla="*/ 1028145 w 2076450"/>
                <a:gd name="connsiteY168" fmla="*/ 780574 h 3114675"/>
                <a:gd name="connsiteX169" fmla="*/ 1032908 w 2076450"/>
                <a:gd name="connsiteY169" fmla="*/ 760571 h 3114675"/>
                <a:gd name="connsiteX170" fmla="*/ 1032908 w 2076450"/>
                <a:gd name="connsiteY170" fmla="*/ 760571 h 3114675"/>
                <a:gd name="connsiteX171" fmla="*/ 961470 w 2076450"/>
                <a:gd name="connsiteY171" fmla="*/ 867251 h 3114675"/>
                <a:gd name="connsiteX172" fmla="*/ 961470 w 2076450"/>
                <a:gd name="connsiteY172" fmla="*/ 867251 h 3114675"/>
                <a:gd name="connsiteX173" fmla="*/ 1036718 w 2076450"/>
                <a:gd name="connsiteY173" fmla="*/ 884396 h 3114675"/>
                <a:gd name="connsiteX174" fmla="*/ 1036718 w 2076450"/>
                <a:gd name="connsiteY174" fmla="*/ 884396 h 3114675"/>
                <a:gd name="connsiteX175" fmla="*/ 921465 w 2076450"/>
                <a:gd name="connsiteY175" fmla="*/ 888206 h 3114675"/>
                <a:gd name="connsiteX176" fmla="*/ 921465 w 2076450"/>
                <a:gd name="connsiteY176" fmla="*/ 888206 h 3114675"/>
                <a:gd name="connsiteX177" fmla="*/ 874793 w 2076450"/>
                <a:gd name="connsiteY177" fmla="*/ 904399 h 3114675"/>
                <a:gd name="connsiteX178" fmla="*/ 874793 w 2076450"/>
                <a:gd name="connsiteY178" fmla="*/ 904399 h 3114675"/>
                <a:gd name="connsiteX179" fmla="*/ 681435 w 2076450"/>
                <a:gd name="connsiteY179" fmla="*/ 904399 h 3114675"/>
                <a:gd name="connsiteX180" fmla="*/ 777638 w 2076450"/>
                <a:gd name="connsiteY180" fmla="*/ 946309 h 3114675"/>
                <a:gd name="connsiteX181" fmla="*/ 681435 w 2076450"/>
                <a:gd name="connsiteY181" fmla="*/ 904399 h 3114675"/>
                <a:gd name="connsiteX182" fmla="*/ 1532970 w 2076450"/>
                <a:gd name="connsiteY182" fmla="*/ 1327309 h 3114675"/>
                <a:gd name="connsiteX183" fmla="*/ 1532970 w 2076450"/>
                <a:gd name="connsiteY183" fmla="*/ 1327309 h 3114675"/>
                <a:gd name="connsiteX184" fmla="*/ 757635 w 2076450"/>
                <a:gd name="connsiteY184" fmla="*/ 1423511 h 3114675"/>
                <a:gd name="connsiteX185" fmla="*/ 757635 w 2076450"/>
                <a:gd name="connsiteY185" fmla="*/ 1423511 h 3114675"/>
                <a:gd name="connsiteX186" fmla="*/ 1558688 w 2076450"/>
                <a:gd name="connsiteY186" fmla="*/ 1764506 h 3114675"/>
                <a:gd name="connsiteX187" fmla="*/ 1558688 w 2076450"/>
                <a:gd name="connsiteY187" fmla="*/ 1764506 h 3114675"/>
                <a:gd name="connsiteX188" fmla="*/ 1766333 w 2076450"/>
                <a:gd name="connsiteY188" fmla="*/ 1807369 h 3114675"/>
                <a:gd name="connsiteX189" fmla="*/ 1766333 w 2076450"/>
                <a:gd name="connsiteY189" fmla="*/ 1807369 h 3114675"/>
                <a:gd name="connsiteX190" fmla="*/ 1769190 w 2076450"/>
                <a:gd name="connsiteY190" fmla="*/ 2006441 h 3114675"/>
                <a:gd name="connsiteX191" fmla="*/ 1769190 w 2076450"/>
                <a:gd name="connsiteY191" fmla="*/ 2006441 h 3114675"/>
                <a:gd name="connsiteX192" fmla="*/ 151845 w 2076450"/>
                <a:gd name="connsiteY192" fmla="*/ 2329339 h 3114675"/>
                <a:gd name="connsiteX193" fmla="*/ 151845 w 2076450"/>
                <a:gd name="connsiteY193" fmla="*/ 2329339 h 3114675"/>
                <a:gd name="connsiteX194" fmla="*/ 301388 w 2076450"/>
                <a:gd name="connsiteY194" fmla="*/ 2397919 h 3114675"/>
                <a:gd name="connsiteX195" fmla="*/ 469028 w 2076450"/>
                <a:gd name="connsiteY195" fmla="*/ 2426494 h 3114675"/>
                <a:gd name="connsiteX196" fmla="*/ 301388 w 2076450"/>
                <a:gd name="connsiteY196" fmla="*/ 2397919 h 3114675"/>
                <a:gd name="connsiteX197" fmla="*/ 517605 w 2076450"/>
                <a:gd name="connsiteY197" fmla="*/ 2406491 h 3114675"/>
                <a:gd name="connsiteX198" fmla="*/ 517605 w 2076450"/>
                <a:gd name="connsiteY198" fmla="*/ 2406491 h 3114675"/>
                <a:gd name="connsiteX199" fmla="*/ 423308 w 2076450"/>
                <a:gd name="connsiteY199" fmla="*/ 2736056 h 3114675"/>
                <a:gd name="connsiteX200" fmla="*/ 423308 w 2076450"/>
                <a:gd name="connsiteY200" fmla="*/ 2736056 h 3114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</a:cxnLst>
              <a:rect l="l" t="t" r="r" b="b"/>
              <a:pathLst>
                <a:path w="2076450" h="3114675">
                  <a:moveTo>
                    <a:pt x="949088" y="7144"/>
                  </a:moveTo>
                  <a:cubicBezTo>
                    <a:pt x="938610" y="62389"/>
                    <a:pt x="972900" y="200501"/>
                    <a:pt x="883365" y="105251"/>
                  </a:cubicBezTo>
                  <a:cubicBezTo>
                    <a:pt x="870983" y="105251"/>
                    <a:pt x="992903" y="314801"/>
                    <a:pt x="909083" y="238601"/>
                  </a:cubicBezTo>
                  <a:cubicBezTo>
                    <a:pt x="898605" y="171926"/>
                    <a:pt x="863363" y="174784"/>
                    <a:pt x="833835" y="193834"/>
                  </a:cubicBezTo>
                  <a:cubicBezTo>
                    <a:pt x="732870" y="154781"/>
                    <a:pt x="858600" y="285274"/>
                    <a:pt x="817643" y="301466"/>
                  </a:cubicBezTo>
                  <a:cubicBezTo>
                    <a:pt x="895748" y="301466"/>
                    <a:pt x="870030" y="356711"/>
                    <a:pt x="810023" y="328136"/>
                  </a:cubicBezTo>
                  <a:cubicBezTo>
                    <a:pt x="906225" y="459581"/>
                    <a:pt x="686198" y="348139"/>
                    <a:pt x="684293" y="381476"/>
                  </a:cubicBezTo>
                  <a:cubicBezTo>
                    <a:pt x="777638" y="421481"/>
                    <a:pt x="622380" y="411004"/>
                    <a:pt x="703343" y="451009"/>
                  </a:cubicBezTo>
                  <a:cubicBezTo>
                    <a:pt x="833835" y="496729"/>
                    <a:pt x="615713" y="505301"/>
                    <a:pt x="714773" y="539591"/>
                  </a:cubicBezTo>
                  <a:cubicBezTo>
                    <a:pt x="761445" y="555784"/>
                    <a:pt x="860505" y="517684"/>
                    <a:pt x="828120" y="573881"/>
                  </a:cubicBezTo>
                  <a:cubicBezTo>
                    <a:pt x="890033" y="568166"/>
                    <a:pt x="887175" y="616744"/>
                    <a:pt x="947183" y="577691"/>
                  </a:cubicBezTo>
                  <a:cubicBezTo>
                    <a:pt x="977663" y="712946"/>
                    <a:pt x="680483" y="534829"/>
                    <a:pt x="731918" y="618649"/>
                  </a:cubicBezTo>
                  <a:cubicBezTo>
                    <a:pt x="670005" y="621506"/>
                    <a:pt x="575708" y="525304"/>
                    <a:pt x="530940" y="601504"/>
                  </a:cubicBezTo>
                  <a:cubicBezTo>
                    <a:pt x="396638" y="611981"/>
                    <a:pt x="563325" y="655796"/>
                    <a:pt x="597615" y="649129"/>
                  </a:cubicBezTo>
                  <a:cubicBezTo>
                    <a:pt x="487125" y="737711"/>
                    <a:pt x="741443" y="614839"/>
                    <a:pt x="629048" y="688181"/>
                  </a:cubicBezTo>
                  <a:cubicBezTo>
                    <a:pt x="648098" y="779621"/>
                    <a:pt x="834788" y="621506"/>
                    <a:pt x="714773" y="728186"/>
                  </a:cubicBezTo>
                  <a:cubicBezTo>
                    <a:pt x="762398" y="785336"/>
                    <a:pt x="937658" y="659606"/>
                    <a:pt x="947183" y="689134"/>
                  </a:cubicBezTo>
                  <a:cubicBezTo>
                    <a:pt x="884318" y="784384"/>
                    <a:pt x="764303" y="785336"/>
                    <a:pt x="674768" y="758666"/>
                  </a:cubicBezTo>
                  <a:cubicBezTo>
                    <a:pt x="734775" y="821531"/>
                    <a:pt x="570945" y="739616"/>
                    <a:pt x="528083" y="788194"/>
                  </a:cubicBezTo>
                  <a:cubicBezTo>
                    <a:pt x="468075" y="789146"/>
                    <a:pt x="536655" y="836771"/>
                    <a:pt x="530940" y="846296"/>
                  </a:cubicBezTo>
                  <a:cubicBezTo>
                    <a:pt x="598568" y="865346"/>
                    <a:pt x="709058" y="934879"/>
                    <a:pt x="569040" y="912971"/>
                  </a:cubicBezTo>
                  <a:cubicBezTo>
                    <a:pt x="508080" y="912019"/>
                    <a:pt x="602378" y="1022509"/>
                    <a:pt x="502365" y="958691"/>
                  </a:cubicBezTo>
                  <a:cubicBezTo>
                    <a:pt x="451883" y="931069"/>
                    <a:pt x="479505" y="1007269"/>
                    <a:pt x="409973" y="972979"/>
                  </a:cubicBezTo>
                  <a:cubicBezTo>
                    <a:pt x="347108" y="988219"/>
                    <a:pt x="509985" y="1057751"/>
                    <a:pt x="547133" y="1067276"/>
                  </a:cubicBezTo>
                  <a:cubicBezTo>
                    <a:pt x="619523" y="1065371"/>
                    <a:pt x="693818" y="1189196"/>
                    <a:pt x="730013" y="1155859"/>
                  </a:cubicBezTo>
                  <a:cubicBezTo>
                    <a:pt x="636668" y="1233964"/>
                    <a:pt x="512843" y="1162526"/>
                    <a:pt x="409020" y="1204436"/>
                  </a:cubicBezTo>
                  <a:cubicBezTo>
                    <a:pt x="366158" y="1237774"/>
                    <a:pt x="517605" y="1304449"/>
                    <a:pt x="530940" y="1310164"/>
                  </a:cubicBezTo>
                  <a:cubicBezTo>
                    <a:pt x="681435" y="1376839"/>
                    <a:pt x="344250" y="1305401"/>
                    <a:pt x="366158" y="1365409"/>
                  </a:cubicBezTo>
                  <a:cubicBezTo>
                    <a:pt x="458550" y="1420654"/>
                    <a:pt x="541418" y="1491139"/>
                    <a:pt x="637620" y="1413034"/>
                  </a:cubicBezTo>
                  <a:cubicBezTo>
                    <a:pt x="670005" y="1436846"/>
                    <a:pt x="579518" y="1429226"/>
                    <a:pt x="617618" y="1487329"/>
                  </a:cubicBezTo>
                  <a:cubicBezTo>
                    <a:pt x="522368" y="1531144"/>
                    <a:pt x="340440" y="1537811"/>
                    <a:pt x="286148" y="1588294"/>
                  </a:cubicBezTo>
                  <a:cubicBezTo>
                    <a:pt x="365205" y="1664494"/>
                    <a:pt x="451883" y="1673066"/>
                    <a:pt x="550943" y="1688306"/>
                  </a:cubicBezTo>
                  <a:cubicBezTo>
                    <a:pt x="602378" y="1669256"/>
                    <a:pt x="582375" y="1654016"/>
                    <a:pt x="627143" y="1666399"/>
                  </a:cubicBezTo>
                  <a:cubicBezTo>
                    <a:pt x="664290" y="1686401"/>
                    <a:pt x="692865" y="1613059"/>
                    <a:pt x="734775" y="1662589"/>
                  </a:cubicBezTo>
                  <a:cubicBezTo>
                    <a:pt x="690008" y="1710214"/>
                    <a:pt x="452835" y="1702594"/>
                    <a:pt x="604283" y="1759744"/>
                  </a:cubicBezTo>
                  <a:cubicBezTo>
                    <a:pt x="479505" y="1794986"/>
                    <a:pt x="344250" y="1767364"/>
                    <a:pt x="217568" y="1794986"/>
                  </a:cubicBezTo>
                  <a:cubicBezTo>
                    <a:pt x="143273" y="1828324"/>
                    <a:pt x="304245" y="1820704"/>
                    <a:pt x="214710" y="1862614"/>
                  </a:cubicBezTo>
                  <a:cubicBezTo>
                    <a:pt x="175658" y="1910239"/>
                    <a:pt x="361395" y="1859756"/>
                    <a:pt x="335678" y="1914049"/>
                  </a:cubicBezTo>
                  <a:cubicBezTo>
                    <a:pt x="396638" y="1903571"/>
                    <a:pt x="425213" y="1929289"/>
                    <a:pt x="472838" y="1916906"/>
                  </a:cubicBezTo>
                  <a:cubicBezTo>
                    <a:pt x="469028" y="1982629"/>
                    <a:pt x="542370" y="1894999"/>
                    <a:pt x="553800" y="1953101"/>
                  </a:cubicBezTo>
                  <a:cubicBezTo>
                    <a:pt x="615713" y="1943576"/>
                    <a:pt x="709058" y="1981676"/>
                    <a:pt x="602378" y="2004536"/>
                  </a:cubicBezTo>
                  <a:cubicBezTo>
                    <a:pt x="489030" y="2033111"/>
                    <a:pt x="378540" y="2021681"/>
                    <a:pt x="275670" y="2024539"/>
                  </a:cubicBezTo>
                  <a:cubicBezTo>
                    <a:pt x="208995" y="2001679"/>
                    <a:pt x="117555" y="2018824"/>
                    <a:pt x="236618" y="2049304"/>
                  </a:cubicBezTo>
                  <a:cubicBezTo>
                    <a:pt x="332820" y="2060734"/>
                    <a:pt x="145178" y="2068354"/>
                    <a:pt x="262335" y="2092166"/>
                  </a:cubicBezTo>
                  <a:cubicBezTo>
                    <a:pt x="280433" y="2148364"/>
                    <a:pt x="381398" y="2103596"/>
                    <a:pt x="420450" y="2151221"/>
                  </a:cubicBezTo>
                  <a:cubicBezTo>
                    <a:pt x="509033" y="2108359"/>
                    <a:pt x="390923" y="2195036"/>
                    <a:pt x="480458" y="2174081"/>
                  </a:cubicBezTo>
                  <a:cubicBezTo>
                    <a:pt x="575708" y="2192179"/>
                    <a:pt x="324248" y="2267426"/>
                    <a:pt x="269955" y="2228374"/>
                  </a:cubicBezTo>
                  <a:cubicBezTo>
                    <a:pt x="213758" y="2232184"/>
                    <a:pt x="143273" y="2230279"/>
                    <a:pt x="106125" y="2250281"/>
                  </a:cubicBezTo>
                  <a:cubicBezTo>
                    <a:pt x="206138" y="2296001"/>
                    <a:pt x="-65325" y="2235041"/>
                    <a:pt x="45165" y="2290286"/>
                  </a:cubicBezTo>
                  <a:cubicBezTo>
                    <a:pt x="112793" y="2290286"/>
                    <a:pt x="125175" y="2298859"/>
                    <a:pt x="84218" y="2353151"/>
                  </a:cubicBezTo>
                  <a:cubicBezTo>
                    <a:pt x="115650" y="2409349"/>
                    <a:pt x="321390" y="2387441"/>
                    <a:pt x="203280" y="2444591"/>
                  </a:cubicBezTo>
                  <a:cubicBezTo>
                    <a:pt x="147083" y="2440781"/>
                    <a:pt x="65168" y="2474119"/>
                    <a:pt x="172800" y="2478881"/>
                  </a:cubicBezTo>
                  <a:cubicBezTo>
                    <a:pt x="257573" y="2456021"/>
                    <a:pt x="98505" y="2546509"/>
                    <a:pt x="201375" y="2519839"/>
                  </a:cubicBezTo>
                  <a:cubicBezTo>
                    <a:pt x="231855" y="2566511"/>
                    <a:pt x="284243" y="2528411"/>
                    <a:pt x="301388" y="2558891"/>
                  </a:cubicBezTo>
                  <a:cubicBezTo>
                    <a:pt x="372825" y="2593181"/>
                    <a:pt x="107078" y="2573179"/>
                    <a:pt x="76598" y="2589371"/>
                  </a:cubicBezTo>
                  <a:cubicBezTo>
                    <a:pt x="179468" y="2628424"/>
                    <a:pt x="-65325" y="2632234"/>
                    <a:pt x="58500" y="2659856"/>
                  </a:cubicBezTo>
                  <a:cubicBezTo>
                    <a:pt x="100410" y="2649379"/>
                    <a:pt x="183278" y="2635091"/>
                    <a:pt x="110888" y="2693194"/>
                  </a:cubicBezTo>
                  <a:cubicBezTo>
                    <a:pt x="167085" y="2674144"/>
                    <a:pt x="196613" y="2711291"/>
                    <a:pt x="214710" y="2727484"/>
                  </a:cubicBezTo>
                  <a:cubicBezTo>
                    <a:pt x="247095" y="2699861"/>
                    <a:pt x="297578" y="2700814"/>
                    <a:pt x="262335" y="2756059"/>
                  </a:cubicBezTo>
                  <a:cubicBezTo>
                    <a:pt x="318533" y="2733199"/>
                    <a:pt x="387113" y="2651284"/>
                    <a:pt x="358538" y="2733199"/>
                  </a:cubicBezTo>
                  <a:cubicBezTo>
                    <a:pt x="470933" y="2695099"/>
                    <a:pt x="299483" y="2803684"/>
                    <a:pt x="254715" y="2758916"/>
                  </a:cubicBezTo>
                  <a:cubicBezTo>
                    <a:pt x="164228" y="2746534"/>
                    <a:pt x="93743" y="2773204"/>
                    <a:pt x="45165" y="2806541"/>
                  </a:cubicBezTo>
                  <a:cubicBezTo>
                    <a:pt x="161370" y="2800826"/>
                    <a:pt x="-83423" y="2882741"/>
                    <a:pt x="46118" y="2865596"/>
                  </a:cubicBezTo>
                  <a:cubicBezTo>
                    <a:pt x="120413" y="2833211"/>
                    <a:pt x="88028" y="2862739"/>
                    <a:pt x="88980" y="2895124"/>
                  </a:cubicBezTo>
                  <a:cubicBezTo>
                    <a:pt x="132795" y="2875121"/>
                    <a:pt x="93743" y="2942749"/>
                    <a:pt x="155655" y="2902744"/>
                  </a:cubicBezTo>
                  <a:cubicBezTo>
                    <a:pt x="209948" y="2924651"/>
                    <a:pt x="280433" y="2904649"/>
                    <a:pt x="343298" y="2914174"/>
                  </a:cubicBezTo>
                  <a:cubicBezTo>
                    <a:pt x="274718" y="2910364"/>
                    <a:pt x="168038" y="2980849"/>
                    <a:pt x="301388" y="2956084"/>
                  </a:cubicBezTo>
                  <a:cubicBezTo>
                    <a:pt x="209948" y="3007519"/>
                    <a:pt x="314723" y="3013234"/>
                    <a:pt x="361395" y="2980849"/>
                  </a:cubicBezTo>
                  <a:cubicBezTo>
                    <a:pt x="302340" y="3085624"/>
                    <a:pt x="505223" y="3017996"/>
                    <a:pt x="511890" y="3029426"/>
                  </a:cubicBezTo>
                  <a:cubicBezTo>
                    <a:pt x="501413" y="3104674"/>
                    <a:pt x="612855" y="2953226"/>
                    <a:pt x="603330" y="3058001"/>
                  </a:cubicBezTo>
                  <a:cubicBezTo>
                    <a:pt x="692865" y="3028474"/>
                    <a:pt x="764303" y="3011329"/>
                    <a:pt x="825263" y="2954179"/>
                  </a:cubicBezTo>
                  <a:cubicBezTo>
                    <a:pt x="868125" y="3001804"/>
                    <a:pt x="922418" y="2812256"/>
                    <a:pt x="957660" y="2927509"/>
                  </a:cubicBezTo>
                  <a:cubicBezTo>
                    <a:pt x="950993" y="3005614"/>
                    <a:pt x="858600" y="3144679"/>
                    <a:pt x="1013858" y="3102769"/>
                  </a:cubicBezTo>
                  <a:cubicBezTo>
                    <a:pt x="1088153" y="3107531"/>
                    <a:pt x="1167210" y="3117056"/>
                    <a:pt x="1119585" y="3020854"/>
                  </a:cubicBezTo>
                  <a:cubicBezTo>
                    <a:pt x="1095773" y="2920841"/>
                    <a:pt x="1165305" y="2995136"/>
                    <a:pt x="1191975" y="2997041"/>
                  </a:cubicBezTo>
                  <a:cubicBezTo>
                    <a:pt x="1258650" y="3067526"/>
                    <a:pt x="1392953" y="3040856"/>
                    <a:pt x="1468200" y="3026569"/>
                  </a:cubicBezTo>
                  <a:cubicBezTo>
                    <a:pt x="1457723" y="2961799"/>
                    <a:pt x="1529160" y="3010376"/>
                    <a:pt x="1561545" y="3002756"/>
                  </a:cubicBezTo>
                  <a:cubicBezTo>
                    <a:pt x="1593930" y="3038951"/>
                    <a:pt x="1657748" y="3041809"/>
                    <a:pt x="1679655" y="3030379"/>
                  </a:cubicBezTo>
                  <a:cubicBezTo>
                    <a:pt x="1735853" y="3070384"/>
                    <a:pt x="1690133" y="2906554"/>
                    <a:pt x="1748235" y="2996089"/>
                  </a:cubicBezTo>
                  <a:cubicBezTo>
                    <a:pt x="1790145" y="3019901"/>
                    <a:pt x="1871108" y="2994184"/>
                    <a:pt x="1893968" y="3009424"/>
                  </a:cubicBezTo>
                  <a:cubicBezTo>
                    <a:pt x="1889205" y="2959894"/>
                    <a:pt x="1945403" y="2984659"/>
                    <a:pt x="1888253" y="2944654"/>
                  </a:cubicBezTo>
                  <a:cubicBezTo>
                    <a:pt x="1905398" y="2942749"/>
                    <a:pt x="2032080" y="2999899"/>
                    <a:pt x="1964453" y="2947511"/>
                  </a:cubicBezTo>
                  <a:cubicBezTo>
                    <a:pt x="2079705" y="2950369"/>
                    <a:pt x="2036843" y="2899886"/>
                    <a:pt x="1948260" y="2913221"/>
                  </a:cubicBezTo>
                  <a:cubicBezTo>
                    <a:pt x="1883490" y="2907506"/>
                    <a:pt x="1767285" y="2873216"/>
                    <a:pt x="1843485" y="2853214"/>
                  </a:cubicBezTo>
                  <a:cubicBezTo>
                    <a:pt x="1859678" y="2837021"/>
                    <a:pt x="1951118" y="2853214"/>
                    <a:pt x="1883490" y="2818924"/>
                  </a:cubicBezTo>
                  <a:cubicBezTo>
                    <a:pt x="1929210" y="2839879"/>
                    <a:pt x="1994933" y="2790349"/>
                    <a:pt x="1909208" y="2790349"/>
                  </a:cubicBezTo>
                  <a:cubicBezTo>
                    <a:pt x="1962548" y="2784634"/>
                    <a:pt x="1960643" y="2735104"/>
                    <a:pt x="2032080" y="2757964"/>
                  </a:cubicBezTo>
                  <a:cubicBezTo>
                    <a:pt x="1946355" y="2722721"/>
                    <a:pt x="2002553" y="2723674"/>
                    <a:pt x="2036843" y="2711291"/>
                  </a:cubicBezTo>
                  <a:cubicBezTo>
                    <a:pt x="1972073" y="2706529"/>
                    <a:pt x="1884443" y="2674144"/>
                    <a:pt x="2008268" y="2670334"/>
                  </a:cubicBezTo>
                  <a:cubicBezTo>
                    <a:pt x="2132093" y="2620804"/>
                    <a:pt x="1982550" y="2644616"/>
                    <a:pt x="1943498" y="2645569"/>
                  </a:cubicBezTo>
                  <a:cubicBezTo>
                    <a:pt x="2009220" y="2564606"/>
                    <a:pt x="1844438" y="2680811"/>
                    <a:pt x="1793003" y="2651284"/>
                  </a:cubicBezTo>
                  <a:cubicBezTo>
                    <a:pt x="1703468" y="2657951"/>
                    <a:pt x="1501538" y="2570321"/>
                    <a:pt x="1497728" y="2538889"/>
                  </a:cubicBezTo>
                  <a:cubicBezTo>
                    <a:pt x="1528208" y="2533174"/>
                    <a:pt x="1620600" y="2608421"/>
                    <a:pt x="1592025" y="2535079"/>
                  </a:cubicBezTo>
                  <a:cubicBezTo>
                    <a:pt x="1682513" y="2614136"/>
                    <a:pt x="1734900" y="2472214"/>
                    <a:pt x="1824435" y="2566511"/>
                  </a:cubicBezTo>
                  <a:cubicBezTo>
                    <a:pt x="1703468" y="2427446"/>
                    <a:pt x="2134950" y="2525554"/>
                    <a:pt x="1938735" y="2449354"/>
                  </a:cubicBezTo>
                  <a:cubicBezTo>
                    <a:pt x="1915875" y="2436971"/>
                    <a:pt x="2165430" y="2449354"/>
                    <a:pt x="2000648" y="2416969"/>
                  </a:cubicBezTo>
                  <a:cubicBezTo>
                    <a:pt x="1945403" y="2423636"/>
                    <a:pt x="2077800" y="2375059"/>
                    <a:pt x="1993028" y="2387441"/>
                  </a:cubicBezTo>
                  <a:cubicBezTo>
                    <a:pt x="1840628" y="2373154"/>
                    <a:pt x="1705373" y="2382679"/>
                    <a:pt x="1549163" y="2328386"/>
                  </a:cubicBezTo>
                  <a:cubicBezTo>
                    <a:pt x="1451055" y="2308384"/>
                    <a:pt x="1461533" y="2256949"/>
                    <a:pt x="1554878" y="2282666"/>
                  </a:cubicBezTo>
                  <a:cubicBezTo>
                    <a:pt x="1673940" y="2311241"/>
                    <a:pt x="1712040" y="2290286"/>
                    <a:pt x="1823483" y="2291239"/>
                  </a:cubicBezTo>
                  <a:cubicBezTo>
                    <a:pt x="1848248" y="2213134"/>
                    <a:pt x="2103518" y="2260759"/>
                    <a:pt x="1994933" y="2158841"/>
                  </a:cubicBezTo>
                  <a:cubicBezTo>
                    <a:pt x="2052083" y="2127409"/>
                    <a:pt x="2122568" y="2111216"/>
                    <a:pt x="2013983" y="2124551"/>
                  </a:cubicBezTo>
                  <a:cubicBezTo>
                    <a:pt x="1910160" y="2121694"/>
                    <a:pt x="1786335" y="2110264"/>
                    <a:pt x="1699658" y="2061686"/>
                  </a:cubicBezTo>
                  <a:cubicBezTo>
                    <a:pt x="1721565" y="2011204"/>
                    <a:pt x="1873965" y="2095976"/>
                    <a:pt x="1808243" y="2027396"/>
                  </a:cubicBezTo>
                  <a:cubicBezTo>
                    <a:pt x="1845390" y="2033111"/>
                    <a:pt x="1914923" y="2015966"/>
                    <a:pt x="1836818" y="2000726"/>
                  </a:cubicBezTo>
                  <a:cubicBezTo>
                    <a:pt x="1905398" y="1995011"/>
                    <a:pt x="2018745" y="1882616"/>
                    <a:pt x="1875870" y="1935004"/>
                  </a:cubicBezTo>
                  <a:cubicBezTo>
                    <a:pt x="1803480" y="1892141"/>
                    <a:pt x="1605360" y="1962626"/>
                    <a:pt x="1600598" y="1869281"/>
                  </a:cubicBezTo>
                  <a:cubicBezTo>
                    <a:pt x="1705373" y="1889284"/>
                    <a:pt x="1819673" y="1872139"/>
                    <a:pt x="1823483" y="1737836"/>
                  </a:cubicBezTo>
                  <a:cubicBezTo>
                    <a:pt x="1751093" y="1747361"/>
                    <a:pt x="1638698" y="1814036"/>
                    <a:pt x="1592025" y="1729264"/>
                  </a:cubicBezTo>
                  <a:cubicBezTo>
                    <a:pt x="1623458" y="1750219"/>
                    <a:pt x="1690133" y="1734979"/>
                    <a:pt x="1639650" y="1693069"/>
                  </a:cubicBezTo>
                  <a:cubicBezTo>
                    <a:pt x="1694895" y="1704499"/>
                    <a:pt x="1723470" y="1603534"/>
                    <a:pt x="1648223" y="1652111"/>
                  </a:cubicBezTo>
                  <a:cubicBezTo>
                    <a:pt x="1592025" y="1662589"/>
                    <a:pt x="1391048" y="1666399"/>
                    <a:pt x="1437720" y="1613059"/>
                  </a:cubicBezTo>
                  <a:cubicBezTo>
                    <a:pt x="1490108" y="1631156"/>
                    <a:pt x="1612028" y="1607344"/>
                    <a:pt x="1519635" y="1556861"/>
                  </a:cubicBezTo>
                  <a:cubicBezTo>
                    <a:pt x="1584405" y="1579721"/>
                    <a:pt x="1719660" y="1506379"/>
                    <a:pt x="1697753" y="1459706"/>
                  </a:cubicBezTo>
                  <a:cubicBezTo>
                    <a:pt x="1650128" y="1406366"/>
                    <a:pt x="1590120" y="1445419"/>
                    <a:pt x="1539638" y="1435894"/>
                  </a:cubicBezTo>
                  <a:cubicBezTo>
                    <a:pt x="1603455" y="1393984"/>
                    <a:pt x="1538685" y="1420654"/>
                    <a:pt x="1520588" y="1388269"/>
                  </a:cubicBezTo>
                  <a:cubicBezTo>
                    <a:pt x="1471058" y="1479709"/>
                    <a:pt x="1237695" y="1392079"/>
                    <a:pt x="1282463" y="1360646"/>
                  </a:cubicBezTo>
                  <a:cubicBezTo>
                    <a:pt x="1390095" y="1360646"/>
                    <a:pt x="1469153" y="1357789"/>
                    <a:pt x="1568213" y="1328261"/>
                  </a:cubicBezTo>
                  <a:cubicBezTo>
                    <a:pt x="1540590" y="1255871"/>
                    <a:pt x="1746330" y="1225391"/>
                    <a:pt x="1593930" y="1209199"/>
                  </a:cubicBezTo>
                  <a:cubicBezTo>
                    <a:pt x="1560593" y="1139666"/>
                    <a:pt x="1406288" y="1264444"/>
                    <a:pt x="1440578" y="1151096"/>
                  </a:cubicBezTo>
                  <a:cubicBezTo>
                    <a:pt x="1348185" y="1224439"/>
                    <a:pt x="1149113" y="1139666"/>
                    <a:pt x="1127205" y="1094899"/>
                  </a:cubicBezTo>
                  <a:cubicBezTo>
                    <a:pt x="1214835" y="1122521"/>
                    <a:pt x="1236743" y="1092041"/>
                    <a:pt x="1310085" y="1109186"/>
                  </a:cubicBezTo>
                  <a:cubicBezTo>
                    <a:pt x="1300560" y="1078706"/>
                    <a:pt x="1375808" y="1166336"/>
                    <a:pt x="1406288" y="1094899"/>
                  </a:cubicBezTo>
                  <a:cubicBezTo>
                    <a:pt x="1479630" y="1092041"/>
                    <a:pt x="1424385" y="984409"/>
                    <a:pt x="1508205" y="1040606"/>
                  </a:cubicBezTo>
                  <a:cubicBezTo>
                    <a:pt x="1529160" y="993934"/>
                    <a:pt x="1647270" y="970121"/>
                    <a:pt x="1532018" y="969169"/>
                  </a:cubicBezTo>
                  <a:cubicBezTo>
                    <a:pt x="1498680" y="936784"/>
                    <a:pt x="1427243" y="1008221"/>
                    <a:pt x="1421528" y="938689"/>
                  </a:cubicBezTo>
                  <a:cubicBezTo>
                    <a:pt x="1342470" y="1012031"/>
                    <a:pt x="1203405" y="991076"/>
                    <a:pt x="1154828" y="903446"/>
                  </a:cubicBezTo>
                  <a:cubicBezTo>
                    <a:pt x="1199595" y="899636"/>
                    <a:pt x="1305323" y="967264"/>
                    <a:pt x="1304370" y="884396"/>
                  </a:cubicBezTo>
                  <a:cubicBezTo>
                    <a:pt x="1348185" y="928211"/>
                    <a:pt x="1442483" y="914876"/>
                    <a:pt x="1351995" y="868204"/>
                  </a:cubicBezTo>
                  <a:cubicBezTo>
                    <a:pt x="1412003" y="912019"/>
                    <a:pt x="1490108" y="871061"/>
                    <a:pt x="1480583" y="832009"/>
                  </a:cubicBezTo>
                  <a:cubicBezTo>
                    <a:pt x="1625363" y="814864"/>
                    <a:pt x="1407240" y="763429"/>
                    <a:pt x="1363425" y="798671"/>
                  </a:cubicBezTo>
                  <a:cubicBezTo>
                    <a:pt x="1310085" y="684371"/>
                    <a:pt x="1158638" y="849154"/>
                    <a:pt x="1131015" y="755809"/>
                  </a:cubicBezTo>
                  <a:cubicBezTo>
                    <a:pt x="1102440" y="740569"/>
                    <a:pt x="956708" y="677704"/>
                    <a:pt x="1019573" y="655796"/>
                  </a:cubicBezTo>
                  <a:cubicBezTo>
                    <a:pt x="1029098" y="698659"/>
                    <a:pt x="1091963" y="752951"/>
                    <a:pt x="1088153" y="673894"/>
                  </a:cubicBezTo>
                  <a:cubicBezTo>
                    <a:pt x="1124348" y="778669"/>
                    <a:pt x="1187213" y="639604"/>
                    <a:pt x="1244363" y="727234"/>
                  </a:cubicBezTo>
                  <a:cubicBezTo>
                    <a:pt x="1271033" y="670084"/>
                    <a:pt x="1362473" y="748189"/>
                    <a:pt x="1389143" y="667226"/>
                  </a:cubicBezTo>
                  <a:cubicBezTo>
                    <a:pt x="1335803" y="624364"/>
                    <a:pt x="1186260" y="578644"/>
                    <a:pt x="1174830" y="590074"/>
                  </a:cubicBezTo>
                  <a:cubicBezTo>
                    <a:pt x="1230075" y="543401"/>
                    <a:pt x="1273890" y="526256"/>
                    <a:pt x="1180545" y="513874"/>
                  </a:cubicBezTo>
                  <a:cubicBezTo>
                    <a:pt x="1169115" y="479584"/>
                    <a:pt x="1356758" y="462439"/>
                    <a:pt x="1228170" y="415766"/>
                  </a:cubicBezTo>
                  <a:cubicBezTo>
                    <a:pt x="1322468" y="381476"/>
                    <a:pt x="1196738" y="349091"/>
                    <a:pt x="1251983" y="298609"/>
                  </a:cubicBezTo>
                  <a:cubicBezTo>
                    <a:pt x="1150065" y="302419"/>
                    <a:pt x="1100535" y="370046"/>
                    <a:pt x="1035765" y="451009"/>
                  </a:cubicBezTo>
                  <a:cubicBezTo>
                    <a:pt x="960518" y="465296"/>
                    <a:pt x="970995" y="241459"/>
                    <a:pt x="1058625" y="322421"/>
                  </a:cubicBezTo>
                  <a:cubicBezTo>
                    <a:pt x="1152923" y="327184"/>
                    <a:pt x="1126253" y="254794"/>
                    <a:pt x="1052910" y="251936"/>
                  </a:cubicBezTo>
                  <a:cubicBezTo>
                    <a:pt x="1091010" y="247174"/>
                    <a:pt x="1221503" y="242411"/>
                    <a:pt x="1112918" y="211931"/>
                  </a:cubicBezTo>
                  <a:cubicBezTo>
                    <a:pt x="1191023" y="135731"/>
                    <a:pt x="1113870" y="174784"/>
                    <a:pt x="1064340" y="185261"/>
                  </a:cubicBezTo>
                  <a:cubicBezTo>
                    <a:pt x="1030050" y="136684"/>
                    <a:pt x="969090" y="322421"/>
                    <a:pt x="991950" y="191929"/>
                  </a:cubicBezTo>
                  <a:cubicBezTo>
                    <a:pt x="1009095" y="137636"/>
                    <a:pt x="1116728" y="33814"/>
                    <a:pt x="996713" y="111919"/>
                  </a:cubicBezTo>
                  <a:cubicBezTo>
                    <a:pt x="947183" y="118586"/>
                    <a:pt x="1017668" y="24289"/>
                    <a:pt x="949088" y="7144"/>
                  </a:cubicBezTo>
                  <a:lnTo>
                    <a:pt x="949088" y="7144"/>
                  </a:lnTo>
                  <a:lnTo>
                    <a:pt x="949088" y="7144"/>
                  </a:lnTo>
                  <a:close/>
                  <a:moveTo>
                    <a:pt x="886223" y="287179"/>
                  </a:moveTo>
                  <a:cubicBezTo>
                    <a:pt x="950993" y="293846"/>
                    <a:pt x="936705" y="430054"/>
                    <a:pt x="908130" y="327184"/>
                  </a:cubicBezTo>
                  <a:cubicBezTo>
                    <a:pt x="904320" y="313849"/>
                    <a:pt x="879555" y="305276"/>
                    <a:pt x="886223" y="287179"/>
                  </a:cubicBezTo>
                  <a:close/>
                  <a:moveTo>
                    <a:pt x="863363" y="404336"/>
                  </a:moveTo>
                  <a:cubicBezTo>
                    <a:pt x="931943" y="406241"/>
                    <a:pt x="947183" y="504349"/>
                    <a:pt x="876698" y="435769"/>
                  </a:cubicBezTo>
                  <a:cubicBezTo>
                    <a:pt x="877650" y="436721"/>
                    <a:pt x="842408" y="406241"/>
                    <a:pt x="863363" y="404336"/>
                  </a:cubicBezTo>
                  <a:close/>
                  <a:moveTo>
                    <a:pt x="1116728" y="470059"/>
                  </a:moveTo>
                  <a:cubicBezTo>
                    <a:pt x="1142445" y="539591"/>
                    <a:pt x="916703" y="542449"/>
                    <a:pt x="1066245" y="511016"/>
                  </a:cubicBezTo>
                  <a:cubicBezTo>
                    <a:pt x="1087200" y="502444"/>
                    <a:pt x="1096725" y="479584"/>
                    <a:pt x="1116728" y="470059"/>
                  </a:cubicBezTo>
                  <a:close/>
                  <a:moveTo>
                    <a:pt x="1009095" y="584359"/>
                  </a:moveTo>
                  <a:cubicBezTo>
                    <a:pt x="1068150" y="591026"/>
                    <a:pt x="1128158" y="624364"/>
                    <a:pt x="1029098" y="599599"/>
                  </a:cubicBezTo>
                  <a:lnTo>
                    <a:pt x="1009095" y="584359"/>
                  </a:lnTo>
                  <a:lnTo>
                    <a:pt x="1009095" y="584359"/>
                  </a:lnTo>
                  <a:close/>
                  <a:moveTo>
                    <a:pt x="1111013" y="603409"/>
                  </a:moveTo>
                  <a:cubicBezTo>
                    <a:pt x="1179593" y="587216"/>
                    <a:pt x="1100535" y="662464"/>
                    <a:pt x="1111013" y="603409"/>
                  </a:cubicBezTo>
                  <a:close/>
                  <a:moveTo>
                    <a:pt x="1251030" y="632936"/>
                  </a:moveTo>
                  <a:cubicBezTo>
                    <a:pt x="1281510" y="652939"/>
                    <a:pt x="1209120" y="642461"/>
                    <a:pt x="1251030" y="632936"/>
                  </a:cubicBezTo>
                  <a:close/>
                  <a:moveTo>
                    <a:pt x="1032908" y="760571"/>
                  </a:moveTo>
                  <a:cubicBezTo>
                    <a:pt x="1069103" y="813911"/>
                    <a:pt x="1010048" y="875824"/>
                    <a:pt x="1028145" y="780574"/>
                  </a:cubicBezTo>
                  <a:lnTo>
                    <a:pt x="1032908" y="760571"/>
                  </a:lnTo>
                  <a:lnTo>
                    <a:pt x="1032908" y="760571"/>
                  </a:lnTo>
                  <a:close/>
                  <a:moveTo>
                    <a:pt x="961470" y="867251"/>
                  </a:moveTo>
                  <a:cubicBezTo>
                    <a:pt x="989093" y="885349"/>
                    <a:pt x="919560" y="881539"/>
                    <a:pt x="961470" y="867251"/>
                  </a:cubicBezTo>
                  <a:close/>
                  <a:moveTo>
                    <a:pt x="1036718" y="884396"/>
                  </a:moveTo>
                  <a:cubicBezTo>
                    <a:pt x="1052910" y="926306"/>
                    <a:pt x="1022430" y="907256"/>
                    <a:pt x="1036718" y="884396"/>
                  </a:cubicBezTo>
                  <a:close/>
                  <a:moveTo>
                    <a:pt x="921465" y="888206"/>
                  </a:moveTo>
                  <a:cubicBezTo>
                    <a:pt x="952898" y="901541"/>
                    <a:pt x="887175" y="904399"/>
                    <a:pt x="921465" y="888206"/>
                  </a:cubicBezTo>
                  <a:close/>
                  <a:moveTo>
                    <a:pt x="874793" y="904399"/>
                  </a:moveTo>
                  <a:cubicBezTo>
                    <a:pt x="906225" y="917734"/>
                    <a:pt x="840503" y="920591"/>
                    <a:pt x="874793" y="904399"/>
                  </a:cubicBezTo>
                  <a:close/>
                  <a:moveTo>
                    <a:pt x="681435" y="904399"/>
                  </a:moveTo>
                  <a:cubicBezTo>
                    <a:pt x="718583" y="948214"/>
                    <a:pt x="920513" y="896779"/>
                    <a:pt x="777638" y="946309"/>
                  </a:cubicBezTo>
                  <a:cubicBezTo>
                    <a:pt x="745253" y="952976"/>
                    <a:pt x="654765" y="966311"/>
                    <a:pt x="681435" y="904399"/>
                  </a:cubicBezTo>
                  <a:close/>
                  <a:moveTo>
                    <a:pt x="1532970" y="1327309"/>
                  </a:moveTo>
                  <a:cubicBezTo>
                    <a:pt x="1567260" y="1342549"/>
                    <a:pt x="1512015" y="1349216"/>
                    <a:pt x="1532970" y="1327309"/>
                  </a:cubicBezTo>
                  <a:close/>
                  <a:moveTo>
                    <a:pt x="757635" y="1423511"/>
                  </a:moveTo>
                  <a:cubicBezTo>
                    <a:pt x="685245" y="1477804"/>
                    <a:pt x="650003" y="1441609"/>
                    <a:pt x="757635" y="1423511"/>
                  </a:cubicBezTo>
                  <a:close/>
                  <a:moveTo>
                    <a:pt x="1558688" y="1764506"/>
                  </a:moveTo>
                  <a:cubicBezTo>
                    <a:pt x="1654890" y="1774984"/>
                    <a:pt x="1460580" y="1774031"/>
                    <a:pt x="1558688" y="1764506"/>
                  </a:cubicBezTo>
                  <a:close/>
                  <a:moveTo>
                    <a:pt x="1766333" y="1807369"/>
                  </a:moveTo>
                  <a:cubicBezTo>
                    <a:pt x="1818720" y="1806416"/>
                    <a:pt x="1736805" y="1819751"/>
                    <a:pt x="1766333" y="1807369"/>
                  </a:cubicBezTo>
                  <a:close/>
                  <a:moveTo>
                    <a:pt x="1769190" y="2006441"/>
                  </a:moveTo>
                  <a:cubicBezTo>
                    <a:pt x="1833008" y="2002631"/>
                    <a:pt x="1785383" y="2038826"/>
                    <a:pt x="1769190" y="2006441"/>
                  </a:cubicBezTo>
                  <a:close/>
                  <a:moveTo>
                    <a:pt x="151845" y="2329339"/>
                  </a:moveTo>
                  <a:cubicBezTo>
                    <a:pt x="171848" y="2352199"/>
                    <a:pt x="91838" y="2336006"/>
                    <a:pt x="151845" y="2329339"/>
                  </a:cubicBezTo>
                  <a:close/>
                  <a:moveTo>
                    <a:pt x="301388" y="2397919"/>
                  </a:moveTo>
                  <a:cubicBezTo>
                    <a:pt x="343298" y="2445544"/>
                    <a:pt x="410925" y="2404586"/>
                    <a:pt x="469028" y="2426494"/>
                  </a:cubicBezTo>
                  <a:cubicBezTo>
                    <a:pt x="496650" y="2436971"/>
                    <a:pt x="202328" y="2484596"/>
                    <a:pt x="301388" y="2397919"/>
                  </a:cubicBezTo>
                  <a:close/>
                  <a:moveTo>
                    <a:pt x="517605" y="2406491"/>
                  </a:moveTo>
                  <a:cubicBezTo>
                    <a:pt x="548085" y="2420779"/>
                    <a:pt x="455693" y="2415064"/>
                    <a:pt x="517605" y="2406491"/>
                  </a:cubicBezTo>
                  <a:close/>
                  <a:moveTo>
                    <a:pt x="423308" y="2736056"/>
                  </a:moveTo>
                  <a:cubicBezTo>
                    <a:pt x="450930" y="2753201"/>
                    <a:pt x="381398" y="2750344"/>
                    <a:pt x="423308" y="2736056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87755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2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+mn-ea"/>
                <a:cs typeface="+mn-cs"/>
              </a:endParaRPr>
            </a:p>
          </p:txBody>
        </p:sp>
        <p:sp>
          <p:nvSpPr>
            <p:cNvPr id="22" name="Graphic 12">
              <a:extLst>
                <a:ext uri="{FF2B5EF4-FFF2-40B4-BE49-F238E27FC236}">
                  <a16:creationId xmlns:a16="http://schemas.microsoft.com/office/drawing/2014/main" id="{C6014E2D-71FC-48A1-94E0-4E4F2C45668A}"/>
                </a:ext>
              </a:extLst>
            </p:cNvPr>
            <p:cNvSpPr/>
            <p:nvPr userDrawn="1"/>
          </p:nvSpPr>
          <p:spPr>
            <a:xfrm rot="1218983">
              <a:off x="10964740" y="3205291"/>
              <a:ext cx="954859" cy="954859"/>
            </a:xfrm>
            <a:custGeom>
              <a:avLst/>
              <a:gdLst>
                <a:gd name="connsiteX0" fmla="*/ 1546384 w 1800225"/>
                <a:gd name="connsiteY0" fmla="*/ 280885 h 1800225"/>
                <a:gd name="connsiteX1" fmla="*/ 1511141 w 1800225"/>
                <a:gd name="connsiteY1" fmla="*/ 279932 h 1800225"/>
                <a:gd name="connsiteX2" fmla="*/ 1467326 w 1800225"/>
                <a:gd name="connsiteY2" fmla="*/ 320890 h 1800225"/>
                <a:gd name="connsiteX3" fmla="*/ 1457801 w 1800225"/>
                <a:gd name="connsiteY3" fmla="*/ 275170 h 1800225"/>
                <a:gd name="connsiteX4" fmla="*/ 1427321 w 1800225"/>
                <a:gd name="connsiteY4" fmla="*/ 256120 h 1800225"/>
                <a:gd name="connsiteX5" fmla="*/ 1423511 w 1800225"/>
                <a:gd name="connsiteY5" fmla="*/ 257072 h 1800225"/>
                <a:gd name="connsiteX6" fmla="*/ 1408271 w 1800225"/>
                <a:gd name="connsiteY6" fmla="*/ 285647 h 1800225"/>
                <a:gd name="connsiteX7" fmla="*/ 1424464 w 1800225"/>
                <a:gd name="connsiteY7" fmla="*/ 361847 h 1800225"/>
                <a:gd name="connsiteX8" fmla="*/ 1424464 w 1800225"/>
                <a:gd name="connsiteY8" fmla="*/ 361847 h 1800225"/>
                <a:gd name="connsiteX9" fmla="*/ 1378744 w 1800225"/>
                <a:gd name="connsiteY9" fmla="*/ 405662 h 1800225"/>
                <a:gd name="connsiteX10" fmla="*/ 1378744 w 1800225"/>
                <a:gd name="connsiteY10" fmla="*/ 405662 h 1800225"/>
                <a:gd name="connsiteX11" fmla="*/ 1356836 w 1800225"/>
                <a:gd name="connsiteY11" fmla="*/ 306602 h 1800225"/>
                <a:gd name="connsiteX12" fmla="*/ 1326356 w 1800225"/>
                <a:gd name="connsiteY12" fmla="*/ 287552 h 1800225"/>
                <a:gd name="connsiteX13" fmla="*/ 1322546 w 1800225"/>
                <a:gd name="connsiteY13" fmla="*/ 288505 h 1800225"/>
                <a:gd name="connsiteX14" fmla="*/ 1307306 w 1800225"/>
                <a:gd name="connsiteY14" fmla="*/ 317080 h 1800225"/>
                <a:gd name="connsiteX15" fmla="*/ 1335881 w 1800225"/>
                <a:gd name="connsiteY15" fmla="*/ 445667 h 1800225"/>
                <a:gd name="connsiteX16" fmla="*/ 1335881 w 1800225"/>
                <a:gd name="connsiteY16" fmla="*/ 445667 h 1800225"/>
                <a:gd name="connsiteX17" fmla="*/ 1291114 w 1800225"/>
                <a:gd name="connsiteY17" fmla="*/ 488530 h 1800225"/>
                <a:gd name="connsiteX18" fmla="*/ 1291114 w 1800225"/>
                <a:gd name="connsiteY18" fmla="*/ 488530 h 1800225"/>
                <a:gd name="connsiteX19" fmla="*/ 1261586 w 1800225"/>
                <a:gd name="connsiteY19" fmla="*/ 353275 h 1800225"/>
                <a:gd name="connsiteX20" fmla="*/ 1231106 w 1800225"/>
                <a:gd name="connsiteY20" fmla="*/ 334225 h 1800225"/>
                <a:gd name="connsiteX21" fmla="*/ 1227296 w 1800225"/>
                <a:gd name="connsiteY21" fmla="*/ 335177 h 1800225"/>
                <a:gd name="connsiteX22" fmla="*/ 1212056 w 1800225"/>
                <a:gd name="connsiteY22" fmla="*/ 363752 h 1800225"/>
                <a:gd name="connsiteX23" fmla="*/ 1248251 w 1800225"/>
                <a:gd name="connsiteY23" fmla="*/ 529487 h 1800225"/>
                <a:gd name="connsiteX24" fmla="*/ 1193959 w 1800225"/>
                <a:gd name="connsiteY24" fmla="*/ 581875 h 1800225"/>
                <a:gd name="connsiteX25" fmla="*/ 1150144 w 1800225"/>
                <a:gd name="connsiteY25" fmla="*/ 372325 h 1800225"/>
                <a:gd name="connsiteX26" fmla="*/ 1134904 w 1800225"/>
                <a:gd name="connsiteY26" fmla="*/ 354227 h 1800225"/>
                <a:gd name="connsiteX27" fmla="*/ 1111091 w 1800225"/>
                <a:gd name="connsiteY27" fmla="*/ 356132 h 1800225"/>
                <a:gd name="connsiteX28" fmla="*/ 929164 w 1800225"/>
                <a:gd name="connsiteY28" fmla="*/ 471385 h 1800225"/>
                <a:gd name="connsiteX29" fmla="*/ 928211 w 1800225"/>
                <a:gd name="connsiteY29" fmla="*/ 396137 h 1800225"/>
                <a:gd name="connsiteX30" fmla="*/ 1072991 w 1800225"/>
                <a:gd name="connsiteY30" fmla="*/ 307555 h 1800225"/>
                <a:gd name="connsiteX31" fmla="*/ 1081564 w 1800225"/>
                <a:gd name="connsiteY31" fmla="*/ 272312 h 1800225"/>
                <a:gd name="connsiteX32" fmla="*/ 1046321 w 1800225"/>
                <a:gd name="connsiteY32" fmla="*/ 263740 h 1800225"/>
                <a:gd name="connsiteX33" fmla="*/ 929164 w 1800225"/>
                <a:gd name="connsiteY33" fmla="*/ 336130 h 1800225"/>
                <a:gd name="connsiteX34" fmla="*/ 929164 w 1800225"/>
                <a:gd name="connsiteY34" fmla="*/ 273265 h 1800225"/>
                <a:gd name="connsiteX35" fmla="*/ 1041559 w 1800225"/>
                <a:gd name="connsiteY35" fmla="*/ 203732 h 1800225"/>
                <a:gd name="connsiteX36" fmla="*/ 1050131 w 1800225"/>
                <a:gd name="connsiteY36" fmla="*/ 168490 h 1800225"/>
                <a:gd name="connsiteX37" fmla="*/ 1014889 w 1800225"/>
                <a:gd name="connsiteY37" fmla="*/ 159917 h 1800225"/>
                <a:gd name="connsiteX38" fmla="*/ 929164 w 1800225"/>
                <a:gd name="connsiteY38" fmla="*/ 212305 h 1800225"/>
                <a:gd name="connsiteX39" fmla="*/ 929164 w 1800225"/>
                <a:gd name="connsiteY39" fmla="*/ 149440 h 1800225"/>
                <a:gd name="connsiteX40" fmla="*/ 929164 w 1800225"/>
                <a:gd name="connsiteY40" fmla="*/ 148487 h 1800225"/>
                <a:gd name="connsiteX41" fmla="*/ 994886 w 1800225"/>
                <a:gd name="connsiteY41" fmla="*/ 107530 h 1800225"/>
                <a:gd name="connsiteX42" fmla="*/ 1003459 w 1800225"/>
                <a:gd name="connsiteY42" fmla="*/ 72287 h 1800225"/>
                <a:gd name="connsiteX43" fmla="*/ 968216 w 1800225"/>
                <a:gd name="connsiteY43" fmla="*/ 63715 h 1800225"/>
                <a:gd name="connsiteX44" fmla="*/ 929164 w 1800225"/>
                <a:gd name="connsiteY44" fmla="*/ 88480 h 1800225"/>
                <a:gd name="connsiteX45" fmla="*/ 929164 w 1800225"/>
                <a:gd name="connsiteY45" fmla="*/ 88480 h 1800225"/>
                <a:gd name="connsiteX46" fmla="*/ 929164 w 1800225"/>
                <a:gd name="connsiteY46" fmla="*/ 28472 h 1800225"/>
                <a:gd name="connsiteX47" fmla="*/ 902494 w 1800225"/>
                <a:gd name="connsiteY47" fmla="*/ 7517 h 1800225"/>
                <a:gd name="connsiteX48" fmla="*/ 892969 w 1800225"/>
                <a:gd name="connsiteY48" fmla="*/ 9422 h 1800225"/>
                <a:gd name="connsiteX49" fmla="*/ 876776 w 1800225"/>
                <a:gd name="connsiteY49" fmla="*/ 32282 h 1800225"/>
                <a:gd name="connsiteX50" fmla="*/ 876776 w 1800225"/>
                <a:gd name="connsiteY50" fmla="*/ 82765 h 1800225"/>
                <a:gd name="connsiteX51" fmla="*/ 852011 w 1800225"/>
                <a:gd name="connsiteY51" fmla="*/ 66572 h 1800225"/>
                <a:gd name="connsiteX52" fmla="*/ 829151 w 1800225"/>
                <a:gd name="connsiteY52" fmla="*/ 64667 h 1800225"/>
                <a:gd name="connsiteX53" fmla="*/ 817721 w 1800225"/>
                <a:gd name="connsiteY53" fmla="*/ 74192 h 1800225"/>
                <a:gd name="connsiteX54" fmla="*/ 824389 w 1800225"/>
                <a:gd name="connsiteY54" fmla="*/ 109435 h 1800225"/>
                <a:gd name="connsiteX55" fmla="*/ 877729 w 1800225"/>
                <a:gd name="connsiteY55" fmla="*/ 144677 h 1800225"/>
                <a:gd name="connsiteX56" fmla="*/ 876776 w 1800225"/>
                <a:gd name="connsiteY56" fmla="*/ 206590 h 1800225"/>
                <a:gd name="connsiteX57" fmla="*/ 807244 w 1800225"/>
                <a:gd name="connsiteY57" fmla="*/ 159917 h 1800225"/>
                <a:gd name="connsiteX58" fmla="*/ 783431 w 1800225"/>
                <a:gd name="connsiteY58" fmla="*/ 157060 h 1800225"/>
                <a:gd name="connsiteX59" fmla="*/ 772001 w 1800225"/>
                <a:gd name="connsiteY59" fmla="*/ 166585 h 1800225"/>
                <a:gd name="connsiteX60" fmla="*/ 778669 w 1800225"/>
                <a:gd name="connsiteY60" fmla="*/ 201827 h 1800225"/>
                <a:gd name="connsiteX61" fmla="*/ 877729 w 1800225"/>
                <a:gd name="connsiteY61" fmla="*/ 268502 h 1800225"/>
                <a:gd name="connsiteX62" fmla="*/ 877729 w 1800225"/>
                <a:gd name="connsiteY62" fmla="*/ 268502 h 1800225"/>
                <a:gd name="connsiteX63" fmla="*/ 877729 w 1800225"/>
                <a:gd name="connsiteY63" fmla="*/ 343750 h 1800225"/>
                <a:gd name="connsiteX64" fmla="*/ 754856 w 1800225"/>
                <a:gd name="connsiteY64" fmla="*/ 260882 h 1800225"/>
                <a:gd name="connsiteX65" fmla="*/ 731044 w 1800225"/>
                <a:gd name="connsiteY65" fmla="*/ 258025 h 1800225"/>
                <a:gd name="connsiteX66" fmla="*/ 719614 w 1800225"/>
                <a:gd name="connsiteY66" fmla="*/ 267550 h 1800225"/>
                <a:gd name="connsiteX67" fmla="*/ 726281 w 1800225"/>
                <a:gd name="connsiteY67" fmla="*/ 302792 h 1800225"/>
                <a:gd name="connsiteX68" fmla="*/ 878681 w 1800225"/>
                <a:gd name="connsiteY68" fmla="*/ 404710 h 1800225"/>
                <a:gd name="connsiteX69" fmla="*/ 878681 w 1800225"/>
                <a:gd name="connsiteY69" fmla="*/ 483767 h 1800225"/>
                <a:gd name="connsiteX70" fmla="*/ 707231 w 1800225"/>
                <a:gd name="connsiteY70" fmla="*/ 363752 h 1800225"/>
                <a:gd name="connsiteX71" fmla="*/ 683419 w 1800225"/>
                <a:gd name="connsiteY71" fmla="*/ 361847 h 1800225"/>
                <a:gd name="connsiteX72" fmla="*/ 668179 w 1800225"/>
                <a:gd name="connsiteY72" fmla="*/ 379945 h 1800225"/>
                <a:gd name="connsiteX73" fmla="*/ 628174 w 1800225"/>
                <a:gd name="connsiteY73" fmla="*/ 584732 h 1800225"/>
                <a:gd name="connsiteX74" fmla="*/ 573881 w 1800225"/>
                <a:gd name="connsiteY74" fmla="*/ 528535 h 1800225"/>
                <a:gd name="connsiteX75" fmla="*/ 611981 w 1800225"/>
                <a:gd name="connsiteY75" fmla="*/ 349465 h 1800225"/>
                <a:gd name="connsiteX76" fmla="*/ 592931 w 1800225"/>
                <a:gd name="connsiteY76" fmla="*/ 318985 h 1800225"/>
                <a:gd name="connsiteX77" fmla="*/ 577691 w 1800225"/>
                <a:gd name="connsiteY77" fmla="*/ 319937 h 1800225"/>
                <a:gd name="connsiteX78" fmla="*/ 562451 w 1800225"/>
                <a:gd name="connsiteY78" fmla="*/ 338035 h 1800225"/>
                <a:gd name="connsiteX79" fmla="*/ 531019 w 1800225"/>
                <a:gd name="connsiteY79" fmla="*/ 482815 h 1800225"/>
                <a:gd name="connsiteX80" fmla="*/ 478631 w 1800225"/>
                <a:gd name="connsiteY80" fmla="*/ 428522 h 1800225"/>
                <a:gd name="connsiteX81" fmla="*/ 478631 w 1800225"/>
                <a:gd name="connsiteY81" fmla="*/ 428522 h 1800225"/>
                <a:gd name="connsiteX82" fmla="*/ 504349 w 1800225"/>
                <a:gd name="connsiteY82" fmla="*/ 312317 h 1800225"/>
                <a:gd name="connsiteX83" fmla="*/ 485299 w 1800225"/>
                <a:gd name="connsiteY83" fmla="*/ 281837 h 1800225"/>
                <a:gd name="connsiteX84" fmla="*/ 470059 w 1800225"/>
                <a:gd name="connsiteY84" fmla="*/ 282790 h 1800225"/>
                <a:gd name="connsiteX85" fmla="*/ 454819 w 1800225"/>
                <a:gd name="connsiteY85" fmla="*/ 300887 h 1800225"/>
                <a:gd name="connsiteX86" fmla="*/ 437674 w 1800225"/>
                <a:gd name="connsiteY86" fmla="*/ 382802 h 1800225"/>
                <a:gd name="connsiteX87" fmla="*/ 393859 w 1800225"/>
                <a:gd name="connsiteY87" fmla="*/ 338987 h 1800225"/>
                <a:gd name="connsiteX88" fmla="*/ 407194 w 1800225"/>
                <a:gd name="connsiteY88" fmla="*/ 276122 h 1800225"/>
                <a:gd name="connsiteX89" fmla="*/ 388144 w 1800225"/>
                <a:gd name="connsiteY89" fmla="*/ 245642 h 1800225"/>
                <a:gd name="connsiteX90" fmla="*/ 373856 w 1800225"/>
                <a:gd name="connsiteY90" fmla="*/ 246595 h 1800225"/>
                <a:gd name="connsiteX91" fmla="*/ 358616 w 1800225"/>
                <a:gd name="connsiteY91" fmla="*/ 264692 h 1800225"/>
                <a:gd name="connsiteX92" fmla="*/ 352901 w 1800225"/>
                <a:gd name="connsiteY92" fmla="*/ 293267 h 1800225"/>
                <a:gd name="connsiteX93" fmla="*/ 317659 w 1800225"/>
                <a:gd name="connsiteY93" fmla="*/ 257072 h 1800225"/>
                <a:gd name="connsiteX94" fmla="*/ 290036 w 1800225"/>
                <a:gd name="connsiteY94" fmla="*/ 251357 h 1800225"/>
                <a:gd name="connsiteX95" fmla="*/ 282416 w 1800225"/>
                <a:gd name="connsiteY95" fmla="*/ 257072 h 1800225"/>
                <a:gd name="connsiteX96" fmla="*/ 281464 w 1800225"/>
                <a:gd name="connsiteY96" fmla="*/ 292315 h 1800225"/>
                <a:gd name="connsiteX97" fmla="*/ 323374 w 1800225"/>
                <a:gd name="connsiteY97" fmla="*/ 335177 h 1800225"/>
                <a:gd name="connsiteX98" fmla="*/ 323374 w 1800225"/>
                <a:gd name="connsiteY98" fmla="*/ 335177 h 1800225"/>
                <a:gd name="connsiteX99" fmla="*/ 277654 w 1800225"/>
                <a:gd name="connsiteY99" fmla="*/ 344702 h 1800225"/>
                <a:gd name="connsiteX100" fmla="*/ 258604 w 1800225"/>
                <a:gd name="connsiteY100" fmla="*/ 375182 h 1800225"/>
                <a:gd name="connsiteX101" fmla="*/ 289084 w 1800225"/>
                <a:gd name="connsiteY101" fmla="*/ 394232 h 1800225"/>
                <a:gd name="connsiteX102" fmla="*/ 364331 w 1800225"/>
                <a:gd name="connsiteY102" fmla="*/ 378040 h 1800225"/>
                <a:gd name="connsiteX103" fmla="*/ 364331 w 1800225"/>
                <a:gd name="connsiteY103" fmla="*/ 378040 h 1800225"/>
                <a:gd name="connsiteX104" fmla="*/ 407194 w 1800225"/>
                <a:gd name="connsiteY104" fmla="*/ 423760 h 1800225"/>
                <a:gd name="connsiteX105" fmla="*/ 309086 w 1800225"/>
                <a:gd name="connsiteY105" fmla="*/ 444715 h 1800225"/>
                <a:gd name="connsiteX106" fmla="*/ 290036 w 1800225"/>
                <a:gd name="connsiteY106" fmla="*/ 475195 h 1800225"/>
                <a:gd name="connsiteX107" fmla="*/ 320516 w 1800225"/>
                <a:gd name="connsiteY107" fmla="*/ 494245 h 1800225"/>
                <a:gd name="connsiteX108" fmla="*/ 449104 w 1800225"/>
                <a:gd name="connsiteY108" fmla="*/ 465670 h 1800225"/>
                <a:gd name="connsiteX109" fmla="*/ 491966 w 1800225"/>
                <a:gd name="connsiteY109" fmla="*/ 511390 h 1800225"/>
                <a:gd name="connsiteX110" fmla="*/ 356711 w 1800225"/>
                <a:gd name="connsiteY110" fmla="*/ 540917 h 1800225"/>
                <a:gd name="connsiteX111" fmla="*/ 337661 w 1800225"/>
                <a:gd name="connsiteY111" fmla="*/ 571397 h 1800225"/>
                <a:gd name="connsiteX112" fmla="*/ 368141 w 1800225"/>
                <a:gd name="connsiteY112" fmla="*/ 590447 h 1800225"/>
                <a:gd name="connsiteX113" fmla="*/ 533876 w 1800225"/>
                <a:gd name="connsiteY113" fmla="*/ 554252 h 1800225"/>
                <a:gd name="connsiteX114" fmla="*/ 585311 w 1800225"/>
                <a:gd name="connsiteY114" fmla="*/ 608545 h 1800225"/>
                <a:gd name="connsiteX115" fmla="*/ 371951 w 1800225"/>
                <a:gd name="connsiteY115" fmla="*/ 655217 h 1800225"/>
                <a:gd name="connsiteX116" fmla="*/ 353854 w 1800225"/>
                <a:gd name="connsiteY116" fmla="*/ 670457 h 1800225"/>
                <a:gd name="connsiteX117" fmla="*/ 355759 w 1800225"/>
                <a:gd name="connsiteY117" fmla="*/ 693317 h 1800225"/>
                <a:gd name="connsiteX118" fmla="*/ 471964 w 1800225"/>
                <a:gd name="connsiteY118" fmla="*/ 876197 h 1800225"/>
                <a:gd name="connsiteX119" fmla="*/ 395764 w 1800225"/>
                <a:gd name="connsiteY119" fmla="*/ 876197 h 1800225"/>
                <a:gd name="connsiteX120" fmla="*/ 307181 w 1800225"/>
                <a:gd name="connsiteY120" fmla="*/ 731417 h 1800225"/>
                <a:gd name="connsiteX121" fmla="*/ 275749 w 1800225"/>
                <a:gd name="connsiteY121" fmla="*/ 720940 h 1800225"/>
                <a:gd name="connsiteX122" fmla="*/ 271939 w 1800225"/>
                <a:gd name="connsiteY122" fmla="*/ 722845 h 1800225"/>
                <a:gd name="connsiteX123" fmla="*/ 263366 w 1800225"/>
                <a:gd name="connsiteY123" fmla="*/ 758087 h 1800225"/>
                <a:gd name="connsiteX124" fmla="*/ 335756 w 1800225"/>
                <a:gd name="connsiteY124" fmla="*/ 876197 h 1800225"/>
                <a:gd name="connsiteX125" fmla="*/ 335756 w 1800225"/>
                <a:gd name="connsiteY125" fmla="*/ 876197 h 1800225"/>
                <a:gd name="connsiteX126" fmla="*/ 273844 w 1800225"/>
                <a:gd name="connsiteY126" fmla="*/ 876197 h 1800225"/>
                <a:gd name="connsiteX127" fmla="*/ 272891 w 1800225"/>
                <a:gd name="connsiteY127" fmla="*/ 876197 h 1800225"/>
                <a:gd name="connsiteX128" fmla="*/ 203359 w 1800225"/>
                <a:gd name="connsiteY128" fmla="*/ 763802 h 1800225"/>
                <a:gd name="connsiteX129" fmla="*/ 171926 w 1800225"/>
                <a:gd name="connsiteY129" fmla="*/ 753325 h 1800225"/>
                <a:gd name="connsiteX130" fmla="*/ 168116 w 1800225"/>
                <a:gd name="connsiteY130" fmla="*/ 755230 h 1800225"/>
                <a:gd name="connsiteX131" fmla="*/ 159544 w 1800225"/>
                <a:gd name="connsiteY131" fmla="*/ 790472 h 1800225"/>
                <a:gd name="connsiteX132" fmla="*/ 212884 w 1800225"/>
                <a:gd name="connsiteY132" fmla="*/ 876197 h 1800225"/>
                <a:gd name="connsiteX133" fmla="*/ 212884 w 1800225"/>
                <a:gd name="connsiteY133" fmla="*/ 876197 h 1800225"/>
                <a:gd name="connsiteX134" fmla="*/ 150019 w 1800225"/>
                <a:gd name="connsiteY134" fmla="*/ 876197 h 1800225"/>
                <a:gd name="connsiteX135" fmla="*/ 150019 w 1800225"/>
                <a:gd name="connsiteY135" fmla="*/ 876197 h 1800225"/>
                <a:gd name="connsiteX136" fmla="*/ 109061 w 1800225"/>
                <a:gd name="connsiteY136" fmla="*/ 809522 h 1800225"/>
                <a:gd name="connsiteX137" fmla="*/ 77629 w 1800225"/>
                <a:gd name="connsiteY137" fmla="*/ 799045 h 1800225"/>
                <a:gd name="connsiteX138" fmla="*/ 73819 w 1800225"/>
                <a:gd name="connsiteY138" fmla="*/ 800950 h 1800225"/>
                <a:gd name="connsiteX139" fmla="*/ 65246 w 1800225"/>
                <a:gd name="connsiteY139" fmla="*/ 836192 h 1800225"/>
                <a:gd name="connsiteX140" fmla="*/ 90011 w 1800225"/>
                <a:gd name="connsiteY140" fmla="*/ 876197 h 1800225"/>
                <a:gd name="connsiteX141" fmla="*/ 30004 w 1800225"/>
                <a:gd name="connsiteY141" fmla="*/ 877150 h 1800225"/>
                <a:gd name="connsiteX142" fmla="*/ 7144 w 1800225"/>
                <a:gd name="connsiteY142" fmla="*/ 902867 h 1800225"/>
                <a:gd name="connsiteX143" fmla="*/ 32861 w 1800225"/>
                <a:gd name="connsiteY143" fmla="*/ 927632 h 1800225"/>
                <a:gd name="connsiteX144" fmla="*/ 82391 w 1800225"/>
                <a:gd name="connsiteY144" fmla="*/ 926680 h 1800225"/>
                <a:gd name="connsiteX145" fmla="*/ 83344 w 1800225"/>
                <a:gd name="connsiteY145" fmla="*/ 926680 h 1800225"/>
                <a:gd name="connsiteX146" fmla="*/ 67151 w 1800225"/>
                <a:gd name="connsiteY146" fmla="*/ 951445 h 1800225"/>
                <a:gd name="connsiteX147" fmla="*/ 73819 w 1800225"/>
                <a:gd name="connsiteY147" fmla="*/ 986687 h 1800225"/>
                <a:gd name="connsiteX148" fmla="*/ 109061 w 1800225"/>
                <a:gd name="connsiteY148" fmla="*/ 980020 h 1800225"/>
                <a:gd name="connsiteX149" fmla="*/ 144304 w 1800225"/>
                <a:gd name="connsiteY149" fmla="*/ 927632 h 1800225"/>
                <a:gd name="connsiteX150" fmla="*/ 207169 w 1800225"/>
                <a:gd name="connsiteY150" fmla="*/ 927632 h 1800225"/>
                <a:gd name="connsiteX151" fmla="*/ 207169 w 1800225"/>
                <a:gd name="connsiteY151" fmla="*/ 927632 h 1800225"/>
                <a:gd name="connsiteX152" fmla="*/ 159544 w 1800225"/>
                <a:gd name="connsiteY152" fmla="*/ 998117 h 1800225"/>
                <a:gd name="connsiteX153" fmla="*/ 166211 w 1800225"/>
                <a:gd name="connsiteY153" fmla="*/ 1033360 h 1800225"/>
                <a:gd name="connsiteX154" fmla="*/ 201454 w 1800225"/>
                <a:gd name="connsiteY154" fmla="*/ 1026692 h 1800225"/>
                <a:gd name="connsiteX155" fmla="*/ 268129 w 1800225"/>
                <a:gd name="connsiteY155" fmla="*/ 927632 h 1800225"/>
                <a:gd name="connsiteX156" fmla="*/ 342424 w 1800225"/>
                <a:gd name="connsiteY156" fmla="*/ 928585 h 1800225"/>
                <a:gd name="connsiteX157" fmla="*/ 260509 w 1800225"/>
                <a:gd name="connsiteY157" fmla="*/ 1051457 h 1800225"/>
                <a:gd name="connsiteX158" fmla="*/ 267176 w 1800225"/>
                <a:gd name="connsiteY158" fmla="*/ 1086700 h 1800225"/>
                <a:gd name="connsiteX159" fmla="*/ 302419 w 1800225"/>
                <a:gd name="connsiteY159" fmla="*/ 1080032 h 1800225"/>
                <a:gd name="connsiteX160" fmla="*/ 404336 w 1800225"/>
                <a:gd name="connsiteY160" fmla="*/ 928585 h 1800225"/>
                <a:gd name="connsiteX161" fmla="*/ 483394 w 1800225"/>
                <a:gd name="connsiteY161" fmla="*/ 928585 h 1800225"/>
                <a:gd name="connsiteX162" fmla="*/ 362426 w 1800225"/>
                <a:gd name="connsiteY162" fmla="*/ 1100035 h 1800225"/>
                <a:gd name="connsiteX163" fmla="*/ 360521 w 1800225"/>
                <a:gd name="connsiteY163" fmla="*/ 1123847 h 1800225"/>
                <a:gd name="connsiteX164" fmla="*/ 378619 w 1800225"/>
                <a:gd name="connsiteY164" fmla="*/ 1139088 h 1800225"/>
                <a:gd name="connsiteX165" fmla="*/ 584359 w 1800225"/>
                <a:gd name="connsiteY165" fmla="*/ 1177188 h 1800225"/>
                <a:gd name="connsiteX166" fmla="*/ 528161 w 1800225"/>
                <a:gd name="connsiteY166" fmla="*/ 1232433 h 1800225"/>
                <a:gd name="connsiteX167" fmla="*/ 349091 w 1800225"/>
                <a:gd name="connsiteY167" fmla="*/ 1193380 h 1800225"/>
                <a:gd name="connsiteX168" fmla="*/ 334804 w 1800225"/>
                <a:gd name="connsiteY168" fmla="*/ 1194332 h 1800225"/>
                <a:gd name="connsiteX169" fmla="*/ 319564 w 1800225"/>
                <a:gd name="connsiteY169" fmla="*/ 1212430 h 1800225"/>
                <a:gd name="connsiteX170" fmla="*/ 338614 w 1800225"/>
                <a:gd name="connsiteY170" fmla="*/ 1242910 h 1800225"/>
                <a:gd name="connsiteX171" fmla="*/ 483394 w 1800225"/>
                <a:gd name="connsiteY171" fmla="*/ 1274342 h 1800225"/>
                <a:gd name="connsiteX172" fmla="*/ 483394 w 1800225"/>
                <a:gd name="connsiteY172" fmla="*/ 1274342 h 1800225"/>
                <a:gd name="connsiteX173" fmla="*/ 429101 w 1800225"/>
                <a:gd name="connsiteY173" fmla="*/ 1326730 h 1800225"/>
                <a:gd name="connsiteX174" fmla="*/ 311944 w 1800225"/>
                <a:gd name="connsiteY174" fmla="*/ 1300060 h 1800225"/>
                <a:gd name="connsiteX175" fmla="*/ 296704 w 1800225"/>
                <a:gd name="connsiteY175" fmla="*/ 1301013 h 1800225"/>
                <a:gd name="connsiteX176" fmla="*/ 281464 w 1800225"/>
                <a:gd name="connsiteY176" fmla="*/ 1319110 h 1800225"/>
                <a:gd name="connsiteX177" fmla="*/ 300514 w 1800225"/>
                <a:gd name="connsiteY177" fmla="*/ 1349590 h 1800225"/>
                <a:gd name="connsiteX178" fmla="*/ 383381 w 1800225"/>
                <a:gd name="connsiteY178" fmla="*/ 1367688 h 1800225"/>
                <a:gd name="connsiteX179" fmla="*/ 337661 w 1800225"/>
                <a:gd name="connsiteY179" fmla="*/ 1411502 h 1800225"/>
                <a:gd name="connsiteX180" fmla="*/ 337661 w 1800225"/>
                <a:gd name="connsiteY180" fmla="*/ 1411502 h 1800225"/>
                <a:gd name="connsiteX181" fmla="*/ 275749 w 1800225"/>
                <a:gd name="connsiteY181" fmla="*/ 1398167 h 1800225"/>
                <a:gd name="connsiteX182" fmla="*/ 261461 w 1800225"/>
                <a:gd name="connsiteY182" fmla="*/ 1399120 h 1800225"/>
                <a:gd name="connsiteX183" fmla="*/ 246221 w 1800225"/>
                <a:gd name="connsiteY183" fmla="*/ 1417217 h 1800225"/>
                <a:gd name="connsiteX184" fmla="*/ 265271 w 1800225"/>
                <a:gd name="connsiteY184" fmla="*/ 1447697 h 1800225"/>
                <a:gd name="connsiteX185" fmla="*/ 293846 w 1800225"/>
                <a:gd name="connsiteY185" fmla="*/ 1454365 h 1800225"/>
                <a:gd name="connsiteX186" fmla="*/ 293846 w 1800225"/>
                <a:gd name="connsiteY186" fmla="*/ 1454365 h 1800225"/>
                <a:gd name="connsiteX187" fmla="*/ 257651 w 1800225"/>
                <a:gd name="connsiteY187" fmla="*/ 1488655 h 1800225"/>
                <a:gd name="connsiteX188" fmla="*/ 256699 w 1800225"/>
                <a:gd name="connsiteY188" fmla="*/ 1524850 h 1800225"/>
                <a:gd name="connsiteX189" fmla="*/ 291941 w 1800225"/>
                <a:gd name="connsiteY189" fmla="*/ 1525802 h 1800225"/>
                <a:gd name="connsiteX190" fmla="*/ 334804 w 1800225"/>
                <a:gd name="connsiteY190" fmla="*/ 1483892 h 1800225"/>
                <a:gd name="connsiteX191" fmla="*/ 334804 w 1800225"/>
                <a:gd name="connsiteY191" fmla="*/ 1483892 h 1800225"/>
                <a:gd name="connsiteX192" fmla="*/ 344329 w 1800225"/>
                <a:gd name="connsiteY192" fmla="*/ 1528660 h 1800225"/>
                <a:gd name="connsiteX193" fmla="*/ 374809 w 1800225"/>
                <a:gd name="connsiteY193" fmla="*/ 1547710 h 1800225"/>
                <a:gd name="connsiteX194" fmla="*/ 393859 w 1800225"/>
                <a:gd name="connsiteY194" fmla="*/ 1517230 h 1800225"/>
                <a:gd name="connsiteX195" fmla="*/ 377666 w 1800225"/>
                <a:gd name="connsiteY195" fmla="*/ 1441983 h 1800225"/>
                <a:gd name="connsiteX196" fmla="*/ 377666 w 1800225"/>
                <a:gd name="connsiteY196" fmla="*/ 1441983 h 1800225"/>
                <a:gd name="connsiteX197" fmla="*/ 423386 w 1800225"/>
                <a:gd name="connsiteY197" fmla="*/ 1398167 h 1800225"/>
                <a:gd name="connsiteX198" fmla="*/ 444341 w 1800225"/>
                <a:gd name="connsiteY198" fmla="*/ 1496275 h 1800225"/>
                <a:gd name="connsiteX199" fmla="*/ 474821 w 1800225"/>
                <a:gd name="connsiteY199" fmla="*/ 1515325 h 1800225"/>
                <a:gd name="connsiteX200" fmla="*/ 493871 w 1800225"/>
                <a:gd name="connsiteY200" fmla="*/ 1484845 h 1800225"/>
                <a:gd name="connsiteX201" fmla="*/ 466249 w 1800225"/>
                <a:gd name="connsiteY201" fmla="*/ 1356258 h 1800225"/>
                <a:gd name="connsiteX202" fmla="*/ 467201 w 1800225"/>
                <a:gd name="connsiteY202" fmla="*/ 1356258 h 1800225"/>
                <a:gd name="connsiteX203" fmla="*/ 511969 w 1800225"/>
                <a:gd name="connsiteY203" fmla="*/ 1313395 h 1800225"/>
                <a:gd name="connsiteX204" fmla="*/ 541496 w 1800225"/>
                <a:gd name="connsiteY204" fmla="*/ 1447697 h 1800225"/>
                <a:gd name="connsiteX205" fmla="*/ 571976 w 1800225"/>
                <a:gd name="connsiteY205" fmla="*/ 1466747 h 1800225"/>
                <a:gd name="connsiteX206" fmla="*/ 591026 w 1800225"/>
                <a:gd name="connsiteY206" fmla="*/ 1436267 h 1800225"/>
                <a:gd name="connsiteX207" fmla="*/ 554831 w 1800225"/>
                <a:gd name="connsiteY207" fmla="*/ 1270533 h 1800225"/>
                <a:gd name="connsiteX208" fmla="*/ 608171 w 1800225"/>
                <a:gd name="connsiteY208" fmla="*/ 1218145 h 1800225"/>
                <a:gd name="connsiteX209" fmla="*/ 651986 w 1800225"/>
                <a:gd name="connsiteY209" fmla="*/ 1429600 h 1800225"/>
                <a:gd name="connsiteX210" fmla="*/ 667226 w 1800225"/>
                <a:gd name="connsiteY210" fmla="*/ 1447697 h 1800225"/>
                <a:gd name="connsiteX211" fmla="*/ 691039 w 1800225"/>
                <a:gd name="connsiteY211" fmla="*/ 1445792 h 1800225"/>
                <a:gd name="connsiteX212" fmla="*/ 874871 w 1800225"/>
                <a:gd name="connsiteY212" fmla="*/ 1330540 h 1800225"/>
                <a:gd name="connsiteX213" fmla="*/ 874871 w 1800225"/>
                <a:gd name="connsiteY213" fmla="*/ 1405788 h 1800225"/>
                <a:gd name="connsiteX214" fmla="*/ 874871 w 1800225"/>
                <a:gd name="connsiteY214" fmla="*/ 1405788 h 1800225"/>
                <a:gd name="connsiteX215" fmla="*/ 731044 w 1800225"/>
                <a:gd name="connsiteY215" fmla="*/ 1497227 h 1800225"/>
                <a:gd name="connsiteX216" fmla="*/ 722471 w 1800225"/>
                <a:gd name="connsiteY216" fmla="*/ 1532470 h 1800225"/>
                <a:gd name="connsiteX217" fmla="*/ 757714 w 1800225"/>
                <a:gd name="connsiteY217" fmla="*/ 1541042 h 1800225"/>
                <a:gd name="connsiteX218" fmla="*/ 875824 w 1800225"/>
                <a:gd name="connsiteY218" fmla="*/ 1468652 h 1800225"/>
                <a:gd name="connsiteX219" fmla="*/ 875824 w 1800225"/>
                <a:gd name="connsiteY219" fmla="*/ 1468652 h 1800225"/>
                <a:gd name="connsiteX220" fmla="*/ 875824 w 1800225"/>
                <a:gd name="connsiteY220" fmla="*/ 1530565 h 1800225"/>
                <a:gd name="connsiteX221" fmla="*/ 875824 w 1800225"/>
                <a:gd name="connsiteY221" fmla="*/ 1530565 h 1800225"/>
                <a:gd name="connsiteX222" fmla="*/ 763429 w 1800225"/>
                <a:gd name="connsiteY222" fmla="*/ 1600097 h 1800225"/>
                <a:gd name="connsiteX223" fmla="*/ 754856 w 1800225"/>
                <a:gd name="connsiteY223" fmla="*/ 1635340 h 1800225"/>
                <a:gd name="connsiteX224" fmla="*/ 790099 w 1800225"/>
                <a:gd name="connsiteY224" fmla="*/ 1643913 h 1800225"/>
                <a:gd name="connsiteX225" fmla="*/ 875824 w 1800225"/>
                <a:gd name="connsiteY225" fmla="*/ 1590572 h 1800225"/>
                <a:gd name="connsiteX226" fmla="*/ 875824 w 1800225"/>
                <a:gd name="connsiteY226" fmla="*/ 1591525 h 1800225"/>
                <a:gd name="connsiteX227" fmla="*/ 875824 w 1800225"/>
                <a:gd name="connsiteY227" fmla="*/ 1654390 h 1800225"/>
                <a:gd name="connsiteX228" fmla="*/ 809149 w 1800225"/>
                <a:gd name="connsiteY228" fmla="*/ 1695347 h 1800225"/>
                <a:gd name="connsiteX229" fmla="*/ 800576 w 1800225"/>
                <a:gd name="connsiteY229" fmla="*/ 1730590 h 1800225"/>
                <a:gd name="connsiteX230" fmla="*/ 835819 w 1800225"/>
                <a:gd name="connsiteY230" fmla="*/ 1739163 h 1800225"/>
                <a:gd name="connsiteX231" fmla="*/ 875824 w 1800225"/>
                <a:gd name="connsiteY231" fmla="*/ 1714397 h 1800225"/>
                <a:gd name="connsiteX232" fmla="*/ 875824 w 1800225"/>
                <a:gd name="connsiteY232" fmla="*/ 1715350 h 1800225"/>
                <a:gd name="connsiteX233" fmla="*/ 875824 w 1800225"/>
                <a:gd name="connsiteY233" fmla="*/ 1774405 h 1800225"/>
                <a:gd name="connsiteX234" fmla="*/ 901541 w 1800225"/>
                <a:gd name="connsiteY234" fmla="*/ 1800122 h 1800225"/>
                <a:gd name="connsiteX235" fmla="*/ 926306 w 1800225"/>
                <a:gd name="connsiteY235" fmla="*/ 1774405 h 1800225"/>
                <a:gd name="connsiteX236" fmla="*/ 927259 w 1800225"/>
                <a:gd name="connsiteY236" fmla="*/ 1723922 h 1800225"/>
                <a:gd name="connsiteX237" fmla="*/ 927259 w 1800225"/>
                <a:gd name="connsiteY237" fmla="*/ 1723922 h 1800225"/>
                <a:gd name="connsiteX238" fmla="*/ 951071 w 1800225"/>
                <a:gd name="connsiteY238" fmla="*/ 1740115 h 1800225"/>
                <a:gd name="connsiteX239" fmla="*/ 986314 w 1800225"/>
                <a:gd name="connsiteY239" fmla="*/ 1733447 h 1800225"/>
                <a:gd name="connsiteX240" fmla="*/ 979646 w 1800225"/>
                <a:gd name="connsiteY240" fmla="*/ 1698205 h 1800225"/>
                <a:gd name="connsiteX241" fmla="*/ 926306 w 1800225"/>
                <a:gd name="connsiteY241" fmla="*/ 1662010 h 1800225"/>
                <a:gd name="connsiteX242" fmla="*/ 926306 w 1800225"/>
                <a:gd name="connsiteY242" fmla="*/ 1662010 h 1800225"/>
                <a:gd name="connsiteX243" fmla="*/ 926306 w 1800225"/>
                <a:gd name="connsiteY243" fmla="*/ 1600097 h 1800225"/>
                <a:gd name="connsiteX244" fmla="*/ 926306 w 1800225"/>
                <a:gd name="connsiteY244" fmla="*/ 1599145 h 1800225"/>
                <a:gd name="connsiteX245" fmla="*/ 926306 w 1800225"/>
                <a:gd name="connsiteY245" fmla="*/ 1599145 h 1800225"/>
                <a:gd name="connsiteX246" fmla="*/ 997744 w 1800225"/>
                <a:gd name="connsiteY246" fmla="*/ 1646770 h 1800225"/>
                <a:gd name="connsiteX247" fmla="*/ 1032986 w 1800225"/>
                <a:gd name="connsiteY247" fmla="*/ 1640102 h 1800225"/>
                <a:gd name="connsiteX248" fmla="*/ 1026319 w 1800225"/>
                <a:gd name="connsiteY248" fmla="*/ 1604860 h 1800225"/>
                <a:gd name="connsiteX249" fmla="*/ 927259 w 1800225"/>
                <a:gd name="connsiteY249" fmla="*/ 1538185 h 1800225"/>
                <a:gd name="connsiteX250" fmla="*/ 927259 w 1800225"/>
                <a:gd name="connsiteY250" fmla="*/ 1538185 h 1800225"/>
                <a:gd name="connsiteX251" fmla="*/ 928211 w 1800225"/>
                <a:gd name="connsiteY251" fmla="*/ 1463890 h 1800225"/>
                <a:gd name="connsiteX252" fmla="*/ 928211 w 1800225"/>
                <a:gd name="connsiteY252" fmla="*/ 1463890 h 1800225"/>
                <a:gd name="connsiteX253" fmla="*/ 1051084 w 1800225"/>
                <a:gd name="connsiteY253" fmla="*/ 1546758 h 1800225"/>
                <a:gd name="connsiteX254" fmla="*/ 1086326 w 1800225"/>
                <a:gd name="connsiteY254" fmla="*/ 1540090 h 1800225"/>
                <a:gd name="connsiteX255" fmla="*/ 1079659 w 1800225"/>
                <a:gd name="connsiteY255" fmla="*/ 1504847 h 1800225"/>
                <a:gd name="connsiteX256" fmla="*/ 927259 w 1800225"/>
                <a:gd name="connsiteY256" fmla="*/ 1402930 h 1800225"/>
                <a:gd name="connsiteX257" fmla="*/ 927259 w 1800225"/>
                <a:gd name="connsiteY257" fmla="*/ 1402930 h 1800225"/>
                <a:gd name="connsiteX258" fmla="*/ 927259 w 1800225"/>
                <a:gd name="connsiteY258" fmla="*/ 1323872 h 1800225"/>
                <a:gd name="connsiteX259" fmla="*/ 1097756 w 1800225"/>
                <a:gd name="connsiteY259" fmla="*/ 1443888 h 1800225"/>
                <a:gd name="connsiteX260" fmla="*/ 1136809 w 1800225"/>
                <a:gd name="connsiteY260" fmla="*/ 1427695 h 1800225"/>
                <a:gd name="connsiteX261" fmla="*/ 1176814 w 1800225"/>
                <a:gd name="connsiteY261" fmla="*/ 1222907 h 1800225"/>
                <a:gd name="connsiteX262" fmla="*/ 1231106 w 1800225"/>
                <a:gd name="connsiteY262" fmla="*/ 1279105 h 1800225"/>
                <a:gd name="connsiteX263" fmla="*/ 1231106 w 1800225"/>
                <a:gd name="connsiteY263" fmla="*/ 1279105 h 1800225"/>
                <a:gd name="connsiteX264" fmla="*/ 1192054 w 1800225"/>
                <a:gd name="connsiteY264" fmla="*/ 1458175 h 1800225"/>
                <a:gd name="connsiteX265" fmla="*/ 1211104 w 1800225"/>
                <a:gd name="connsiteY265" fmla="*/ 1487702 h 1800225"/>
                <a:gd name="connsiteX266" fmla="*/ 1241584 w 1800225"/>
                <a:gd name="connsiteY266" fmla="*/ 1468652 h 1800225"/>
                <a:gd name="connsiteX267" fmla="*/ 1273016 w 1800225"/>
                <a:gd name="connsiteY267" fmla="*/ 1323872 h 1800225"/>
                <a:gd name="connsiteX268" fmla="*/ 1273016 w 1800225"/>
                <a:gd name="connsiteY268" fmla="*/ 1323872 h 1800225"/>
                <a:gd name="connsiteX269" fmla="*/ 1325404 w 1800225"/>
                <a:gd name="connsiteY269" fmla="*/ 1377213 h 1800225"/>
                <a:gd name="connsiteX270" fmla="*/ 1325404 w 1800225"/>
                <a:gd name="connsiteY270" fmla="*/ 1377213 h 1800225"/>
                <a:gd name="connsiteX271" fmla="*/ 1300639 w 1800225"/>
                <a:gd name="connsiteY271" fmla="*/ 1494370 h 1800225"/>
                <a:gd name="connsiteX272" fmla="*/ 1319689 w 1800225"/>
                <a:gd name="connsiteY272" fmla="*/ 1524850 h 1800225"/>
                <a:gd name="connsiteX273" fmla="*/ 1350169 w 1800225"/>
                <a:gd name="connsiteY273" fmla="*/ 1505800 h 1800225"/>
                <a:gd name="connsiteX274" fmla="*/ 1368266 w 1800225"/>
                <a:gd name="connsiteY274" fmla="*/ 1421980 h 1800225"/>
                <a:gd name="connsiteX275" fmla="*/ 1368266 w 1800225"/>
                <a:gd name="connsiteY275" fmla="*/ 1421980 h 1800225"/>
                <a:gd name="connsiteX276" fmla="*/ 1368266 w 1800225"/>
                <a:gd name="connsiteY276" fmla="*/ 1422933 h 1800225"/>
                <a:gd name="connsiteX277" fmla="*/ 1411129 w 1800225"/>
                <a:gd name="connsiteY277" fmla="*/ 1467700 h 1800225"/>
                <a:gd name="connsiteX278" fmla="*/ 1411129 w 1800225"/>
                <a:gd name="connsiteY278" fmla="*/ 1467700 h 1800225"/>
                <a:gd name="connsiteX279" fmla="*/ 1397794 w 1800225"/>
                <a:gd name="connsiteY279" fmla="*/ 1530565 h 1800225"/>
                <a:gd name="connsiteX280" fmla="*/ 1416844 w 1800225"/>
                <a:gd name="connsiteY280" fmla="*/ 1561045 h 1800225"/>
                <a:gd name="connsiteX281" fmla="*/ 1447324 w 1800225"/>
                <a:gd name="connsiteY281" fmla="*/ 1541995 h 1800225"/>
                <a:gd name="connsiteX282" fmla="*/ 1453039 w 1800225"/>
                <a:gd name="connsiteY282" fmla="*/ 1513420 h 1800225"/>
                <a:gd name="connsiteX283" fmla="*/ 1453039 w 1800225"/>
                <a:gd name="connsiteY283" fmla="*/ 1513420 h 1800225"/>
                <a:gd name="connsiteX284" fmla="*/ 1488281 w 1800225"/>
                <a:gd name="connsiteY284" fmla="*/ 1549615 h 1800225"/>
                <a:gd name="connsiteX285" fmla="*/ 1523524 w 1800225"/>
                <a:gd name="connsiteY285" fmla="*/ 1550567 h 1800225"/>
                <a:gd name="connsiteX286" fmla="*/ 1524476 w 1800225"/>
                <a:gd name="connsiteY286" fmla="*/ 1514372 h 1800225"/>
                <a:gd name="connsiteX287" fmla="*/ 1483519 w 1800225"/>
                <a:gd name="connsiteY287" fmla="*/ 1472463 h 1800225"/>
                <a:gd name="connsiteX288" fmla="*/ 1482566 w 1800225"/>
                <a:gd name="connsiteY288" fmla="*/ 1471510 h 1800225"/>
                <a:gd name="connsiteX289" fmla="*/ 1528286 w 1800225"/>
                <a:gd name="connsiteY289" fmla="*/ 1461985 h 1800225"/>
                <a:gd name="connsiteX290" fmla="*/ 1547336 w 1800225"/>
                <a:gd name="connsiteY290" fmla="*/ 1431505 h 1800225"/>
                <a:gd name="connsiteX291" fmla="*/ 1516856 w 1800225"/>
                <a:gd name="connsiteY291" fmla="*/ 1412455 h 1800225"/>
                <a:gd name="connsiteX292" fmla="*/ 1440656 w 1800225"/>
                <a:gd name="connsiteY292" fmla="*/ 1428647 h 1800225"/>
                <a:gd name="connsiteX293" fmla="*/ 1397794 w 1800225"/>
                <a:gd name="connsiteY293" fmla="*/ 1379117 h 1800225"/>
                <a:gd name="connsiteX294" fmla="*/ 1397794 w 1800225"/>
                <a:gd name="connsiteY294" fmla="*/ 1379117 h 1800225"/>
                <a:gd name="connsiteX295" fmla="*/ 1495901 w 1800225"/>
                <a:gd name="connsiteY295" fmla="*/ 1358163 h 1800225"/>
                <a:gd name="connsiteX296" fmla="*/ 1514951 w 1800225"/>
                <a:gd name="connsiteY296" fmla="*/ 1327683 h 1800225"/>
                <a:gd name="connsiteX297" fmla="*/ 1484471 w 1800225"/>
                <a:gd name="connsiteY297" fmla="*/ 1308633 h 1800225"/>
                <a:gd name="connsiteX298" fmla="*/ 1355884 w 1800225"/>
                <a:gd name="connsiteY298" fmla="*/ 1336255 h 1800225"/>
                <a:gd name="connsiteX299" fmla="*/ 1355884 w 1800225"/>
                <a:gd name="connsiteY299" fmla="*/ 1336255 h 1800225"/>
                <a:gd name="connsiteX300" fmla="*/ 1313021 w 1800225"/>
                <a:gd name="connsiteY300" fmla="*/ 1291488 h 1800225"/>
                <a:gd name="connsiteX301" fmla="*/ 1313021 w 1800225"/>
                <a:gd name="connsiteY301" fmla="*/ 1291488 h 1800225"/>
                <a:gd name="connsiteX302" fmla="*/ 1448276 w 1800225"/>
                <a:gd name="connsiteY302" fmla="*/ 1261960 h 1800225"/>
                <a:gd name="connsiteX303" fmla="*/ 1467326 w 1800225"/>
                <a:gd name="connsiteY303" fmla="*/ 1231480 h 1800225"/>
                <a:gd name="connsiteX304" fmla="*/ 1436846 w 1800225"/>
                <a:gd name="connsiteY304" fmla="*/ 1212430 h 1800225"/>
                <a:gd name="connsiteX305" fmla="*/ 1271111 w 1800225"/>
                <a:gd name="connsiteY305" fmla="*/ 1248625 h 1800225"/>
                <a:gd name="connsiteX306" fmla="*/ 1271111 w 1800225"/>
                <a:gd name="connsiteY306" fmla="*/ 1248625 h 1800225"/>
                <a:gd name="connsiteX307" fmla="*/ 1218724 w 1800225"/>
                <a:gd name="connsiteY307" fmla="*/ 1194332 h 1800225"/>
                <a:gd name="connsiteX308" fmla="*/ 1431131 w 1800225"/>
                <a:gd name="connsiteY308" fmla="*/ 1150517 h 1800225"/>
                <a:gd name="connsiteX309" fmla="*/ 1449229 w 1800225"/>
                <a:gd name="connsiteY309" fmla="*/ 1135277 h 1800225"/>
                <a:gd name="connsiteX310" fmla="*/ 1447324 w 1800225"/>
                <a:gd name="connsiteY310" fmla="*/ 1112417 h 1800225"/>
                <a:gd name="connsiteX311" fmla="*/ 1332071 w 1800225"/>
                <a:gd name="connsiteY311" fmla="*/ 929537 h 1800225"/>
                <a:gd name="connsiteX312" fmla="*/ 1407319 w 1800225"/>
                <a:gd name="connsiteY312" fmla="*/ 929537 h 1800225"/>
                <a:gd name="connsiteX313" fmla="*/ 1495901 w 1800225"/>
                <a:gd name="connsiteY313" fmla="*/ 1073365 h 1800225"/>
                <a:gd name="connsiteX314" fmla="*/ 1531144 w 1800225"/>
                <a:gd name="connsiteY314" fmla="*/ 1081938 h 1800225"/>
                <a:gd name="connsiteX315" fmla="*/ 1539716 w 1800225"/>
                <a:gd name="connsiteY315" fmla="*/ 1046695 h 1800225"/>
                <a:gd name="connsiteX316" fmla="*/ 1467326 w 1800225"/>
                <a:gd name="connsiteY316" fmla="*/ 929537 h 1800225"/>
                <a:gd name="connsiteX317" fmla="*/ 1529239 w 1800225"/>
                <a:gd name="connsiteY317" fmla="*/ 929537 h 1800225"/>
                <a:gd name="connsiteX318" fmla="*/ 1530191 w 1800225"/>
                <a:gd name="connsiteY318" fmla="*/ 929537 h 1800225"/>
                <a:gd name="connsiteX319" fmla="*/ 1598771 w 1800225"/>
                <a:gd name="connsiteY319" fmla="*/ 1040980 h 1800225"/>
                <a:gd name="connsiteX320" fmla="*/ 1634014 w 1800225"/>
                <a:gd name="connsiteY320" fmla="*/ 1049552 h 1800225"/>
                <a:gd name="connsiteX321" fmla="*/ 1642586 w 1800225"/>
                <a:gd name="connsiteY321" fmla="*/ 1014310 h 1800225"/>
                <a:gd name="connsiteX322" fmla="*/ 1590199 w 1800225"/>
                <a:gd name="connsiteY322" fmla="*/ 928585 h 1800225"/>
                <a:gd name="connsiteX323" fmla="*/ 1653064 w 1800225"/>
                <a:gd name="connsiteY323" fmla="*/ 928585 h 1800225"/>
                <a:gd name="connsiteX324" fmla="*/ 1653064 w 1800225"/>
                <a:gd name="connsiteY324" fmla="*/ 928585 h 1800225"/>
                <a:gd name="connsiteX325" fmla="*/ 1694021 w 1800225"/>
                <a:gd name="connsiteY325" fmla="*/ 994307 h 1800225"/>
                <a:gd name="connsiteX326" fmla="*/ 1729264 w 1800225"/>
                <a:gd name="connsiteY326" fmla="*/ 1002880 h 1800225"/>
                <a:gd name="connsiteX327" fmla="*/ 1737836 w 1800225"/>
                <a:gd name="connsiteY327" fmla="*/ 967637 h 1800225"/>
                <a:gd name="connsiteX328" fmla="*/ 1714024 w 1800225"/>
                <a:gd name="connsiteY328" fmla="*/ 928585 h 1800225"/>
                <a:gd name="connsiteX329" fmla="*/ 1714024 w 1800225"/>
                <a:gd name="connsiteY329" fmla="*/ 928585 h 1800225"/>
                <a:gd name="connsiteX330" fmla="*/ 1774031 w 1800225"/>
                <a:gd name="connsiteY330" fmla="*/ 928585 h 1800225"/>
                <a:gd name="connsiteX331" fmla="*/ 1798796 w 1800225"/>
                <a:gd name="connsiteY331" fmla="*/ 902867 h 1800225"/>
                <a:gd name="connsiteX332" fmla="*/ 1773079 w 1800225"/>
                <a:gd name="connsiteY332" fmla="*/ 877150 h 1800225"/>
                <a:gd name="connsiteX333" fmla="*/ 1722596 w 1800225"/>
                <a:gd name="connsiteY333" fmla="*/ 878102 h 1800225"/>
                <a:gd name="connsiteX334" fmla="*/ 1722596 w 1800225"/>
                <a:gd name="connsiteY334" fmla="*/ 878102 h 1800225"/>
                <a:gd name="connsiteX335" fmla="*/ 1738789 w 1800225"/>
                <a:gd name="connsiteY335" fmla="*/ 853337 h 1800225"/>
                <a:gd name="connsiteX336" fmla="*/ 1732121 w 1800225"/>
                <a:gd name="connsiteY336" fmla="*/ 818095 h 1800225"/>
                <a:gd name="connsiteX337" fmla="*/ 1708309 w 1800225"/>
                <a:gd name="connsiteY337" fmla="*/ 815237 h 1800225"/>
                <a:gd name="connsiteX338" fmla="*/ 1696879 w 1800225"/>
                <a:gd name="connsiteY338" fmla="*/ 824762 h 1800225"/>
                <a:gd name="connsiteX339" fmla="*/ 1661636 w 1800225"/>
                <a:gd name="connsiteY339" fmla="*/ 877150 h 1800225"/>
                <a:gd name="connsiteX340" fmla="*/ 1661636 w 1800225"/>
                <a:gd name="connsiteY340" fmla="*/ 877150 h 1800225"/>
                <a:gd name="connsiteX341" fmla="*/ 1598771 w 1800225"/>
                <a:gd name="connsiteY341" fmla="*/ 877150 h 1800225"/>
                <a:gd name="connsiteX342" fmla="*/ 1646396 w 1800225"/>
                <a:gd name="connsiteY342" fmla="*/ 806665 h 1800225"/>
                <a:gd name="connsiteX343" fmla="*/ 1639729 w 1800225"/>
                <a:gd name="connsiteY343" fmla="*/ 771422 h 1800225"/>
                <a:gd name="connsiteX344" fmla="*/ 1615916 w 1800225"/>
                <a:gd name="connsiteY344" fmla="*/ 768565 h 1800225"/>
                <a:gd name="connsiteX345" fmla="*/ 1604486 w 1800225"/>
                <a:gd name="connsiteY345" fmla="*/ 778090 h 1800225"/>
                <a:gd name="connsiteX346" fmla="*/ 1537811 w 1800225"/>
                <a:gd name="connsiteY346" fmla="*/ 877150 h 1800225"/>
                <a:gd name="connsiteX347" fmla="*/ 1462564 w 1800225"/>
                <a:gd name="connsiteY347" fmla="*/ 877150 h 1800225"/>
                <a:gd name="connsiteX348" fmla="*/ 1462564 w 1800225"/>
                <a:gd name="connsiteY348" fmla="*/ 877150 h 1800225"/>
                <a:gd name="connsiteX349" fmla="*/ 1545431 w 1800225"/>
                <a:gd name="connsiteY349" fmla="*/ 754277 h 1800225"/>
                <a:gd name="connsiteX350" fmla="*/ 1538764 w 1800225"/>
                <a:gd name="connsiteY350" fmla="*/ 719035 h 1800225"/>
                <a:gd name="connsiteX351" fmla="*/ 1514951 w 1800225"/>
                <a:gd name="connsiteY351" fmla="*/ 716177 h 1800225"/>
                <a:gd name="connsiteX352" fmla="*/ 1503521 w 1800225"/>
                <a:gd name="connsiteY352" fmla="*/ 725702 h 1800225"/>
                <a:gd name="connsiteX353" fmla="*/ 1401604 w 1800225"/>
                <a:gd name="connsiteY353" fmla="*/ 878102 h 1800225"/>
                <a:gd name="connsiteX354" fmla="*/ 1322546 w 1800225"/>
                <a:gd name="connsiteY354" fmla="*/ 877150 h 1800225"/>
                <a:gd name="connsiteX355" fmla="*/ 1443514 w 1800225"/>
                <a:gd name="connsiteY355" fmla="*/ 706652 h 1800225"/>
                <a:gd name="connsiteX356" fmla="*/ 1445419 w 1800225"/>
                <a:gd name="connsiteY356" fmla="*/ 682840 h 1800225"/>
                <a:gd name="connsiteX357" fmla="*/ 1427321 w 1800225"/>
                <a:gd name="connsiteY357" fmla="*/ 667600 h 1800225"/>
                <a:gd name="connsiteX358" fmla="*/ 1221581 w 1800225"/>
                <a:gd name="connsiteY358" fmla="*/ 628547 h 1800225"/>
                <a:gd name="connsiteX359" fmla="*/ 1278731 w 1800225"/>
                <a:gd name="connsiteY359" fmla="*/ 573302 h 1800225"/>
                <a:gd name="connsiteX360" fmla="*/ 1456849 w 1800225"/>
                <a:gd name="connsiteY360" fmla="*/ 611402 h 1800225"/>
                <a:gd name="connsiteX361" fmla="*/ 1487329 w 1800225"/>
                <a:gd name="connsiteY361" fmla="*/ 592352 h 1800225"/>
                <a:gd name="connsiteX362" fmla="*/ 1468279 w 1800225"/>
                <a:gd name="connsiteY362" fmla="*/ 561872 h 1800225"/>
                <a:gd name="connsiteX363" fmla="*/ 1321594 w 1800225"/>
                <a:gd name="connsiteY363" fmla="*/ 532345 h 1800225"/>
                <a:gd name="connsiteX364" fmla="*/ 1374934 w 1800225"/>
                <a:gd name="connsiteY364" fmla="*/ 479957 h 1800225"/>
                <a:gd name="connsiteX365" fmla="*/ 1492091 w 1800225"/>
                <a:gd name="connsiteY365" fmla="*/ 504722 h 1800225"/>
                <a:gd name="connsiteX366" fmla="*/ 1522571 w 1800225"/>
                <a:gd name="connsiteY366" fmla="*/ 485672 h 1800225"/>
                <a:gd name="connsiteX367" fmla="*/ 1503521 w 1800225"/>
                <a:gd name="connsiteY367" fmla="*/ 455192 h 1800225"/>
                <a:gd name="connsiteX368" fmla="*/ 1420654 w 1800225"/>
                <a:gd name="connsiteY368" fmla="*/ 437095 h 1800225"/>
                <a:gd name="connsiteX369" fmla="*/ 1420654 w 1800225"/>
                <a:gd name="connsiteY369" fmla="*/ 437095 h 1800225"/>
                <a:gd name="connsiteX370" fmla="*/ 1466374 w 1800225"/>
                <a:gd name="connsiteY370" fmla="*/ 393280 h 1800225"/>
                <a:gd name="connsiteX371" fmla="*/ 1528286 w 1800225"/>
                <a:gd name="connsiteY371" fmla="*/ 406615 h 1800225"/>
                <a:gd name="connsiteX372" fmla="*/ 1558766 w 1800225"/>
                <a:gd name="connsiteY372" fmla="*/ 387565 h 1800225"/>
                <a:gd name="connsiteX373" fmla="*/ 1539716 w 1800225"/>
                <a:gd name="connsiteY373" fmla="*/ 357085 h 1800225"/>
                <a:gd name="connsiteX374" fmla="*/ 1510189 w 1800225"/>
                <a:gd name="connsiteY374" fmla="*/ 350417 h 1800225"/>
                <a:gd name="connsiteX375" fmla="*/ 1510189 w 1800225"/>
                <a:gd name="connsiteY375" fmla="*/ 350417 h 1800225"/>
                <a:gd name="connsiteX376" fmla="*/ 1546384 w 1800225"/>
                <a:gd name="connsiteY376" fmla="*/ 316127 h 1800225"/>
                <a:gd name="connsiteX377" fmla="*/ 1546384 w 1800225"/>
                <a:gd name="connsiteY377" fmla="*/ 280885 h 1800225"/>
                <a:gd name="connsiteX378" fmla="*/ 1257776 w 1800225"/>
                <a:gd name="connsiteY378" fmla="*/ 879055 h 1800225"/>
                <a:gd name="connsiteX379" fmla="*/ 1110139 w 1800225"/>
                <a:gd name="connsiteY379" fmla="*/ 880007 h 1800225"/>
                <a:gd name="connsiteX380" fmla="*/ 1109186 w 1800225"/>
                <a:gd name="connsiteY380" fmla="*/ 828572 h 1800225"/>
                <a:gd name="connsiteX381" fmla="*/ 1102519 w 1800225"/>
                <a:gd name="connsiteY381" fmla="*/ 811427 h 1800225"/>
                <a:gd name="connsiteX382" fmla="*/ 1068229 w 1800225"/>
                <a:gd name="connsiteY382" fmla="*/ 774280 h 1800225"/>
                <a:gd name="connsiteX383" fmla="*/ 1175861 w 1800225"/>
                <a:gd name="connsiteY383" fmla="*/ 671410 h 1800225"/>
                <a:gd name="connsiteX384" fmla="*/ 1376839 w 1800225"/>
                <a:gd name="connsiteY384" fmla="*/ 710462 h 1800225"/>
                <a:gd name="connsiteX385" fmla="*/ 1258729 w 1800225"/>
                <a:gd name="connsiteY385" fmla="*/ 877150 h 1800225"/>
                <a:gd name="connsiteX386" fmla="*/ 1257776 w 1800225"/>
                <a:gd name="connsiteY386" fmla="*/ 879055 h 1800225"/>
                <a:gd name="connsiteX387" fmla="*/ 1059656 w 1800225"/>
                <a:gd name="connsiteY387" fmla="*/ 879055 h 1800225"/>
                <a:gd name="connsiteX388" fmla="*/ 1060609 w 1800225"/>
                <a:gd name="connsiteY388" fmla="*/ 929537 h 1800225"/>
                <a:gd name="connsiteX389" fmla="*/ 1061561 w 1800225"/>
                <a:gd name="connsiteY389" fmla="*/ 969542 h 1800225"/>
                <a:gd name="connsiteX390" fmla="*/ 1032034 w 1800225"/>
                <a:gd name="connsiteY390" fmla="*/ 997165 h 1800225"/>
                <a:gd name="connsiteX391" fmla="*/ 994886 w 1800225"/>
                <a:gd name="connsiteY391" fmla="*/ 1031455 h 1800225"/>
                <a:gd name="connsiteX392" fmla="*/ 965359 w 1800225"/>
                <a:gd name="connsiteY392" fmla="*/ 1059077 h 1800225"/>
                <a:gd name="connsiteX393" fmla="*/ 925354 w 1800225"/>
                <a:gd name="connsiteY393" fmla="*/ 1060030 h 1800225"/>
                <a:gd name="connsiteX394" fmla="*/ 874871 w 1800225"/>
                <a:gd name="connsiteY394" fmla="*/ 1060982 h 1800225"/>
                <a:gd name="connsiteX395" fmla="*/ 834866 w 1800225"/>
                <a:gd name="connsiteY395" fmla="*/ 1061935 h 1800225"/>
                <a:gd name="connsiteX396" fmla="*/ 807244 w 1800225"/>
                <a:gd name="connsiteY396" fmla="*/ 1032407 h 1800225"/>
                <a:gd name="connsiteX397" fmla="*/ 772954 w 1800225"/>
                <a:gd name="connsiteY397" fmla="*/ 995260 h 1800225"/>
                <a:gd name="connsiteX398" fmla="*/ 745331 w 1800225"/>
                <a:gd name="connsiteY398" fmla="*/ 965732 h 1800225"/>
                <a:gd name="connsiteX399" fmla="*/ 744379 w 1800225"/>
                <a:gd name="connsiteY399" fmla="*/ 925727 h 1800225"/>
                <a:gd name="connsiteX400" fmla="*/ 743426 w 1800225"/>
                <a:gd name="connsiteY400" fmla="*/ 875245 h 1800225"/>
                <a:gd name="connsiteX401" fmla="*/ 742474 w 1800225"/>
                <a:gd name="connsiteY401" fmla="*/ 835240 h 1800225"/>
                <a:gd name="connsiteX402" fmla="*/ 772001 w 1800225"/>
                <a:gd name="connsiteY402" fmla="*/ 807617 h 1800225"/>
                <a:gd name="connsiteX403" fmla="*/ 809149 w 1800225"/>
                <a:gd name="connsiteY403" fmla="*/ 773327 h 1800225"/>
                <a:gd name="connsiteX404" fmla="*/ 838676 w 1800225"/>
                <a:gd name="connsiteY404" fmla="*/ 745705 h 1800225"/>
                <a:gd name="connsiteX405" fmla="*/ 878681 w 1800225"/>
                <a:gd name="connsiteY405" fmla="*/ 744752 h 1800225"/>
                <a:gd name="connsiteX406" fmla="*/ 929164 w 1800225"/>
                <a:gd name="connsiteY406" fmla="*/ 743800 h 1800225"/>
                <a:gd name="connsiteX407" fmla="*/ 969169 w 1800225"/>
                <a:gd name="connsiteY407" fmla="*/ 742847 h 1800225"/>
                <a:gd name="connsiteX408" fmla="*/ 996791 w 1800225"/>
                <a:gd name="connsiteY408" fmla="*/ 772375 h 1800225"/>
                <a:gd name="connsiteX409" fmla="*/ 1031081 w 1800225"/>
                <a:gd name="connsiteY409" fmla="*/ 809522 h 1800225"/>
                <a:gd name="connsiteX410" fmla="*/ 1057751 w 1800225"/>
                <a:gd name="connsiteY410" fmla="*/ 839050 h 1800225"/>
                <a:gd name="connsiteX411" fmla="*/ 1059656 w 1800225"/>
                <a:gd name="connsiteY411" fmla="*/ 879055 h 1800225"/>
                <a:gd name="connsiteX412" fmla="*/ 1178719 w 1800225"/>
                <a:gd name="connsiteY412" fmla="*/ 1150517 h 1800225"/>
                <a:gd name="connsiteX413" fmla="*/ 1066324 w 1800225"/>
                <a:gd name="connsiteY413" fmla="*/ 1033360 h 1800225"/>
                <a:gd name="connsiteX414" fmla="*/ 1103471 w 1800225"/>
                <a:gd name="connsiteY414" fmla="*/ 999070 h 1800225"/>
                <a:gd name="connsiteX415" fmla="*/ 1112044 w 1800225"/>
                <a:gd name="connsiteY415" fmla="*/ 980020 h 1800225"/>
                <a:gd name="connsiteX416" fmla="*/ 1111091 w 1800225"/>
                <a:gd name="connsiteY416" fmla="*/ 929537 h 1800225"/>
                <a:gd name="connsiteX417" fmla="*/ 1272064 w 1800225"/>
                <a:gd name="connsiteY417" fmla="*/ 928585 h 1800225"/>
                <a:gd name="connsiteX418" fmla="*/ 1384459 w 1800225"/>
                <a:gd name="connsiteY418" fmla="*/ 1107655 h 1800225"/>
                <a:gd name="connsiteX419" fmla="*/ 1178719 w 1800225"/>
                <a:gd name="connsiteY419" fmla="*/ 1150517 h 1800225"/>
                <a:gd name="connsiteX420" fmla="*/ 926306 w 1800225"/>
                <a:gd name="connsiteY420" fmla="*/ 1260055 h 1800225"/>
                <a:gd name="connsiteX421" fmla="*/ 925354 w 1800225"/>
                <a:gd name="connsiteY421" fmla="*/ 1111465 h 1800225"/>
                <a:gd name="connsiteX422" fmla="*/ 975836 w 1800225"/>
                <a:gd name="connsiteY422" fmla="*/ 1110513 h 1800225"/>
                <a:gd name="connsiteX423" fmla="*/ 992981 w 1800225"/>
                <a:gd name="connsiteY423" fmla="*/ 1103845 h 1800225"/>
                <a:gd name="connsiteX424" fmla="*/ 1030129 w 1800225"/>
                <a:gd name="connsiteY424" fmla="*/ 1069555 h 1800225"/>
                <a:gd name="connsiteX425" fmla="*/ 1132999 w 1800225"/>
                <a:gd name="connsiteY425" fmla="*/ 1177188 h 1800225"/>
                <a:gd name="connsiteX426" fmla="*/ 1093946 w 1800225"/>
                <a:gd name="connsiteY426" fmla="*/ 1378165 h 1800225"/>
                <a:gd name="connsiteX427" fmla="*/ 926306 w 1800225"/>
                <a:gd name="connsiteY427" fmla="*/ 1260055 h 1800225"/>
                <a:gd name="connsiteX428" fmla="*/ 652939 w 1800225"/>
                <a:gd name="connsiteY428" fmla="*/ 1179092 h 1800225"/>
                <a:gd name="connsiteX429" fmla="*/ 769144 w 1800225"/>
                <a:gd name="connsiteY429" fmla="*/ 1067650 h 1800225"/>
                <a:gd name="connsiteX430" fmla="*/ 803434 w 1800225"/>
                <a:gd name="connsiteY430" fmla="*/ 1104797 h 1800225"/>
                <a:gd name="connsiteX431" fmla="*/ 822484 w 1800225"/>
                <a:gd name="connsiteY431" fmla="*/ 1112417 h 1800225"/>
                <a:gd name="connsiteX432" fmla="*/ 872966 w 1800225"/>
                <a:gd name="connsiteY432" fmla="*/ 1111465 h 1800225"/>
                <a:gd name="connsiteX433" fmla="*/ 872966 w 1800225"/>
                <a:gd name="connsiteY433" fmla="*/ 1274342 h 1800225"/>
                <a:gd name="connsiteX434" fmla="*/ 694849 w 1800225"/>
                <a:gd name="connsiteY434" fmla="*/ 1386738 h 1800225"/>
                <a:gd name="connsiteX435" fmla="*/ 652939 w 1800225"/>
                <a:gd name="connsiteY435" fmla="*/ 1179092 h 1800225"/>
                <a:gd name="connsiteX436" fmla="*/ 545306 w 1800225"/>
                <a:gd name="connsiteY436" fmla="*/ 926680 h 1800225"/>
                <a:gd name="connsiteX437" fmla="*/ 693896 w 1800225"/>
                <a:gd name="connsiteY437" fmla="*/ 925727 h 1800225"/>
                <a:gd name="connsiteX438" fmla="*/ 694849 w 1800225"/>
                <a:gd name="connsiteY438" fmla="*/ 976210 h 1800225"/>
                <a:gd name="connsiteX439" fmla="*/ 701516 w 1800225"/>
                <a:gd name="connsiteY439" fmla="*/ 993355 h 1800225"/>
                <a:gd name="connsiteX440" fmla="*/ 735806 w 1800225"/>
                <a:gd name="connsiteY440" fmla="*/ 1030502 h 1800225"/>
                <a:gd name="connsiteX441" fmla="*/ 628174 w 1800225"/>
                <a:gd name="connsiteY441" fmla="*/ 1132420 h 1800225"/>
                <a:gd name="connsiteX442" fmla="*/ 627221 w 1800225"/>
                <a:gd name="connsiteY442" fmla="*/ 1131467 h 1800225"/>
                <a:gd name="connsiteX443" fmla="*/ 426244 w 1800225"/>
                <a:gd name="connsiteY443" fmla="*/ 1093367 h 1800225"/>
                <a:gd name="connsiteX444" fmla="*/ 545306 w 1800225"/>
                <a:gd name="connsiteY444" fmla="*/ 926680 h 1800225"/>
                <a:gd name="connsiteX445" fmla="*/ 626269 w 1800225"/>
                <a:gd name="connsiteY445" fmla="*/ 654265 h 1800225"/>
                <a:gd name="connsiteX446" fmla="*/ 737711 w 1800225"/>
                <a:gd name="connsiteY446" fmla="*/ 770470 h 1800225"/>
                <a:gd name="connsiteX447" fmla="*/ 700564 w 1800225"/>
                <a:gd name="connsiteY447" fmla="*/ 804760 h 1800225"/>
                <a:gd name="connsiteX448" fmla="*/ 691991 w 1800225"/>
                <a:gd name="connsiteY448" fmla="*/ 823810 h 1800225"/>
                <a:gd name="connsiteX449" fmla="*/ 692944 w 1800225"/>
                <a:gd name="connsiteY449" fmla="*/ 875245 h 1800225"/>
                <a:gd name="connsiteX450" fmla="*/ 531971 w 1800225"/>
                <a:gd name="connsiteY450" fmla="*/ 876197 h 1800225"/>
                <a:gd name="connsiteX451" fmla="*/ 418624 w 1800225"/>
                <a:gd name="connsiteY451" fmla="*/ 697127 h 1800225"/>
                <a:gd name="connsiteX452" fmla="*/ 626269 w 1800225"/>
                <a:gd name="connsiteY452" fmla="*/ 654265 h 1800225"/>
                <a:gd name="connsiteX453" fmla="*/ 877729 w 1800225"/>
                <a:gd name="connsiteY453" fmla="*/ 545680 h 1800225"/>
                <a:gd name="connsiteX454" fmla="*/ 877729 w 1800225"/>
                <a:gd name="connsiteY454" fmla="*/ 695222 h 1800225"/>
                <a:gd name="connsiteX455" fmla="*/ 827246 w 1800225"/>
                <a:gd name="connsiteY455" fmla="*/ 696175 h 1800225"/>
                <a:gd name="connsiteX456" fmla="*/ 817721 w 1800225"/>
                <a:gd name="connsiteY456" fmla="*/ 698080 h 1800225"/>
                <a:gd name="connsiteX457" fmla="*/ 810101 w 1800225"/>
                <a:gd name="connsiteY457" fmla="*/ 703795 h 1800225"/>
                <a:gd name="connsiteX458" fmla="*/ 773906 w 1800225"/>
                <a:gd name="connsiteY458" fmla="*/ 738085 h 1800225"/>
                <a:gd name="connsiteX459" fmla="*/ 671989 w 1800225"/>
                <a:gd name="connsiteY459" fmla="*/ 629500 h 1800225"/>
                <a:gd name="connsiteX460" fmla="*/ 711041 w 1800225"/>
                <a:gd name="connsiteY460" fmla="*/ 428522 h 1800225"/>
                <a:gd name="connsiteX461" fmla="*/ 877729 w 1800225"/>
                <a:gd name="connsiteY461" fmla="*/ 545680 h 1800225"/>
                <a:gd name="connsiteX462" fmla="*/ 1151096 w 1800225"/>
                <a:gd name="connsiteY462" fmla="*/ 626642 h 1800225"/>
                <a:gd name="connsiteX463" fmla="*/ 1034891 w 1800225"/>
                <a:gd name="connsiteY463" fmla="*/ 738085 h 1800225"/>
                <a:gd name="connsiteX464" fmla="*/ 999649 w 1800225"/>
                <a:gd name="connsiteY464" fmla="*/ 699985 h 1800225"/>
                <a:gd name="connsiteX465" fmla="*/ 980599 w 1800225"/>
                <a:gd name="connsiteY465" fmla="*/ 692365 h 1800225"/>
                <a:gd name="connsiteX466" fmla="*/ 929164 w 1800225"/>
                <a:gd name="connsiteY466" fmla="*/ 693317 h 1800225"/>
                <a:gd name="connsiteX467" fmla="*/ 928211 w 1800225"/>
                <a:gd name="connsiteY467" fmla="*/ 532345 h 1800225"/>
                <a:gd name="connsiteX468" fmla="*/ 1107281 w 1800225"/>
                <a:gd name="connsiteY468" fmla="*/ 419950 h 1800225"/>
                <a:gd name="connsiteX469" fmla="*/ 1151096 w 1800225"/>
                <a:gd name="connsiteY469" fmla="*/ 626642 h 180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</a:cxnLst>
              <a:rect l="l" t="t" r="r" b="b"/>
              <a:pathLst>
                <a:path w="1800225" h="1800225">
                  <a:moveTo>
                    <a:pt x="1546384" y="280885"/>
                  </a:moveTo>
                  <a:cubicBezTo>
                    <a:pt x="1536859" y="270407"/>
                    <a:pt x="1520666" y="270407"/>
                    <a:pt x="1511141" y="279932"/>
                  </a:cubicBezTo>
                  <a:lnTo>
                    <a:pt x="1467326" y="320890"/>
                  </a:lnTo>
                  <a:lnTo>
                    <a:pt x="1457801" y="275170"/>
                  </a:lnTo>
                  <a:cubicBezTo>
                    <a:pt x="1454944" y="261835"/>
                    <a:pt x="1441609" y="253262"/>
                    <a:pt x="1427321" y="256120"/>
                  </a:cubicBezTo>
                  <a:cubicBezTo>
                    <a:pt x="1426369" y="256120"/>
                    <a:pt x="1424464" y="257072"/>
                    <a:pt x="1423511" y="257072"/>
                  </a:cubicBezTo>
                  <a:cubicBezTo>
                    <a:pt x="1412081" y="261835"/>
                    <a:pt x="1405414" y="273265"/>
                    <a:pt x="1408271" y="285647"/>
                  </a:cubicBezTo>
                  <a:lnTo>
                    <a:pt x="1424464" y="361847"/>
                  </a:lnTo>
                  <a:lnTo>
                    <a:pt x="1424464" y="361847"/>
                  </a:lnTo>
                  <a:lnTo>
                    <a:pt x="1378744" y="405662"/>
                  </a:lnTo>
                  <a:lnTo>
                    <a:pt x="1378744" y="405662"/>
                  </a:lnTo>
                  <a:lnTo>
                    <a:pt x="1356836" y="306602"/>
                  </a:lnTo>
                  <a:cubicBezTo>
                    <a:pt x="1353979" y="293267"/>
                    <a:pt x="1340644" y="284695"/>
                    <a:pt x="1326356" y="287552"/>
                  </a:cubicBezTo>
                  <a:cubicBezTo>
                    <a:pt x="1324451" y="287552"/>
                    <a:pt x="1323499" y="288505"/>
                    <a:pt x="1322546" y="288505"/>
                  </a:cubicBezTo>
                  <a:cubicBezTo>
                    <a:pt x="1311116" y="293267"/>
                    <a:pt x="1304449" y="304697"/>
                    <a:pt x="1307306" y="317080"/>
                  </a:cubicBezTo>
                  <a:lnTo>
                    <a:pt x="1335881" y="445667"/>
                  </a:lnTo>
                  <a:lnTo>
                    <a:pt x="1335881" y="445667"/>
                  </a:lnTo>
                  <a:lnTo>
                    <a:pt x="1291114" y="488530"/>
                  </a:lnTo>
                  <a:lnTo>
                    <a:pt x="1291114" y="488530"/>
                  </a:lnTo>
                  <a:lnTo>
                    <a:pt x="1261586" y="353275"/>
                  </a:lnTo>
                  <a:cubicBezTo>
                    <a:pt x="1258729" y="339940"/>
                    <a:pt x="1245394" y="331367"/>
                    <a:pt x="1231106" y="334225"/>
                  </a:cubicBezTo>
                  <a:cubicBezTo>
                    <a:pt x="1230154" y="334225"/>
                    <a:pt x="1228249" y="335177"/>
                    <a:pt x="1227296" y="335177"/>
                  </a:cubicBezTo>
                  <a:cubicBezTo>
                    <a:pt x="1215866" y="339940"/>
                    <a:pt x="1209199" y="352322"/>
                    <a:pt x="1212056" y="363752"/>
                  </a:cubicBezTo>
                  <a:lnTo>
                    <a:pt x="1248251" y="529487"/>
                  </a:lnTo>
                  <a:lnTo>
                    <a:pt x="1193959" y="581875"/>
                  </a:lnTo>
                  <a:lnTo>
                    <a:pt x="1150144" y="372325"/>
                  </a:lnTo>
                  <a:cubicBezTo>
                    <a:pt x="1148239" y="364705"/>
                    <a:pt x="1142524" y="358037"/>
                    <a:pt x="1134904" y="354227"/>
                  </a:cubicBezTo>
                  <a:cubicBezTo>
                    <a:pt x="1127284" y="351370"/>
                    <a:pt x="1118711" y="352322"/>
                    <a:pt x="1111091" y="356132"/>
                  </a:cubicBezTo>
                  <a:lnTo>
                    <a:pt x="929164" y="471385"/>
                  </a:lnTo>
                  <a:lnTo>
                    <a:pt x="928211" y="396137"/>
                  </a:lnTo>
                  <a:lnTo>
                    <a:pt x="1072991" y="307555"/>
                  </a:lnTo>
                  <a:cubicBezTo>
                    <a:pt x="1084421" y="299935"/>
                    <a:pt x="1088231" y="284695"/>
                    <a:pt x="1081564" y="272312"/>
                  </a:cubicBezTo>
                  <a:cubicBezTo>
                    <a:pt x="1073944" y="259930"/>
                    <a:pt x="1058704" y="256120"/>
                    <a:pt x="1046321" y="263740"/>
                  </a:cubicBezTo>
                  <a:lnTo>
                    <a:pt x="929164" y="336130"/>
                  </a:lnTo>
                  <a:lnTo>
                    <a:pt x="929164" y="273265"/>
                  </a:lnTo>
                  <a:lnTo>
                    <a:pt x="1041559" y="203732"/>
                  </a:lnTo>
                  <a:cubicBezTo>
                    <a:pt x="1053941" y="196112"/>
                    <a:pt x="1056799" y="180872"/>
                    <a:pt x="1050131" y="168490"/>
                  </a:cubicBezTo>
                  <a:cubicBezTo>
                    <a:pt x="1042511" y="156107"/>
                    <a:pt x="1027271" y="152297"/>
                    <a:pt x="1014889" y="159917"/>
                  </a:cubicBezTo>
                  <a:lnTo>
                    <a:pt x="929164" y="212305"/>
                  </a:lnTo>
                  <a:lnTo>
                    <a:pt x="929164" y="149440"/>
                  </a:lnTo>
                  <a:lnTo>
                    <a:pt x="929164" y="148487"/>
                  </a:lnTo>
                  <a:lnTo>
                    <a:pt x="994886" y="107530"/>
                  </a:lnTo>
                  <a:cubicBezTo>
                    <a:pt x="1006316" y="99910"/>
                    <a:pt x="1010126" y="84670"/>
                    <a:pt x="1003459" y="72287"/>
                  </a:cubicBezTo>
                  <a:cubicBezTo>
                    <a:pt x="995839" y="59905"/>
                    <a:pt x="980599" y="56095"/>
                    <a:pt x="968216" y="63715"/>
                  </a:cubicBezTo>
                  <a:lnTo>
                    <a:pt x="929164" y="88480"/>
                  </a:lnTo>
                  <a:lnTo>
                    <a:pt x="929164" y="88480"/>
                  </a:lnTo>
                  <a:lnTo>
                    <a:pt x="929164" y="28472"/>
                  </a:lnTo>
                  <a:cubicBezTo>
                    <a:pt x="927259" y="17995"/>
                    <a:pt x="915829" y="7517"/>
                    <a:pt x="902494" y="7517"/>
                  </a:cubicBezTo>
                  <a:cubicBezTo>
                    <a:pt x="898684" y="6565"/>
                    <a:pt x="895826" y="7517"/>
                    <a:pt x="892969" y="9422"/>
                  </a:cubicBezTo>
                  <a:cubicBezTo>
                    <a:pt x="883444" y="13232"/>
                    <a:pt x="877729" y="21805"/>
                    <a:pt x="876776" y="32282"/>
                  </a:cubicBezTo>
                  <a:lnTo>
                    <a:pt x="876776" y="82765"/>
                  </a:lnTo>
                  <a:lnTo>
                    <a:pt x="852011" y="66572"/>
                  </a:lnTo>
                  <a:cubicBezTo>
                    <a:pt x="845344" y="61810"/>
                    <a:pt x="836771" y="60857"/>
                    <a:pt x="829151" y="64667"/>
                  </a:cubicBezTo>
                  <a:cubicBezTo>
                    <a:pt x="824389" y="66572"/>
                    <a:pt x="820579" y="69430"/>
                    <a:pt x="817721" y="74192"/>
                  </a:cubicBezTo>
                  <a:cubicBezTo>
                    <a:pt x="810101" y="85622"/>
                    <a:pt x="812959" y="101815"/>
                    <a:pt x="824389" y="109435"/>
                  </a:cubicBezTo>
                  <a:lnTo>
                    <a:pt x="877729" y="144677"/>
                  </a:lnTo>
                  <a:lnTo>
                    <a:pt x="876776" y="206590"/>
                  </a:lnTo>
                  <a:lnTo>
                    <a:pt x="807244" y="159917"/>
                  </a:lnTo>
                  <a:cubicBezTo>
                    <a:pt x="799624" y="155155"/>
                    <a:pt x="791051" y="154202"/>
                    <a:pt x="783431" y="157060"/>
                  </a:cubicBezTo>
                  <a:cubicBezTo>
                    <a:pt x="778669" y="158965"/>
                    <a:pt x="774859" y="161822"/>
                    <a:pt x="772001" y="166585"/>
                  </a:cubicBezTo>
                  <a:cubicBezTo>
                    <a:pt x="764381" y="178015"/>
                    <a:pt x="767239" y="194207"/>
                    <a:pt x="778669" y="201827"/>
                  </a:cubicBezTo>
                  <a:lnTo>
                    <a:pt x="877729" y="268502"/>
                  </a:lnTo>
                  <a:lnTo>
                    <a:pt x="877729" y="268502"/>
                  </a:lnTo>
                  <a:lnTo>
                    <a:pt x="877729" y="343750"/>
                  </a:lnTo>
                  <a:lnTo>
                    <a:pt x="754856" y="260882"/>
                  </a:lnTo>
                  <a:cubicBezTo>
                    <a:pt x="747236" y="256120"/>
                    <a:pt x="738664" y="255167"/>
                    <a:pt x="731044" y="258025"/>
                  </a:cubicBezTo>
                  <a:cubicBezTo>
                    <a:pt x="726281" y="259930"/>
                    <a:pt x="722471" y="262787"/>
                    <a:pt x="719614" y="267550"/>
                  </a:cubicBezTo>
                  <a:cubicBezTo>
                    <a:pt x="711994" y="278980"/>
                    <a:pt x="714851" y="295172"/>
                    <a:pt x="726281" y="302792"/>
                  </a:cubicBezTo>
                  <a:lnTo>
                    <a:pt x="878681" y="404710"/>
                  </a:lnTo>
                  <a:lnTo>
                    <a:pt x="878681" y="483767"/>
                  </a:lnTo>
                  <a:lnTo>
                    <a:pt x="707231" y="363752"/>
                  </a:lnTo>
                  <a:cubicBezTo>
                    <a:pt x="699611" y="358990"/>
                    <a:pt x="691039" y="358037"/>
                    <a:pt x="683419" y="361847"/>
                  </a:cubicBezTo>
                  <a:cubicBezTo>
                    <a:pt x="675799" y="364705"/>
                    <a:pt x="670084" y="371372"/>
                    <a:pt x="668179" y="379945"/>
                  </a:cubicBezTo>
                  <a:lnTo>
                    <a:pt x="628174" y="584732"/>
                  </a:lnTo>
                  <a:lnTo>
                    <a:pt x="573881" y="528535"/>
                  </a:lnTo>
                  <a:lnTo>
                    <a:pt x="611981" y="349465"/>
                  </a:lnTo>
                  <a:cubicBezTo>
                    <a:pt x="614839" y="336130"/>
                    <a:pt x="606266" y="322795"/>
                    <a:pt x="592931" y="318985"/>
                  </a:cubicBezTo>
                  <a:cubicBezTo>
                    <a:pt x="588169" y="318032"/>
                    <a:pt x="582454" y="318032"/>
                    <a:pt x="577691" y="319937"/>
                  </a:cubicBezTo>
                  <a:cubicBezTo>
                    <a:pt x="570071" y="322795"/>
                    <a:pt x="564356" y="329462"/>
                    <a:pt x="562451" y="338035"/>
                  </a:cubicBezTo>
                  <a:lnTo>
                    <a:pt x="531019" y="482815"/>
                  </a:lnTo>
                  <a:lnTo>
                    <a:pt x="478631" y="428522"/>
                  </a:lnTo>
                  <a:lnTo>
                    <a:pt x="478631" y="428522"/>
                  </a:lnTo>
                  <a:lnTo>
                    <a:pt x="504349" y="312317"/>
                  </a:lnTo>
                  <a:cubicBezTo>
                    <a:pt x="507206" y="298982"/>
                    <a:pt x="498634" y="285647"/>
                    <a:pt x="485299" y="281837"/>
                  </a:cubicBezTo>
                  <a:cubicBezTo>
                    <a:pt x="480536" y="280885"/>
                    <a:pt x="474821" y="280885"/>
                    <a:pt x="470059" y="282790"/>
                  </a:cubicBezTo>
                  <a:cubicBezTo>
                    <a:pt x="462439" y="285647"/>
                    <a:pt x="456724" y="292315"/>
                    <a:pt x="454819" y="300887"/>
                  </a:cubicBezTo>
                  <a:lnTo>
                    <a:pt x="437674" y="382802"/>
                  </a:lnTo>
                  <a:lnTo>
                    <a:pt x="393859" y="338987"/>
                  </a:lnTo>
                  <a:lnTo>
                    <a:pt x="407194" y="276122"/>
                  </a:lnTo>
                  <a:cubicBezTo>
                    <a:pt x="410051" y="262787"/>
                    <a:pt x="401479" y="249452"/>
                    <a:pt x="388144" y="245642"/>
                  </a:cubicBezTo>
                  <a:cubicBezTo>
                    <a:pt x="383381" y="244690"/>
                    <a:pt x="377666" y="244690"/>
                    <a:pt x="373856" y="246595"/>
                  </a:cubicBezTo>
                  <a:cubicBezTo>
                    <a:pt x="366236" y="249452"/>
                    <a:pt x="360521" y="256120"/>
                    <a:pt x="358616" y="264692"/>
                  </a:cubicBezTo>
                  <a:lnTo>
                    <a:pt x="352901" y="293267"/>
                  </a:lnTo>
                  <a:lnTo>
                    <a:pt x="317659" y="257072"/>
                  </a:lnTo>
                  <a:cubicBezTo>
                    <a:pt x="310039" y="250405"/>
                    <a:pt x="299561" y="247547"/>
                    <a:pt x="290036" y="251357"/>
                  </a:cubicBezTo>
                  <a:cubicBezTo>
                    <a:pt x="287179" y="252310"/>
                    <a:pt x="284321" y="253262"/>
                    <a:pt x="282416" y="257072"/>
                  </a:cubicBezTo>
                  <a:cubicBezTo>
                    <a:pt x="271939" y="266597"/>
                    <a:pt x="271939" y="281837"/>
                    <a:pt x="281464" y="292315"/>
                  </a:cubicBezTo>
                  <a:lnTo>
                    <a:pt x="323374" y="335177"/>
                  </a:lnTo>
                  <a:lnTo>
                    <a:pt x="323374" y="335177"/>
                  </a:lnTo>
                  <a:lnTo>
                    <a:pt x="277654" y="344702"/>
                  </a:lnTo>
                  <a:cubicBezTo>
                    <a:pt x="264319" y="347560"/>
                    <a:pt x="255746" y="360895"/>
                    <a:pt x="258604" y="375182"/>
                  </a:cubicBezTo>
                  <a:cubicBezTo>
                    <a:pt x="261461" y="388517"/>
                    <a:pt x="274796" y="397090"/>
                    <a:pt x="289084" y="394232"/>
                  </a:cubicBezTo>
                  <a:lnTo>
                    <a:pt x="364331" y="378040"/>
                  </a:lnTo>
                  <a:lnTo>
                    <a:pt x="364331" y="378040"/>
                  </a:lnTo>
                  <a:lnTo>
                    <a:pt x="407194" y="423760"/>
                  </a:lnTo>
                  <a:lnTo>
                    <a:pt x="309086" y="444715"/>
                  </a:lnTo>
                  <a:cubicBezTo>
                    <a:pt x="295751" y="447572"/>
                    <a:pt x="287179" y="460907"/>
                    <a:pt x="290036" y="475195"/>
                  </a:cubicBezTo>
                  <a:cubicBezTo>
                    <a:pt x="292894" y="488530"/>
                    <a:pt x="306229" y="497102"/>
                    <a:pt x="320516" y="494245"/>
                  </a:cubicBezTo>
                  <a:lnTo>
                    <a:pt x="449104" y="465670"/>
                  </a:lnTo>
                  <a:lnTo>
                    <a:pt x="491966" y="511390"/>
                  </a:lnTo>
                  <a:lnTo>
                    <a:pt x="356711" y="540917"/>
                  </a:lnTo>
                  <a:cubicBezTo>
                    <a:pt x="343376" y="543775"/>
                    <a:pt x="334804" y="557110"/>
                    <a:pt x="337661" y="571397"/>
                  </a:cubicBezTo>
                  <a:cubicBezTo>
                    <a:pt x="340519" y="584732"/>
                    <a:pt x="353854" y="593305"/>
                    <a:pt x="368141" y="590447"/>
                  </a:cubicBezTo>
                  <a:lnTo>
                    <a:pt x="533876" y="554252"/>
                  </a:lnTo>
                  <a:lnTo>
                    <a:pt x="585311" y="608545"/>
                  </a:lnTo>
                  <a:lnTo>
                    <a:pt x="371951" y="655217"/>
                  </a:lnTo>
                  <a:cubicBezTo>
                    <a:pt x="364331" y="657122"/>
                    <a:pt x="357664" y="661885"/>
                    <a:pt x="353854" y="670457"/>
                  </a:cubicBezTo>
                  <a:cubicBezTo>
                    <a:pt x="351949" y="678077"/>
                    <a:pt x="351949" y="686650"/>
                    <a:pt x="355759" y="693317"/>
                  </a:cubicBezTo>
                  <a:lnTo>
                    <a:pt x="471964" y="876197"/>
                  </a:lnTo>
                  <a:lnTo>
                    <a:pt x="395764" y="876197"/>
                  </a:lnTo>
                  <a:lnTo>
                    <a:pt x="307181" y="731417"/>
                  </a:lnTo>
                  <a:cubicBezTo>
                    <a:pt x="300514" y="720940"/>
                    <a:pt x="287179" y="717130"/>
                    <a:pt x="275749" y="720940"/>
                  </a:cubicBezTo>
                  <a:cubicBezTo>
                    <a:pt x="274796" y="721892"/>
                    <a:pt x="272891" y="721892"/>
                    <a:pt x="271939" y="722845"/>
                  </a:cubicBezTo>
                  <a:cubicBezTo>
                    <a:pt x="260509" y="730465"/>
                    <a:pt x="256699" y="745705"/>
                    <a:pt x="263366" y="758087"/>
                  </a:cubicBezTo>
                  <a:lnTo>
                    <a:pt x="335756" y="876197"/>
                  </a:lnTo>
                  <a:lnTo>
                    <a:pt x="335756" y="876197"/>
                  </a:lnTo>
                  <a:lnTo>
                    <a:pt x="273844" y="876197"/>
                  </a:lnTo>
                  <a:lnTo>
                    <a:pt x="272891" y="876197"/>
                  </a:lnTo>
                  <a:lnTo>
                    <a:pt x="203359" y="763802"/>
                  </a:lnTo>
                  <a:cubicBezTo>
                    <a:pt x="196691" y="753325"/>
                    <a:pt x="183356" y="749515"/>
                    <a:pt x="171926" y="753325"/>
                  </a:cubicBezTo>
                  <a:cubicBezTo>
                    <a:pt x="170974" y="754277"/>
                    <a:pt x="169069" y="754277"/>
                    <a:pt x="168116" y="755230"/>
                  </a:cubicBezTo>
                  <a:cubicBezTo>
                    <a:pt x="155734" y="762850"/>
                    <a:pt x="152876" y="778090"/>
                    <a:pt x="159544" y="790472"/>
                  </a:cubicBezTo>
                  <a:lnTo>
                    <a:pt x="212884" y="876197"/>
                  </a:lnTo>
                  <a:lnTo>
                    <a:pt x="212884" y="876197"/>
                  </a:lnTo>
                  <a:lnTo>
                    <a:pt x="150019" y="876197"/>
                  </a:lnTo>
                  <a:lnTo>
                    <a:pt x="150019" y="876197"/>
                  </a:lnTo>
                  <a:lnTo>
                    <a:pt x="109061" y="809522"/>
                  </a:lnTo>
                  <a:cubicBezTo>
                    <a:pt x="102394" y="799045"/>
                    <a:pt x="89059" y="794282"/>
                    <a:pt x="77629" y="799045"/>
                  </a:cubicBezTo>
                  <a:cubicBezTo>
                    <a:pt x="76676" y="799997"/>
                    <a:pt x="74771" y="799997"/>
                    <a:pt x="73819" y="800950"/>
                  </a:cubicBezTo>
                  <a:cubicBezTo>
                    <a:pt x="62389" y="808570"/>
                    <a:pt x="58579" y="823810"/>
                    <a:pt x="65246" y="836192"/>
                  </a:cubicBezTo>
                  <a:lnTo>
                    <a:pt x="90011" y="876197"/>
                  </a:lnTo>
                  <a:lnTo>
                    <a:pt x="30004" y="877150"/>
                  </a:lnTo>
                  <a:cubicBezTo>
                    <a:pt x="18574" y="876197"/>
                    <a:pt x="7144" y="888580"/>
                    <a:pt x="7144" y="902867"/>
                  </a:cubicBezTo>
                  <a:cubicBezTo>
                    <a:pt x="7144" y="916202"/>
                    <a:pt x="18574" y="927632"/>
                    <a:pt x="32861" y="927632"/>
                  </a:cubicBezTo>
                  <a:lnTo>
                    <a:pt x="82391" y="926680"/>
                  </a:lnTo>
                  <a:lnTo>
                    <a:pt x="83344" y="926680"/>
                  </a:lnTo>
                  <a:lnTo>
                    <a:pt x="67151" y="951445"/>
                  </a:lnTo>
                  <a:cubicBezTo>
                    <a:pt x="59531" y="962875"/>
                    <a:pt x="62389" y="979067"/>
                    <a:pt x="73819" y="986687"/>
                  </a:cubicBezTo>
                  <a:cubicBezTo>
                    <a:pt x="85249" y="994307"/>
                    <a:pt x="101441" y="991450"/>
                    <a:pt x="109061" y="980020"/>
                  </a:cubicBezTo>
                  <a:lnTo>
                    <a:pt x="144304" y="927632"/>
                  </a:lnTo>
                  <a:lnTo>
                    <a:pt x="207169" y="927632"/>
                  </a:lnTo>
                  <a:lnTo>
                    <a:pt x="207169" y="927632"/>
                  </a:lnTo>
                  <a:lnTo>
                    <a:pt x="159544" y="998117"/>
                  </a:lnTo>
                  <a:cubicBezTo>
                    <a:pt x="151924" y="1009547"/>
                    <a:pt x="154781" y="1025740"/>
                    <a:pt x="166211" y="1033360"/>
                  </a:cubicBezTo>
                  <a:cubicBezTo>
                    <a:pt x="177641" y="1040980"/>
                    <a:pt x="193834" y="1038122"/>
                    <a:pt x="201454" y="1026692"/>
                  </a:cubicBezTo>
                  <a:lnTo>
                    <a:pt x="268129" y="927632"/>
                  </a:lnTo>
                  <a:lnTo>
                    <a:pt x="342424" y="928585"/>
                  </a:lnTo>
                  <a:lnTo>
                    <a:pt x="260509" y="1051457"/>
                  </a:lnTo>
                  <a:cubicBezTo>
                    <a:pt x="252889" y="1062888"/>
                    <a:pt x="255746" y="1079080"/>
                    <a:pt x="267176" y="1086700"/>
                  </a:cubicBezTo>
                  <a:cubicBezTo>
                    <a:pt x="278606" y="1094320"/>
                    <a:pt x="294799" y="1091463"/>
                    <a:pt x="302419" y="1080032"/>
                  </a:cubicBezTo>
                  <a:lnTo>
                    <a:pt x="404336" y="928585"/>
                  </a:lnTo>
                  <a:lnTo>
                    <a:pt x="483394" y="928585"/>
                  </a:lnTo>
                  <a:lnTo>
                    <a:pt x="362426" y="1100035"/>
                  </a:lnTo>
                  <a:cubicBezTo>
                    <a:pt x="357664" y="1106702"/>
                    <a:pt x="356711" y="1115275"/>
                    <a:pt x="360521" y="1123847"/>
                  </a:cubicBezTo>
                  <a:cubicBezTo>
                    <a:pt x="363379" y="1131467"/>
                    <a:pt x="370046" y="1137182"/>
                    <a:pt x="378619" y="1139088"/>
                  </a:cubicBezTo>
                  <a:lnTo>
                    <a:pt x="584359" y="1177188"/>
                  </a:lnTo>
                  <a:lnTo>
                    <a:pt x="528161" y="1232433"/>
                  </a:lnTo>
                  <a:lnTo>
                    <a:pt x="349091" y="1193380"/>
                  </a:lnTo>
                  <a:cubicBezTo>
                    <a:pt x="344329" y="1192427"/>
                    <a:pt x="338614" y="1192427"/>
                    <a:pt x="334804" y="1194332"/>
                  </a:cubicBezTo>
                  <a:cubicBezTo>
                    <a:pt x="327184" y="1197190"/>
                    <a:pt x="321469" y="1203857"/>
                    <a:pt x="319564" y="1212430"/>
                  </a:cubicBezTo>
                  <a:cubicBezTo>
                    <a:pt x="316706" y="1225765"/>
                    <a:pt x="325279" y="1240052"/>
                    <a:pt x="338614" y="1242910"/>
                  </a:cubicBezTo>
                  <a:lnTo>
                    <a:pt x="483394" y="1274342"/>
                  </a:lnTo>
                  <a:lnTo>
                    <a:pt x="483394" y="1274342"/>
                  </a:lnTo>
                  <a:lnTo>
                    <a:pt x="429101" y="1326730"/>
                  </a:lnTo>
                  <a:lnTo>
                    <a:pt x="311944" y="1300060"/>
                  </a:lnTo>
                  <a:cubicBezTo>
                    <a:pt x="307181" y="1299108"/>
                    <a:pt x="301466" y="1299108"/>
                    <a:pt x="296704" y="1301013"/>
                  </a:cubicBezTo>
                  <a:cubicBezTo>
                    <a:pt x="289084" y="1303870"/>
                    <a:pt x="283369" y="1310538"/>
                    <a:pt x="281464" y="1319110"/>
                  </a:cubicBezTo>
                  <a:cubicBezTo>
                    <a:pt x="278606" y="1332445"/>
                    <a:pt x="287179" y="1345780"/>
                    <a:pt x="300514" y="1349590"/>
                  </a:cubicBezTo>
                  <a:lnTo>
                    <a:pt x="383381" y="1367688"/>
                  </a:lnTo>
                  <a:lnTo>
                    <a:pt x="337661" y="1411502"/>
                  </a:lnTo>
                  <a:lnTo>
                    <a:pt x="337661" y="1411502"/>
                  </a:lnTo>
                  <a:lnTo>
                    <a:pt x="275749" y="1398167"/>
                  </a:lnTo>
                  <a:cubicBezTo>
                    <a:pt x="270986" y="1397215"/>
                    <a:pt x="265271" y="1397215"/>
                    <a:pt x="261461" y="1399120"/>
                  </a:cubicBezTo>
                  <a:cubicBezTo>
                    <a:pt x="253841" y="1401977"/>
                    <a:pt x="248126" y="1408645"/>
                    <a:pt x="246221" y="1417217"/>
                  </a:cubicBezTo>
                  <a:cubicBezTo>
                    <a:pt x="243364" y="1430552"/>
                    <a:pt x="251936" y="1443888"/>
                    <a:pt x="265271" y="1447697"/>
                  </a:cubicBezTo>
                  <a:lnTo>
                    <a:pt x="293846" y="1454365"/>
                  </a:lnTo>
                  <a:lnTo>
                    <a:pt x="293846" y="1454365"/>
                  </a:lnTo>
                  <a:lnTo>
                    <a:pt x="257651" y="1488655"/>
                  </a:lnTo>
                  <a:cubicBezTo>
                    <a:pt x="247174" y="1498180"/>
                    <a:pt x="247174" y="1514372"/>
                    <a:pt x="256699" y="1524850"/>
                  </a:cubicBezTo>
                  <a:cubicBezTo>
                    <a:pt x="266224" y="1535327"/>
                    <a:pt x="282416" y="1535327"/>
                    <a:pt x="291941" y="1525802"/>
                  </a:cubicBezTo>
                  <a:lnTo>
                    <a:pt x="334804" y="1483892"/>
                  </a:lnTo>
                  <a:lnTo>
                    <a:pt x="334804" y="1483892"/>
                  </a:lnTo>
                  <a:lnTo>
                    <a:pt x="344329" y="1528660"/>
                  </a:lnTo>
                  <a:cubicBezTo>
                    <a:pt x="347186" y="1541995"/>
                    <a:pt x="360521" y="1550567"/>
                    <a:pt x="374809" y="1547710"/>
                  </a:cubicBezTo>
                  <a:cubicBezTo>
                    <a:pt x="388144" y="1544852"/>
                    <a:pt x="396716" y="1531517"/>
                    <a:pt x="393859" y="1517230"/>
                  </a:cubicBezTo>
                  <a:lnTo>
                    <a:pt x="377666" y="1441983"/>
                  </a:lnTo>
                  <a:lnTo>
                    <a:pt x="377666" y="1441983"/>
                  </a:lnTo>
                  <a:lnTo>
                    <a:pt x="423386" y="1398167"/>
                  </a:lnTo>
                  <a:lnTo>
                    <a:pt x="444341" y="1496275"/>
                  </a:lnTo>
                  <a:cubicBezTo>
                    <a:pt x="447199" y="1509610"/>
                    <a:pt x="460534" y="1518183"/>
                    <a:pt x="474821" y="1515325"/>
                  </a:cubicBezTo>
                  <a:cubicBezTo>
                    <a:pt x="488156" y="1512467"/>
                    <a:pt x="496729" y="1499133"/>
                    <a:pt x="493871" y="1484845"/>
                  </a:cubicBezTo>
                  <a:lnTo>
                    <a:pt x="466249" y="1356258"/>
                  </a:lnTo>
                  <a:lnTo>
                    <a:pt x="467201" y="1356258"/>
                  </a:lnTo>
                  <a:lnTo>
                    <a:pt x="511969" y="1313395"/>
                  </a:lnTo>
                  <a:lnTo>
                    <a:pt x="541496" y="1447697"/>
                  </a:lnTo>
                  <a:cubicBezTo>
                    <a:pt x="544354" y="1461033"/>
                    <a:pt x="557689" y="1469605"/>
                    <a:pt x="571976" y="1466747"/>
                  </a:cubicBezTo>
                  <a:cubicBezTo>
                    <a:pt x="585311" y="1463890"/>
                    <a:pt x="593884" y="1450555"/>
                    <a:pt x="591026" y="1436267"/>
                  </a:cubicBezTo>
                  <a:lnTo>
                    <a:pt x="554831" y="1270533"/>
                  </a:lnTo>
                  <a:lnTo>
                    <a:pt x="608171" y="1218145"/>
                  </a:lnTo>
                  <a:lnTo>
                    <a:pt x="651986" y="1429600"/>
                  </a:lnTo>
                  <a:cubicBezTo>
                    <a:pt x="653891" y="1437220"/>
                    <a:pt x="659606" y="1443888"/>
                    <a:pt x="667226" y="1447697"/>
                  </a:cubicBezTo>
                  <a:cubicBezTo>
                    <a:pt x="674846" y="1450555"/>
                    <a:pt x="683419" y="1450555"/>
                    <a:pt x="691039" y="1445792"/>
                  </a:cubicBezTo>
                  <a:lnTo>
                    <a:pt x="874871" y="1330540"/>
                  </a:lnTo>
                  <a:lnTo>
                    <a:pt x="874871" y="1405788"/>
                  </a:lnTo>
                  <a:lnTo>
                    <a:pt x="874871" y="1405788"/>
                  </a:lnTo>
                  <a:lnTo>
                    <a:pt x="731044" y="1497227"/>
                  </a:lnTo>
                  <a:cubicBezTo>
                    <a:pt x="719614" y="1504847"/>
                    <a:pt x="715804" y="1520088"/>
                    <a:pt x="722471" y="1532470"/>
                  </a:cubicBezTo>
                  <a:cubicBezTo>
                    <a:pt x="730091" y="1543900"/>
                    <a:pt x="745331" y="1547710"/>
                    <a:pt x="757714" y="1541042"/>
                  </a:cubicBezTo>
                  <a:lnTo>
                    <a:pt x="875824" y="1468652"/>
                  </a:lnTo>
                  <a:lnTo>
                    <a:pt x="875824" y="1468652"/>
                  </a:lnTo>
                  <a:lnTo>
                    <a:pt x="875824" y="1530565"/>
                  </a:lnTo>
                  <a:lnTo>
                    <a:pt x="875824" y="1530565"/>
                  </a:lnTo>
                  <a:lnTo>
                    <a:pt x="763429" y="1600097"/>
                  </a:lnTo>
                  <a:cubicBezTo>
                    <a:pt x="751999" y="1607717"/>
                    <a:pt x="748189" y="1622958"/>
                    <a:pt x="754856" y="1635340"/>
                  </a:cubicBezTo>
                  <a:cubicBezTo>
                    <a:pt x="762476" y="1647722"/>
                    <a:pt x="777716" y="1650580"/>
                    <a:pt x="790099" y="1643913"/>
                  </a:cubicBezTo>
                  <a:lnTo>
                    <a:pt x="875824" y="1590572"/>
                  </a:lnTo>
                  <a:lnTo>
                    <a:pt x="875824" y="1591525"/>
                  </a:lnTo>
                  <a:lnTo>
                    <a:pt x="875824" y="1654390"/>
                  </a:lnTo>
                  <a:lnTo>
                    <a:pt x="809149" y="1695347"/>
                  </a:lnTo>
                  <a:cubicBezTo>
                    <a:pt x="796766" y="1702967"/>
                    <a:pt x="793909" y="1718208"/>
                    <a:pt x="800576" y="1730590"/>
                  </a:cubicBezTo>
                  <a:cubicBezTo>
                    <a:pt x="808196" y="1742020"/>
                    <a:pt x="823436" y="1745830"/>
                    <a:pt x="835819" y="1739163"/>
                  </a:cubicBezTo>
                  <a:lnTo>
                    <a:pt x="875824" y="1714397"/>
                  </a:lnTo>
                  <a:lnTo>
                    <a:pt x="875824" y="1715350"/>
                  </a:lnTo>
                  <a:lnTo>
                    <a:pt x="875824" y="1774405"/>
                  </a:lnTo>
                  <a:cubicBezTo>
                    <a:pt x="875824" y="1788692"/>
                    <a:pt x="887254" y="1800122"/>
                    <a:pt x="901541" y="1800122"/>
                  </a:cubicBezTo>
                  <a:cubicBezTo>
                    <a:pt x="914876" y="1800122"/>
                    <a:pt x="926306" y="1788692"/>
                    <a:pt x="926306" y="1774405"/>
                  </a:cubicBezTo>
                  <a:lnTo>
                    <a:pt x="927259" y="1723922"/>
                  </a:lnTo>
                  <a:lnTo>
                    <a:pt x="927259" y="1723922"/>
                  </a:lnTo>
                  <a:lnTo>
                    <a:pt x="951071" y="1740115"/>
                  </a:lnTo>
                  <a:cubicBezTo>
                    <a:pt x="962501" y="1747735"/>
                    <a:pt x="978694" y="1744877"/>
                    <a:pt x="986314" y="1733447"/>
                  </a:cubicBezTo>
                  <a:cubicBezTo>
                    <a:pt x="993934" y="1722017"/>
                    <a:pt x="991076" y="1705825"/>
                    <a:pt x="979646" y="1698205"/>
                  </a:cubicBezTo>
                  <a:lnTo>
                    <a:pt x="926306" y="1662010"/>
                  </a:lnTo>
                  <a:lnTo>
                    <a:pt x="926306" y="1662010"/>
                  </a:lnTo>
                  <a:lnTo>
                    <a:pt x="926306" y="1600097"/>
                  </a:lnTo>
                  <a:lnTo>
                    <a:pt x="926306" y="1599145"/>
                  </a:lnTo>
                  <a:lnTo>
                    <a:pt x="926306" y="1599145"/>
                  </a:lnTo>
                  <a:lnTo>
                    <a:pt x="997744" y="1646770"/>
                  </a:lnTo>
                  <a:cubicBezTo>
                    <a:pt x="1009174" y="1654390"/>
                    <a:pt x="1025366" y="1651533"/>
                    <a:pt x="1032986" y="1640102"/>
                  </a:cubicBezTo>
                  <a:cubicBezTo>
                    <a:pt x="1040606" y="1628672"/>
                    <a:pt x="1037749" y="1612480"/>
                    <a:pt x="1026319" y="1604860"/>
                  </a:cubicBezTo>
                  <a:lnTo>
                    <a:pt x="927259" y="1538185"/>
                  </a:lnTo>
                  <a:lnTo>
                    <a:pt x="927259" y="1538185"/>
                  </a:lnTo>
                  <a:lnTo>
                    <a:pt x="928211" y="1463890"/>
                  </a:lnTo>
                  <a:lnTo>
                    <a:pt x="928211" y="1463890"/>
                  </a:lnTo>
                  <a:lnTo>
                    <a:pt x="1051084" y="1546758"/>
                  </a:lnTo>
                  <a:cubicBezTo>
                    <a:pt x="1062514" y="1554377"/>
                    <a:pt x="1078706" y="1551520"/>
                    <a:pt x="1086326" y="1540090"/>
                  </a:cubicBezTo>
                  <a:cubicBezTo>
                    <a:pt x="1093946" y="1528660"/>
                    <a:pt x="1091089" y="1512467"/>
                    <a:pt x="1079659" y="1504847"/>
                  </a:cubicBezTo>
                  <a:lnTo>
                    <a:pt x="927259" y="1402930"/>
                  </a:lnTo>
                  <a:lnTo>
                    <a:pt x="927259" y="1402930"/>
                  </a:lnTo>
                  <a:lnTo>
                    <a:pt x="927259" y="1323872"/>
                  </a:lnTo>
                  <a:lnTo>
                    <a:pt x="1097756" y="1443888"/>
                  </a:lnTo>
                  <a:cubicBezTo>
                    <a:pt x="1111091" y="1453413"/>
                    <a:pt x="1133951" y="1444840"/>
                    <a:pt x="1136809" y="1427695"/>
                  </a:cubicBezTo>
                  <a:lnTo>
                    <a:pt x="1176814" y="1222907"/>
                  </a:lnTo>
                  <a:lnTo>
                    <a:pt x="1231106" y="1279105"/>
                  </a:lnTo>
                  <a:lnTo>
                    <a:pt x="1231106" y="1279105"/>
                  </a:lnTo>
                  <a:lnTo>
                    <a:pt x="1192054" y="1458175"/>
                  </a:lnTo>
                  <a:cubicBezTo>
                    <a:pt x="1189196" y="1471510"/>
                    <a:pt x="1197769" y="1484845"/>
                    <a:pt x="1211104" y="1487702"/>
                  </a:cubicBezTo>
                  <a:cubicBezTo>
                    <a:pt x="1224439" y="1490560"/>
                    <a:pt x="1237774" y="1481988"/>
                    <a:pt x="1241584" y="1468652"/>
                  </a:cubicBezTo>
                  <a:lnTo>
                    <a:pt x="1273016" y="1323872"/>
                  </a:lnTo>
                  <a:lnTo>
                    <a:pt x="1273016" y="1323872"/>
                  </a:lnTo>
                  <a:lnTo>
                    <a:pt x="1325404" y="1377213"/>
                  </a:lnTo>
                  <a:lnTo>
                    <a:pt x="1325404" y="1377213"/>
                  </a:lnTo>
                  <a:lnTo>
                    <a:pt x="1300639" y="1494370"/>
                  </a:lnTo>
                  <a:cubicBezTo>
                    <a:pt x="1297781" y="1507705"/>
                    <a:pt x="1306354" y="1521040"/>
                    <a:pt x="1319689" y="1524850"/>
                  </a:cubicBezTo>
                  <a:cubicBezTo>
                    <a:pt x="1333024" y="1527708"/>
                    <a:pt x="1346359" y="1519135"/>
                    <a:pt x="1350169" y="1505800"/>
                  </a:cubicBezTo>
                  <a:lnTo>
                    <a:pt x="1368266" y="1421980"/>
                  </a:lnTo>
                  <a:lnTo>
                    <a:pt x="1368266" y="1421980"/>
                  </a:lnTo>
                  <a:lnTo>
                    <a:pt x="1368266" y="1422933"/>
                  </a:lnTo>
                  <a:lnTo>
                    <a:pt x="1411129" y="1467700"/>
                  </a:lnTo>
                  <a:lnTo>
                    <a:pt x="1411129" y="1467700"/>
                  </a:lnTo>
                  <a:lnTo>
                    <a:pt x="1397794" y="1530565"/>
                  </a:lnTo>
                  <a:cubicBezTo>
                    <a:pt x="1394936" y="1543900"/>
                    <a:pt x="1403509" y="1558188"/>
                    <a:pt x="1416844" y="1561045"/>
                  </a:cubicBezTo>
                  <a:cubicBezTo>
                    <a:pt x="1430179" y="1563902"/>
                    <a:pt x="1443514" y="1555330"/>
                    <a:pt x="1447324" y="1541995"/>
                  </a:cubicBezTo>
                  <a:lnTo>
                    <a:pt x="1453039" y="1513420"/>
                  </a:lnTo>
                  <a:lnTo>
                    <a:pt x="1453039" y="1513420"/>
                  </a:lnTo>
                  <a:lnTo>
                    <a:pt x="1488281" y="1549615"/>
                  </a:lnTo>
                  <a:cubicBezTo>
                    <a:pt x="1497806" y="1560092"/>
                    <a:pt x="1513999" y="1560092"/>
                    <a:pt x="1523524" y="1550567"/>
                  </a:cubicBezTo>
                  <a:cubicBezTo>
                    <a:pt x="1534001" y="1541042"/>
                    <a:pt x="1534001" y="1524850"/>
                    <a:pt x="1524476" y="1514372"/>
                  </a:cubicBezTo>
                  <a:lnTo>
                    <a:pt x="1483519" y="1472463"/>
                  </a:lnTo>
                  <a:lnTo>
                    <a:pt x="1482566" y="1471510"/>
                  </a:lnTo>
                  <a:lnTo>
                    <a:pt x="1528286" y="1461985"/>
                  </a:lnTo>
                  <a:cubicBezTo>
                    <a:pt x="1541621" y="1459127"/>
                    <a:pt x="1550194" y="1445792"/>
                    <a:pt x="1547336" y="1431505"/>
                  </a:cubicBezTo>
                  <a:cubicBezTo>
                    <a:pt x="1544479" y="1418170"/>
                    <a:pt x="1531144" y="1409597"/>
                    <a:pt x="1516856" y="1412455"/>
                  </a:cubicBezTo>
                  <a:lnTo>
                    <a:pt x="1440656" y="1428647"/>
                  </a:lnTo>
                  <a:lnTo>
                    <a:pt x="1397794" y="1379117"/>
                  </a:lnTo>
                  <a:lnTo>
                    <a:pt x="1397794" y="1379117"/>
                  </a:lnTo>
                  <a:lnTo>
                    <a:pt x="1495901" y="1358163"/>
                  </a:lnTo>
                  <a:cubicBezTo>
                    <a:pt x="1509236" y="1355305"/>
                    <a:pt x="1517809" y="1341970"/>
                    <a:pt x="1514951" y="1327683"/>
                  </a:cubicBezTo>
                  <a:cubicBezTo>
                    <a:pt x="1512094" y="1314347"/>
                    <a:pt x="1498759" y="1305775"/>
                    <a:pt x="1484471" y="1308633"/>
                  </a:cubicBezTo>
                  <a:lnTo>
                    <a:pt x="1355884" y="1336255"/>
                  </a:lnTo>
                  <a:lnTo>
                    <a:pt x="1355884" y="1336255"/>
                  </a:lnTo>
                  <a:lnTo>
                    <a:pt x="1313021" y="1291488"/>
                  </a:lnTo>
                  <a:lnTo>
                    <a:pt x="1313021" y="1291488"/>
                  </a:lnTo>
                  <a:lnTo>
                    <a:pt x="1448276" y="1261960"/>
                  </a:lnTo>
                  <a:cubicBezTo>
                    <a:pt x="1461611" y="1259102"/>
                    <a:pt x="1470184" y="1245767"/>
                    <a:pt x="1467326" y="1231480"/>
                  </a:cubicBezTo>
                  <a:cubicBezTo>
                    <a:pt x="1464469" y="1218145"/>
                    <a:pt x="1451134" y="1209572"/>
                    <a:pt x="1436846" y="1212430"/>
                  </a:cubicBezTo>
                  <a:lnTo>
                    <a:pt x="1271111" y="1248625"/>
                  </a:lnTo>
                  <a:lnTo>
                    <a:pt x="1271111" y="1248625"/>
                  </a:lnTo>
                  <a:lnTo>
                    <a:pt x="1218724" y="1194332"/>
                  </a:lnTo>
                  <a:lnTo>
                    <a:pt x="1431131" y="1150517"/>
                  </a:lnTo>
                  <a:cubicBezTo>
                    <a:pt x="1439704" y="1149565"/>
                    <a:pt x="1445419" y="1143850"/>
                    <a:pt x="1449229" y="1135277"/>
                  </a:cubicBezTo>
                  <a:cubicBezTo>
                    <a:pt x="1451134" y="1127657"/>
                    <a:pt x="1451134" y="1119085"/>
                    <a:pt x="1447324" y="1112417"/>
                  </a:cubicBezTo>
                  <a:lnTo>
                    <a:pt x="1332071" y="929537"/>
                  </a:lnTo>
                  <a:lnTo>
                    <a:pt x="1407319" y="929537"/>
                  </a:lnTo>
                  <a:lnTo>
                    <a:pt x="1495901" y="1073365"/>
                  </a:lnTo>
                  <a:cubicBezTo>
                    <a:pt x="1503521" y="1084795"/>
                    <a:pt x="1519714" y="1088605"/>
                    <a:pt x="1531144" y="1081938"/>
                  </a:cubicBezTo>
                  <a:cubicBezTo>
                    <a:pt x="1542574" y="1074317"/>
                    <a:pt x="1546384" y="1059077"/>
                    <a:pt x="1539716" y="1046695"/>
                  </a:cubicBezTo>
                  <a:lnTo>
                    <a:pt x="1467326" y="929537"/>
                  </a:lnTo>
                  <a:lnTo>
                    <a:pt x="1529239" y="929537"/>
                  </a:lnTo>
                  <a:lnTo>
                    <a:pt x="1530191" y="929537"/>
                  </a:lnTo>
                  <a:lnTo>
                    <a:pt x="1598771" y="1040980"/>
                  </a:lnTo>
                  <a:cubicBezTo>
                    <a:pt x="1606391" y="1052410"/>
                    <a:pt x="1622584" y="1056220"/>
                    <a:pt x="1634014" y="1049552"/>
                  </a:cubicBezTo>
                  <a:cubicBezTo>
                    <a:pt x="1645444" y="1041932"/>
                    <a:pt x="1649254" y="1026692"/>
                    <a:pt x="1642586" y="1014310"/>
                  </a:cubicBezTo>
                  <a:lnTo>
                    <a:pt x="1590199" y="928585"/>
                  </a:lnTo>
                  <a:lnTo>
                    <a:pt x="1653064" y="928585"/>
                  </a:lnTo>
                  <a:lnTo>
                    <a:pt x="1653064" y="928585"/>
                  </a:lnTo>
                  <a:lnTo>
                    <a:pt x="1694021" y="994307"/>
                  </a:lnTo>
                  <a:cubicBezTo>
                    <a:pt x="1701641" y="1005737"/>
                    <a:pt x="1717834" y="1009547"/>
                    <a:pt x="1729264" y="1002880"/>
                  </a:cubicBezTo>
                  <a:cubicBezTo>
                    <a:pt x="1740694" y="995260"/>
                    <a:pt x="1744504" y="980020"/>
                    <a:pt x="1737836" y="967637"/>
                  </a:cubicBezTo>
                  <a:lnTo>
                    <a:pt x="1714024" y="928585"/>
                  </a:lnTo>
                  <a:lnTo>
                    <a:pt x="1714024" y="928585"/>
                  </a:lnTo>
                  <a:lnTo>
                    <a:pt x="1774031" y="928585"/>
                  </a:lnTo>
                  <a:cubicBezTo>
                    <a:pt x="1787366" y="928585"/>
                    <a:pt x="1798796" y="917155"/>
                    <a:pt x="1798796" y="902867"/>
                  </a:cubicBezTo>
                  <a:cubicBezTo>
                    <a:pt x="1798796" y="888580"/>
                    <a:pt x="1787366" y="877150"/>
                    <a:pt x="1773079" y="877150"/>
                  </a:cubicBezTo>
                  <a:lnTo>
                    <a:pt x="1722596" y="878102"/>
                  </a:lnTo>
                  <a:lnTo>
                    <a:pt x="1722596" y="878102"/>
                  </a:lnTo>
                  <a:lnTo>
                    <a:pt x="1738789" y="853337"/>
                  </a:lnTo>
                  <a:cubicBezTo>
                    <a:pt x="1746409" y="841907"/>
                    <a:pt x="1743551" y="825715"/>
                    <a:pt x="1732121" y="818095"/>
                  </a:cubicBezTo>
                  <a:cubicBezTo>
                    <a:pt x="1724501" y="813332"/>
                    <a:pt x="1715929" y="812380"/>
                    <a:pt x="1708309" y="815237"/>
                  </a:cubicBezTo>
                  <a:cubicBezTo>
                    <a:pt x="1703546" y="817142"/>
                    <a:pt x="1699736" y="820000"/>
                    <a:pt x="1696879" y="824762"/>
                  </a:cubicBezTo>
                  <a:lnTo>
                    <a:pt x="1661636" y="877150"/>
                  </a:lnTo>
                  <a:lnTo>
                    <a:pt x="1661636" y="877150"/>
                  </a:lnTo>
                  <a:lnTo>
                    <a:pt x="1598771" y="877150"/>
                  </a:lnTo>
                  <a:lnTo>
                    <a:pt x="1646396" y="806665"/>
                  </a:lnTo>
                  <a:cubicBezTo>
                    <a:pt x="1654016" y="795235"/>
                    <a:pt x="1651159" y="779042"/>
                    <a:pt x="1639729" y="771422"/>
                  </a:cubicBezTo>
                  <a:cubicBezTo>
                    <a:pt x="1632109" y="766660"/>
                    <a:pt x="1623536" y="765707"/>
                    <a:pt x="1615916" y="768565"/>
                  </a:cubicBezTo>
                  <a:cubicBezTo>
                    <a:pt x="1611154" y="770470"/>
                    <a:pt x="1607344" y="773327"/>
                    <a:pt x="1604486" y="778090"/>
                  </a:cubicBezTo>
                  <a:lnTo>
                    <a:pt x="1537811" y="877150"/>
                  </a:lnTo>
                  <a:lnTo>
                    <a:pt x="1462564" y="877150"/>
                  </a:lnTo>
                  <a:lnTo>
                    <a:pt x="1462564" y="877150"/>
                  </a:lnTo>
                  <a:lnTo>
                    <a:pt x="1545431" y="754277"/>
                  </a:lnTo>
                  <a:cubicBezTo>
                    <a:pt x="1553051" y="742847"/>
                    <a:pt x="1550194" y="726655"/>
                    <a:pt x="1538764" y="719035"/>
                  </a:cubicBezTo>
                  <a:cubicBezTo>
                    <a:pt x="1531144" y="714272"/>
                    <a:pt x="1522571" y="713320"/>
                    <a:pt x="1514951" y="716177"/>
                  </a:cubicBezTo>
                  <a:cubicBezTo>
                    <a:pt x="1510189" y="718082"/>
                    <a:pt x="1506379" y="720940"/>
                    <a:pt x="1503521" y="725702"/>
                  </a:cubicBezTo>
                  <a:lnTo>
                    <a:pt x="1401604" y="878102"/>
                  </a:lnTo>
                  <a:lnTo>
                    <a:pt x="1322546" y="877150"/>
                  </a:lnTo>
                  <a:lnTo>
                    <a:pt x="1443514" y="706652"/>
                  </a:lnTo>
                  <a:cubicBezTo>
                    <a:pt x="1448276" y="699032"/>
                    <a:pt x="1449229" y="690460"/>
                    <a:pt x="1445419" y="682840"/>
                  </a:cubicBezTo>
                  <a:cubicBezTo>
                    <a:pt x="1441609" y="674267"/>
                    <a:pt x="1434941" y="668552"/>
                    <a:pt x="1427321" y="667600"/>
                  </a:cubicBezTo>
                  <a:lnTo>
                    <a:pt x="1221581" y="628547"/>
                  </a:lnTo>
                  <a:lnTo>
                    <a:pt x="1278731" y="573302"/>
                  </a:lnTo>
                  <a:lnTo>
                    <a:pt x="1456849" y="611402"/>
                  </a:lnTo>
                  <a:cubicBezTo>
                    <a:pt x="1470184" y="614260"/>
                    <a:pt x="1483519" y="605687"/>
                    <a:pt x="1487329" y="592352"/>
                  </a:cubicBezTo>
                  <a:cubicBezTo>
                    <a:pt x="1490186" y="579017"/>
                    <a:pt x="1481614" y="565682"/>
                    <a:pt x="1468279" y="561872"/>
                  </a:cubicBezTo>
                  <a:lnTo>
                    <a:pt x="1321594" y="532345"/>
                  </a:lnTo>
                  <a:lnTo>
                    <a:pt x="1374934" y="479957"/>
                  </a:lnTo>
                  <a:lnTo>
                    <a:pt x="1492091" y="504722"/>
                  </a:lnTo>
                  <a:cubicBezTo>
                    <a:pt x="1505426" y="507580"/>
                    <a:pt x="1518761" y="499007"/>
                    <a:pt x="1522571" y="485672"/>
                  </a:cubicBezTo>
                  <a:cubicBezTo>
                    <a:pt x="1525429" y="472337"/>
                    <a:pt x="1516856" y="459002"/>
                    <a:pt x="1503521" y="455192"/>
                  </a:cubicBezTo>
                  <a:lnTo>
                    <a:pt x="1420654" y="437095"/>
                  </a:lnTo>
                  <a:lnTo>
                    <a:pt x="1420654" y="437095"/>
                  </a:lnTo>
                  <a:lnTo>
                    <a:pt x="1466374" y="393280"/>
                  </a:lnTo>
                  <a:lnTo>
                    <a:pt x="1528286" y="406615"/>
                  </a:lnTo>
                  <a:cubicBezTo>
                    <a:pt x="1541621" y="409472"/>
                    <a:pt x="1554956" y="400900"/>
                    <a:pt x="1558766" y="387565"/>
                  </a:cubicBezTo>
                  <a:cubicBezTo>
                    <a:pt x="1561624" y="374230"/>
                    <a:pt x="1553051" y="360895"/>
                    <a:pt x="1539716" y="357085"/>
                  </a:cubicBezTo>
                  <a:lnTo>
                    <a:pt x="1510189" y="350417"/>
                  </a:lnTo>
                  <a:lnTo>
                    <a:pt x="1510189" y="350417"/>
                  </a:lnTo>
                  <a:lnTo>
                    <a:pt x="1546384" y="316127"/>
                  </a:lnTo>
                  <a:cubicBezTo>
                    <a:pt x="1555909" y="307555"/>
                    <a:pt x="1555909" y="290410"/>
                    <a:pt x="1546384" y="280885"/>
                  </a:cubicBezTo>
                  <a:close/>
                  <a:moveTo>
                    <a:pt x="1257776" y="879055"/>
                  </a:moveTo>
                  <a:lnTo>
                    <a:pt x="1110139" y="880007"/>
                  </a:lnTo>
                  <a:lnTo>
                    <a:pt x="1109186" y="828572"/>
                  </a:lnTo>
                  <a:cubicBezTo>
                    <a:pt x="1109186" y="821905"/>
                    <a:pt x="1106329" y="815237"/>
                    <a:pt x="1102519" y="811427"/>
                  </a:cubicBezTo>
                  <a:lnTo>
                    <a:pt x="1068229" y="774280"/>
                  </a:lnTo>
                  <a:lnTo>
                    <a:pt x="1175861" y="671410"/>
                  </a:lnTo>
                  <a:lnTo>
                    <a:pt x="1376839" y="710462"/>
                  </a:lnTo>
                  <a:lnTo>
                    <a:pt x="1258729" y="877150"/>
                  </a:lnTo>
                  <a:lnTo>
                    <a:pt x="1257776" y="879055"/>
                  </a:lnTo>
                  <a:close/>
                  <a:moveTo>
                    <a:pt x="1059656" y="879055"/>
                  </a:moveTo>
                  <a:lnTo>
                    <a:pt x="1060609" y="929537"/>
                  </a:lnTo>
                  <a:lnTo>
                    <a:pt x="1061561" y="969542"/>
                  </a:lnTo>
                  <a:lnTo>
                    <a:pt x="1032034" y="997165"/>
                  </a:lnTo>
                  <a:lnTo>
                    <a:pt x="994886" y="1031455"/>
                  </a:lnTo>
                  <a:lnTo>
                    <a:pt x="965359" y="1059077"/>
                  </a:lnTo>
                  <a:lnTo>
                    <a:pt x="925354" y="1060030"/>
                  </a:lnTo>
                  <a:lnTo>
                    <a:pt x="874871" y="1060982"/>
                  </a:lnTo>
                  <a:lnTo>
                    <a:pt x="834866" y="1061935"/>
                  </a:lnTo>
                  <a:lnTo>
                    <a:pt x="807244" y="1032407"/>
                  </a:lnTo>
                  <a:lnTo>
                    <a:pt x="772954" y="995260"/>
                  </a:lnTo>
                  <a:lnTo>
                    <a:pt x="745331" y="965732"/>
                  </a:lnTo>
                  <a:lnTo>
                    <a:pt x="744379" y="925727"/>
                  </a:lnTo>
                  <a:lnTo>
                    <a:pt x="743426" y="875245"/>
                  </a:lnTo>
                  <a:lnTo>
                    <a:pt x="742474" y="835240"/>
                  </a:lnTo>
                  <a:lnTo>
                    <a:pt x="772001" y="807617"/>
                  </a:lnTo>
                  <a:lnTo>
                    <a:pt x="809149" y="773327"/>
                  </a:lnTo>
                  <a:lnTo>
                    <a:pt x="838676" y="745705"/>
                  </a:lnTo>
                  <a:lnTo>
                    <a:pt x="878681" y="744752"/>
                  </a:lnTo>
                  <a:lnTo>
                    <a:pt x="929164" y="743800"/>
                  </a:lnTo>
                  <a:lnTo>
                    <a:pt x="969169" y="742847"/>
                  </a:lnTo>
                  <a:lnTo>
                    <a:pt x="996791" y="772375"/>
                  </a:lnTo>
                  <a:lnTo>
                    <a:pt x="1031081" y="809522"/>
                  </a:lnTo>
                  <a:lnTo>
                    <a:pt x="1057751" y="839050"/>
                  </a:lnTo>
                  <a:lnTo>
                    <a:pt x="1059656" y="879055"/>
                  </a:lnTo>
                  <a:close/>
                  <a:moveTo>
                    <a:pt x="1178719" y="1150517"/>
                  </a:moveTo>
                  <a:lnTo>
                    <a:pt x="1066324" y="1033360"/>
                  </a:lnTo>
                  <a:lnTo>
                    <a:pt x="1103471" y="999070"/>
                  </a:lnTo>
                  <a:cubicBezTo>
                    <a:pt x="1109186" y="994307"/>
                    <a:pt x="1112044" y="987640"/>
                    <a:pt x="1112044" y="980020"/>
                  </a:cubicBezTo>
                  <a:lnTo>
                    <a:pt x="1111091" y="929537"/>
                  </a:lnTo>
                  <a:lnTo>
                    <a:pt x="1272064" y="928585"/>
                  </a:lnTo>
                  <a:lnTo>
                    <a:pt x="1384459" y="1107655"/>
                  </a:lnTo>
                  <a:lnTo>
                    <a:pt x="1178719" y="1150517"/>
                  </a:lnTo>
                  <a:close/>
                  <a:moveTo>
                    <a:pt x="926306" y="1260055"/>
                  </a:moveTo>
                  <a:lnTo>
                    <a:pt x="925354" y="1111465"/>
                  </a:lnTo>
                  <a:lnTo>
                    <a:pt x="975836" y="1110513"/>
                  </a:lnTo>
                  <a:cubicBezTo>
                    <a:pt x="982504" y="1110513"/>
                    <a:pt x="988219" y="1107655"/>
                    <a:pt x="992981" y="1103845"/>
                  </a:cubicBezTo>
                  <a:lnTo>
                    <a:pt x="1030129" y="1069555"/>
                  </a:lnTo>
                  <a:lnTo>
                    <a:pt x="1132999" y="1177188"/>
                  </a:lnTo>
                  <a:lnTo>
                    <a:pt x="1093946" y="1378165"/>
                  </a:lnTo>
                  <a:lnTo>
                    <a:pt x="926306" y="1260055"/>
                  </a:lnTo>
                  <a:close/>
                  <a:moveTo>
                    <a:pt x="652939" y="1179092"/>
                  </a:moveTo>
                  <a:lnTo>
                    <a:pt x="769144" y="1067650"/>
                  </a:lnTo>
                  <a:lnTo>
                    <a:pt x="803434" y="1104797"/>
                  </a:lnTo>
                  <a:cubicBezTo>
                    <a:pt x="809149" y="1110513"/>
                    <a:pt x="815816" y="1113370"/>
                    <a:pt x="822484" y="1112417"/>
                  </a:cubicBezTo>
                  <a:lnTo>
                    <a:pt x="872966" y="1111465"/>
                  </a:lnTo>
                  <a:lnTo>
                    <a:pt x="872966" y="1274342"/>
                  </a:lnTo>
                  <a:lnTo>
                    <a:pt x="694849" y="1386738"/>
                  </a:lnTo>
                  <a:lnTo>
                    <a:pt x="652939" y="1179092"/>
                  </a:lnTo>
                  <a:close/>
                  <a:moveTo>
                    <a:pt x="545306" y="926680"/>
                  </a:moveTo>
                  <a:lnTo>
                    <a:pt x="693896" y="925727"/>
                  </a:lnTo>
                  <a:lnTo>
                    <a:pt x="694849" y="976210"/>
                  </a:lnTo>
                  <a:cubicBezTo>
                    <a:pt x="694849" y="981925"/>
                    <a:pt x="697706" y="988592"/>
                    <a:pt x="701516" y="993355"/>
                  </a:cubicBezTo>
                  <a:lnTo>
                    <a:pt x="735806" y="1030502"/>
                  </a:lnTo>
                  <a:lnTo>
                    <a:pt x="628174" y="1132420"/>
                  </a:lnTo>
                  <a:lnTo>
                    <a:pt x="627221" y="1131467"/>
                  </a:lnTo>
                  <a:lnTo>
                    <a:pt x="426244" y="1093367"/>
                  </a:lnTo>
                  <a:lnTo>
                    <a:pt x="545306" y="926680"/>
                  </a:lnTo>
                  <a:close/>
                  <a:moveTo>
                    <a:pt x="626269" y="654265"/>
                  </a:moveTo>
                  <a:lnTo>
                    <a:pt x="737711" y="770470"/>
                  </a:lnTo>
                  <a:lnTo>
                    <a:pt x="700564" y="804760"/>
                  </a:lnTo>
                  <a:cubicBezTo>
                    <a:pt x="694849" y="809522"/>
                    <a:pt x="691991" y="817142"/>
                    <a:pt x="691991" y="823810"/>
                  </a:cubicBezTo>
                  <a:lnTo>
                    <a:pt x="692944" y="875245"/>
                  </a:lnTo>
                  <a:lnTo>
                    <a:pt x="531971" y="876197"/>
                  </a:lnTo>
                  <a:lnTo>
                    <a:pt x="418624" y="697127"/>
                  </a:lnTo>
                  <a:lnTo>
                    <a:pt x="626269" y="654265"/>
                  </a:lnTo>
                  <a:close/>
                  <a:moveTo>
                    <a:pt x="877729" y="545680"/>
                  </a:moveTo>
                  <a:lnTo>
                    <a:pt x="877729" y="695222"/>
                  </a:lnTo>
                  <a:lnTo>
                    <a:pt x="827246" y="696175"/>
                  </a:lnTo>
                  <a:cubicBezTo>
                    <a:pt x="824389" y="696175"/>
                    <a:pt x="820579" y="696175"/>
                    <a:pt x="817721" y="698080"/>
                  </a:cubicBezTo>
                  <a:cubicBezTo>
                    <a:pt x="814864" y="699032"/>
                    <a:pt x="812959" y="700937"/>
                    <a:pt x="810101" y="703795"/>
                  </a:cubicBezTo>
                  <a:lnTo>
                    <a:pt x="773906" y="738085"/>
                  </a:lnTo>
                  <a:lnTo>
                    <a:pt x="671989" y="629500"/>
                  </a:lnTo>
                  <a:lnTo>
                    <a:pt x="711041" y="428522"/>
                  </a:lnTo>
                  <a:lnTo>
                    <a:pt x="877729" y="545680"/>
                  </a:lnTo>
                  <a:close/>
                  <a:moveTo>
                    <a:pt x="1151096" y="626642"/>
                  </a:moveTo>
                  <a:lnTo>
                    <a:pt x="1034891" y="738085"/>
                  </a:lnTo>
                  <a:lnTo>
                    <a:pt x="999649" y="699985"/>
                  </a:lnTo>
                  <a:cubicBezTo>
                    <a:pt x="994886" y="695222"/>
                    <a:pt x="987266" y="691412"/>
                    <a:pt x="980599" y="692365"/>
                  </a:cubicBezTo>
                  <a:lnTo>
                    <a:pt x="929164" y="693317"/>
                  </a:lnTo>
                  <a:lnTo>
                    <a:pt x="928211" y="532345"/>
                  </a:lnTo>
                  <a:lnTo>
                    <a:pt x="1107281" y="419950"/>
                  </a:lnTo>
                  <a:lnTo>
                    <a:pt x="1151096" y="626642"/>
                  </a:ln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87755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2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+mn-ea"/>
                <a:cs typeface="+mn-cs"/>
              </a:endParaRPr>
            </a:p>
          </p:txBody>
        </p:sp>
        <p:sp>
          <p:nvSpPr>
            <p:cNvPr id="23" name="Graphic 12">
              <a:extLst>
                <a:ext uri="{FF2B5EF4-FFF2-40B4-BE49-F238E27FC236}">
                  <a16:creationId xmlns:a16="http://schemas.microsoft.com/office/drawing/2014/main" id="{BBEB580E-80F1-42BE-9BB5-E1D388094737}"/>
                </a:ext>
              </a:extLst>
            </p:cNvPr>
            <p:cNvSpPr/>
            <p:nvPr userDrawn="1"/>
          </p:nvSpPr>
          <p:spPr>
            <a:xfrm rot="1218983">
              <a:off x="10429270" y="1335483"/>
              <a:ext cx="986671" cy="986671"/>
            </a:xfrm>
            <a:custGeom>
              <a:avLst/>
              <a:gdLst>
                <a:gd name="connsiteX0" fmla="*/ 1546384 w 1800225"/>
                <a:gd name="connsiteY0" fmla="*/ 280885 h 1800225"/>
                <a:gd name="connsiteX1" fmla="*/ 1511141 w 1800225"/>
                <a:gd name="connsiteY1" fmla="*/ 279932 h 1800225"/>
                <a:gd name="connsiteX2" fmla="*/ 1467326 w 1800225"/>
                <a:gd name="connsiteY2" fmla="*/ 320890 h 1800225"/>
                <a:gd name="connsiteX3" fmla="*/ 1457801 w 1800225"/>
                <a:gd name="connsiteY3" fmla="*/ 275170 h 1800225"/>
                <a:gd name="connsiteX4" fmla="*/ 1427321 w 1800225"/>
                <a:gd name="connsiteY4" fmla="*/ 256120 h 1800225"/>
                <a:gd name="connsiteX5" fmla="*/ 1423511 w 1800225"/>
                <a:gd name="connsiteY5" fmla="*/ 257072 h 1800225"/>
                <a:gd name="connsiteX6" fmla="*/ 1408271 w 1800225"/>
                <a:gd name="connsiteY6" fmla="*/ 285647 h 1800225"/>
                <a:gd name="connsiteX7" fmla="*/ 1424464 w 1800225"/>
                <a:gd name="connsiteY7" fmla="*/ 361847 h 1800225"/>
                <a:gd name="connsiteX8" fmla="*/ 1424464 w 1800225"/>
                <a:gd name="connsiteY8" fmla="*/ 361847 h 1800225"/>
                <a:gd name="connsiteX9" fmla="*/ 1378744 w 1800225"/>
                <a:gd name="connsiteY9" fmla="*/ 405662 h 1800225"/>
                <a:gd name="connsiteX10" fmla="*/ 1378744 w 1800225"/>
                <a:gd name="connsiteY10" fmla="*/ 405662 h 1800225"/>
                <a:gd name="connsiteX11" fmla="*/ 1356836 w 1800225"/>
                <a:gd name="connsiteY11" fmla="*/ 306602 h 1800225"/>
                <a:gd name="connsiteX12" fmla="*/ 1326356 w 1800225"/>
                <a:gd name="connsiteY12" fmla="*/ 287552 h 1800225"/>
                <a:gd name="connsiteX13" fmla="*/ 1322546 w 1800225"/>
                <a:gd name="connsiteY13" fmla="*/ 288505 h 1800225"/>
                <a:gd name="connsiteX14" fmla="*/ 1307306 w 1800225"/>
                <a:gd name="connsiteY14" fmla="*/ 317080 h 1800225"/>
                <a:gd name="connsiteX15" fmla="*/ 1335881 w 1800225"/>
                <a:gd name="connsiteY15" fmla="*/ 445667 h 1800225"/>
                <a:gd name="connsiteX16" fmla="*/ 1335881 w 1800225"/>
                <a:gd name="connsiteY16" fmla="*/ 445667 h 1800225"/>
                <a:gd name="connsiteX17" fmla="*/ 1291114 w 1800225"/>
                <a:gd name="connsiteY17" fmla="*/ 488530 h 1800225"/>
                <a:gd name="connsiteX18" fmla="*/ 1291114 w 1800225"/>
                <a:gd name="connsiteY18" fmla="*/ 488530 h 1800225"/>
                <a:gd name="connsiteX19" fmla="*/ 1261586 w 1800225"/>
                <a:gd name="connsiteY19" fmla="*/ 353275 h 1800225"/>
                <a:gd name="connsiteX20" fmla="*/ 1231106 w 1800225"/>
                <a:gd name="connsiteY20" fmla="*/ 334225 h 1800225"/>
                <a:gd name="connsiteX21" fmla="*/ 1227296 w 1800225"/>
                <a:gd name="connsiteY21" fmla="*/ 335177 h 1800225"/>
                <a:gd name="connsiteX22" fmla="*/ 1212056 w 1800225"/>
                <a:gd name="connsiteY22" fmla="*/ 363752 h 1800225"/>
                <a:gd name="connsiteX23" fmla="*/ 1248251 w 1800225"/>
                <a:gd name="connsiteY23" fmla="*/ 529487 h 1800225"/>
                <a:gd name="connsiteX24" fmla="*/ 1193959 w 1800225"/>
                <a:gd name="connsiteY24" fmla="*/ 581875 h 1800225"/>
                <a:gd name="connsiteX25" fmla="*/ 1150144 w 1800225"/>
                <a:gd name="connsiteY25" fmla="*/ 372325 h 1800225"/>
                <a:gd name="connsiteX26" fmla="*/ 1134904 w 1800225"/>
                <a:gd name="connsiteY26" fmla="*/ 354227 h 1800225"/>
                <a:gd name="connsiteX27" fmla="*/ 1111091 w 1800225"/>
                <a:gd name="connsiteY27" fmla="*/ 356132 h 1800225"/>
                <a:gd name="connsiteX28" fmla="*/ 929164 w 1800225"/>
                <a:gd name="connsiteY28" fmla="*/ 471385 h 1800225"/>
                <a:gd name="connsiteX29" fmla="*/ 928211 w 1800225"/>
                <a:gd name="connsiteY29" fmla="*/ 396137 h 1800225"/>
                <a:gd name="connsiteX30" fmla="*/ 1072991 w 1800225"/>
                <a:gd name="connsiteY30" fmla="*/ 307555 h 1800225"/>
                <a:gd name="connsiteX31" fmla="*/ 1081564 w 1800225"/>
                <a:gd name="connsiteY31" fmla="*/ 272312 h 1800225"/>
                <a:gd name="connsiteX32" fmla="*/ 1046321 w 1800225"/>
                <a:gd name="connsiteY32" fmla="*/ 263740 h 1800225"/>
                <a:gd name="connsiteX33" fmla="*/ 929164 w 1800225"/>
                <a:gd name="connsiteY33" fmla="*/ 336130 h 1800225"/>
                <a:gd name="connsiteX34" fmla="*/ 929164 w 1800225"/>
                <a:gd name="connsiteY34" fmla="*/ 273265 h 1800225"/>
                <a:gd name="connsiteX35" fmla="*/ 1041559 w 1800225"/>
                <a:gd name="connsiteY35" fmla="*/ 203732 h 1800225"/>
                <a:gd name="connsiteX36" fmla="*/ 1050131 w 1800225"/>
                <a:gd name="connsiteY36" fmla="*/ 168490 h 1800225"/>
                <a:gd name="connsiteX37" fmla="*/ 1014889 w 1800225"/>
                <a:gd name="connsiteY37" fmla="*/ 159917 h 1800225"/>
                <a:gd name="connsiteX38" fmla="*/ 929164 w 1800225"/>
                <a:gd name="connsiteY38" fmla="*/ 212305 h 1800225"/>
                <a:gd name="connsiteX39" fmla="*/ 929164 w 1800225"/>
                <a:gd name="connsiteY39" fmla="*/ 149440 h 1800225"/>
                <a:gd name="connsiteX40" fmla="*/ 929164 w 1800225"/>
                <a:gd name="connsiteY40" fmla="*/ 148487 h 1800225"/>
                <a:gd name="connsiteX41" fmla="*/ 994886 w 1800225"/>
                <a:gd name="connsiteY41" fmla="*/ 107530 h 1800225"/>
                <a:gd name="connsiteX42" fmla="*/ 1003459 w 1800225"/>
                <a:gd name="connsiteY42" fmla="*/ 72287 h 1800225"/>
                <a:gd name="connsiteX43" fmla="*/ 968216 w 1800225"/>
                <a:gd name="connsiteY43" fmla="*/ 63715 h 1800225"/>
                <a:gd name="connsiteX44" fmla="*/ 929164 w 1800225"/>
                <a:gd name="connsiteY44" fmla="*/ 88480 h 1800225"/>
                <a:gd name="connsiteX45" fmla="*/ 929164 w 1800225"/>
                <a:gd name="connsiteY45" fmla="*/ 88480 h 1800225"/>
                <a:gd name="connsiteX46" fmla="*/ 929164 w 1800225"/>
                <a:gd name="connsiteY46" fmla="*/ 28472 h 1800225"/>
                <a:gd name="connsiteX47" fmla="*/ 902494 w 1800225"/>
                <a:gd name="connsiteY47" fmla="*/ 7517 h 1800225"/>
                <a:gd name="connsiteX48" fmla="*/ 892969 w 1800225"/>
                <a:gd name="connsiteY48" fmla="*/ 9422 h 1800225"/>
                <a:gd name="connsiteX49" fmla="*/ 876776 w 1800225"/>
                <a:gd name="connsiteY49" fmla="*/ 32282 h 1800225"/>
                <a:gd name="connsiteX50" fmla="*/ 876776 w 1800225"/>
                <a:gd name="connsiteY50" fmla="*/ 82765 h 1800225"/>
                <a:gd name="connsiteX51" fmla="*/ 852011 w 1800225"/>
                <a:gd name="connsiteY51" fmla="*/ 66572 h 1800225"/>
                <a:gd name="connsiteX52" fmla="*/ 829151 w 1800225"/>
                <a:gd name="connsiteY52" fmla="*/ 64667 h 1800225"/>
                <a:gd name="connsiteX53" fmla="*/ 817721 w 1800225"/>
                <a:gd name="connsiteY53" fmla="*/ 74192 h 1800225"/>
                <a:gd name="connsiteX54" fmla="*/ 824389 w 1800225"/>
                <a:gd name="connsiteY54" fmla="*/ 109435 h 1800225"/>
                <a:gd name="connsiteX55" fmla="*/ 877729 w 1800225"/>
                <a:gd name="connsiteY55" fmla="*/ 144677 h 1800225"/>
                <a:gd name="connsiteX56" fmla="*/ 876776 w 1800225"/>
                <a:gd name="connsiteY56" fmla="*/ 206590 h 1800225"/>
                <a:gd name="connsiteX57" fmla="*/ 807244 w 1800225"/>
                <a:gd name="connsiteY57" fmla="*/ 159917 h 1800225"/>
                <a:gd name="connsiteX58" fmla="*/ 783431 w 1800225"/>
                <a:gd name="connsiteY58" fmla="*/ 157060 h 1800225"/>
                <a:gd name="connsiteX59" fmla="*/ 772001 w 1800225"/>
                <a:gd name="connsiteY59" fmla="*/ 166585 h 1800225"/>
                <a:gd name="connsiteX60" fmla="*/ 778669 w 1800225"/>
                <a:gd name="connsiteY60" fmla="*/ 201827 h 1800225"/>
                <a:gd name="connsiteX61" fmla="*/ 877729 w 1800225"/>
                <a:gd name="connsiteY61" fmla="*/ 268502 h 1800225"/>
                <a:gd name="connsiteX62" fmla="*/ 877729 w 1800225"/>
                <a:gd name="connsiteY62" fmla="*/ 268502 h 1800225"/>
                <a:gd name="connsiteX63" fmla="*/ 877729 w 1800225"/>
                <a:gd name="connsiteY63" fmla="*/ 343750 h 1800225"/>
                <a:gd name="connsiteX64" fmla="*/ 754856 w 1800225"/>
                <a:gd name="connsiteY64" fmla="*/ 260882 h 1800225"/>
                <a:gd name="connsiteX65" fmla="*/ 731044 w 1800225"/>
                <a:gd name="connsiteY65" fmla="*/ 258025 h 1800225"/>
                <a:gd name="connsiteX66" fmla="*/ 719614 w 1800225"/>
                <a:gd name="connsiteY66" fmla="*/ 267550 h 1800225"/>
                <a:gd name="connsiteX67" fmla="*/ 726281 w 1800225"/>
                <a:gd name="connsiteY67" fmla="*/ 302792 h 1800225"/>
                <a:gd name="connsiteX68" fmla="*/ 878681 w 1800225"/>
                <a:gd name="connsiteY68" fmla="*/ 404710 h 1800225"/>
                <a:gd name="connsiteX69" fmla="*/ 878681 w 1800225"/>
                <a:gd name="connsiteY69" fmla="*/ 483767 h 1800225"/>
                <a:gd name="connsiteX70" fmla="*/ 707231 w 1800225"/>
                <a:gd name="connsiteY70" fmla="*/ 363752 h 1800225"/>
                <a:gd name="connsiteX71" fmla="*/ 683419 w 1800225"/>
                <a:gd name="connsiteY71" fmla="*/ 361847 h 1800225"/>
                <a:gd name="connsiteX72" fmla="*/ 668179 w 1800225"/>
                <a:gd name="connsiteY72" fmla="*/ 379945 h 1800225"/>
                <a:gd name="connsiteX73" fmla="*/ 628174 w 1800225"/>
                <a:gd name="connsiteY73" fmla="*/ 584732 h 1800225"/>
                <a:gd name="connsiteX74" fmla="*/ 573881 w 1800225"/>
                <a:gd name="connsiteY74" fmla="*/ 528535 h 1800225"/>
                <a:gd name="connsiteX75" fmla="*/ 611981 w 1800225"/>
                <a:gd name="connsiteY75" fmla="*/ 349465 h 1800225"/>
                <a:gd name="connsiteX76" fmla="*/ 592931 w 1800225"/>
                <a:gd name="connsiteY76" fmla="*/ 318985 h 1800225"/>
                <a:gd name="connsiteX77" fmla="*/ 577691 w 1800225"/>
                <a:gd name="connsiteY77" fmla="*/ 319937 h 1800225"/>
                <a:gd name="connsiteX78" fmla="*/ 562451 w 1800225"/>
                <a:gd name="connsiteY78" fmla="*/ 338035 h 1800225"/>
                <a:gd name="connsiteX79" fmla="*/ 531019 w 1800225"/>
                <a:gd name="connsiteY79" fmla="*/ 482815 h 1800225"/>
                <a:gd name="connsiteX80" fmla="*/ 478631 w 1800225"/>
                <a:gd name="connsiteY80" fmla="*/ 428522 h 1800225"/>
                <a:gd name="connsiteX81" fmla="*/ 478631 w 1800225"/>
                <a:gd name="connsiteY81" fmla="*/ 428522 h 1800225"/>
                <a:gd name="connsiteX82" fmla="*/ 504349 w 1800225"/>
                <a:gd name="connsiteY82" fmla="*/ 312317 h 1800225"/>
                <a:gd name="connsiteX83" fmla="*/ 485299 w 1800225"/>
                <a:gd name="connsiteY83" fmla="*/ 281837 h 1800225"/>
                <a:gd name="connsiteX84" fmla="*/ 470059 w 1800225"/>
                <a:gd name="connsiteY84" fmla="*/ 282790 h 1800225"/>
                <a:gd name="connsiteX85" fmla="*/ 454819 w 1800225"/>
                <a:gd name="connsiteY85" fmla="*/ 300887 h 1800225"/>
                <a:gd name="connsiteX86" fmla="*/ 437674 w 1800225"/>
                <a:gd name="connsiteY86" fmla="*/ 382802 h 1800225"/>
                <a:gd name="connsiteX87" fmla="*/ 393859 w 1800225"/>
                <a:gd name="connsiteY87" fmla="*/ 338987 h 1800225"/>
                <a:gd name="connsiteX88" fmla="*/ 407194 w 1800225"/>
                <a:gd name="connsiteY88" fmla="*/ 276122 h 1800225"/>
                <a:gd name="connsiteX89" fmla="*/ 388144 w 1800225"/>
                <a:gd name="connsiteY89" fmla="*/ 245642 h 1800225"/>
                <a:gd name="connsiteX90" fmla="*/ 373856 w 1800225"/>
                <a:gd name="connsiteY90" fmla="*/ 246595 h 1800225"/>
                <a:gd name="connsiteX91" fmla="*/ 358616 w 1800225"/>
                <a:gd name="connsiteY91" fmla="*/ 264692 h 1800225"/>
                <a:gd name="connsiteX92" fmla="*/ 352901 w 1800225"/>
                <a:gd name="connsiteY92" fmla="*/ 293267 h 1800225"/>
                <a:gd name="connsiteX93" fmla="*/ 317659 w 1800225"/>
                <a:gd name="connsiteY93" fmla="*/ 257072 h 1800225"/>
                <a:gd name="connsiteX94" fmla="*/ 290036 w 1800225"/>
                <a:gd name="connsiteY94" fmla="*/ 251357 h 1800225"/>
                <a:gd name="connsiteX95" fmla="*/ 282416 w 1800225"/>
                <a:gd name="connsiteY95" fmla="*/ 257072 h 1800225"/>
                <a:gd name="connsiteX96" fmla="*/ 281464 w 1800225"/>
                <a:gd name="connsiteY96" fmla="*/ 292315 h 1800225"/>
                <a:gd name="connsiteX97" fmla="*/ 323374 w 1800225"/>
                <a:gd name="connsiteY97" fmla="*/ 335177 h 1800225"/>
                <a:gd name="connsiteX98" fmla="*/ 323374 w 1800225"/>
                <a:gd name="connsiteY98" fmla="*/ 335177 h 1800225"/>
                <a:gd name="connsiteX99" fmla="*/ 277654 w 1800225"/>
                <a:gd name="connsiteY99" fmla="*/ 344702 h 1800225"/>
                <a:gd name="connsiteX100" fmla="*/ 258604 w 1800225"/>
                <a:gd name="connsiteY100" fmla="*/ 375182 h 1800225"/>
                <a:gd name="connsiteX101" fmla="*/ 289084 w 1800225"/>
                <a:gd name="connsiteY101" fmla="*/ 394232 h 1800225"/>
                <a:gd name="connsiteX102" fmla="*/ 364331 w 1800225"/>
                <a:gd name="connsiteY102" fmla="*/ 378040 h 1800225"/>
                <a:gd name="connsiteX103" fmla="*/ 364331 w 1800225"/>
                <a:gd name="connsiteY103" fmla="*/ 378040 h 1800225"/>
                <a:gd name="connsiteX104" fmla="*/ 407194 w 1800225"/>
                <a:gd name="connsiteY104" fmla="*/ 423760 h 1800225"/>
                <a:gd name="connsiteX105" fmla="*/ 309086 w 1800225"/>
                <a:gd name="connsiteY105" fmla="*/ 444715 h 1800225"/>
                <a:gd name="connsiteX106" fmla="*/ 290036 w 1800225"/>
                <a:gd name="connsiteY106" fmla="*/ 475195 h 1800225"/>
                <a:gd name="connsiteX107" fmla="*/ 320516 w 1800225"/>
                <a:gd name="connsiteY107" fmla="*/ 494245 h 1800225"/>
                <a:gd name="connsiteX108" fmla="*/ 449104 w 1800225"/>
                <a:gd name="connsiteY108" fmla="*/ 465670 h 1800225"/>
                <a:gd name="connsiteX109" fmla="*/ 491966 w 1800225"/>
                <a:gd name="connsiteY109" fmla="*/ 511390 h 1800225"/>
                <a:gd name="connsiteX110" fmla="*/ 356711 w 1800225"/>
                <a:gd name="connsiteY110" fmla="*/ 540917 h 1800225"/>
                <a:gd name="connsiteX111" fmla="*/ 337661 w 1800225"/>
                <a:gd name="connsiteY111" fmla="*/ 571397 h 1800225"/>
                <a:gd name="connsiteX112" fmla="*/ 368141 w 1800225"/>
                <a:gd name="connsiteY112" fmla="*/ 590447 h 1800225"/>
                <a:gd name="connsiteX113" fmla="*/ 533876 w 1800225"/>
                <a:gd name="connsiteY113" fmla="*/ 554252 h 1800225"/>
                <a:gd name="connsiteX114" fmla="*/ 585311 w 1800225"/>
                <a:gd name="connsiteY114" fmla="*/ 608545 h 1800225"/>
                <a:gd name="connsiteX115" fmla="*/ 371951 w 1800225"/>
                <a:gd name="connsiteY115" fmla="*/ 655217 h 1800225"/>
                <a:gd name="connsiteX116" fmla="*/ 353854 w 1800225"/>
                <a:gd name="connsiteY116" fmla="*/ 670457 h 1800225"/>
                <a:gd name="connsiteX117" fmla="*/ 355759 w 1800225"/>
                <a:gd name="connsiteY117" fmla="*/ 693317 h 1800225"/>
                <a:gd name="connsiteX118" fmla="*/ 471964 w 1800225"/>
                <a:gd name="connsiteY118" fmla="*/ 876197 h 1800225"/>
                <a:gd name="connsiteX119" fmla="*/ 395764 w 1800225"/>
                <a:gd name="connsiteY119" fmla="*/ 876197 h 1800225"/>
                <a:gd name="connsiteX120" fmla="*/ 307181 w 1800225"/>
                <a:gd name="connsiteY120" fmla="*/ 731417 h 1800225"/>
                <a:gd name="connsiteX121" fmla="*/ 275749 w 1800225"/>
                <a:gd name="connsiteY121" fmla="*/ 720940 h 1800225"/>
                <a:gd name="connsiteX122" fmla="*/ 271939 w 1800225"/>
                <a:gd name="connsiteY122" fmla="*/ 722845 h 1800225"/>
                <a:gd name="connsiteX123" fmla="*/ 263366 w 1800225"/>
                <a:gd name="connsiteY123" fmla="*/ 758087 h 1800225"/>
                <a:gd name="connsiteX124" fmla="*/ 335756 w 1800225"/>
                <a:gd name="connsiteY124" fmla="*/ 876197 h 1800225"/>
                <a:gd name="connsiteX125" fmla="*/ 335756 w 1800225"/>
                <a:gd name="connsiteY125" fmla="*/ 876197 h 1800225"/>
                <a:gd name="connsiteX126" fmla="*/ 273844 w 1800225"/>
                <a:gd name="connsiteY126" fmla="*/ 876197 h 1800225"/>
                <a:gd name="connsiteX127" fmla="*/ 272891 w 1800225"/>
                <a:gd name="connsiteY127" fmla="*/ 876197 h 1800225"/>
                <a:gd name="connsiteX128" fmla="*/ 203359 w 1800225"/>
                <a:gd name="connsiteY128" fmla="*/ 763802 h 1800225"/>
                <a:gd name="connsiteX129" fmla="*/ 171926 w 1800225"/>
                <a:gd name="connsiteY129" fmla="*/ 753325 h 1800225"/>
                <a:gd name="connsiteX130" fmla="*/ 168116 w 1800225"/>
                <a:gd name="connsiteY130" fmla="*/ 755230 h 1800225"/>
                <a:gd name="connsiteX131" fmla="*/ 159544 w 1800225"/>
                <a:gd name="connsiteY131" fmla="*/ 790472 h 1800225"/>
                <a:gd name="connsiteX132" fmla="*/ 212884 w 1800225"/>
                <a:gd name="connsiteY132" fmla="*/ 876197 h 1800225"/>
                <a:gd name="connsiteX133" fmla="*/ 212884 w 1800225"/>
                <a:gd name="connsiteY133" fmla="*/ 876197 h 1800225"/>
                <a:gd name="connsiteX134" fmla="*/ 150019 w 1800225"/>
                <a:gd name="connsiteY134" fmla="*/ 876197 h 1800225"/>
                <a:gd name="connsiteX135" fmla="*/ 150019 w 1800225"/>
                <a:gd name="connsiteY135" fmla="*/ 876197 h 1800225"/>
                <a:gd name="connsiteX136" fmla="*/ 109061 w 1800225"/>
                <a:gd name="connsiteY136" fmla="*/ 809522 h 1800225"/>
                <a:gd name="connsiteX137" fmla="*/ 77629 w 1800225"/>
                <a:gd name="connsiteY137" fmla="*/ 799045 h 1800225"/>
                <a:gd name="connsiteX138" fmla="*/ 73819 w 1800225"/>
                <a:gd name="connsiteY138" fmla="*/ 800950 h 1800225"/>
                <a:gd name="connsiteX139" fmla="*/ 65246 w 1800225"/>
                <a:gd name="connsiteY139" fmla="*/ 836192 h 1800225"/>
                <a:gd name="connsiteX140" fmla="*/ 90011 w 1800225"/>
                <a:gd name="connsiteY140" fmla="*/ 876197 h 1800225"/>
                <a:gd name="connsiteX141" fmla="*/ 30004 w 1800225"/>
                <a:gd name="connsiteY141" fmla="*/ 877150 h 1800225"/>
                <a:gd name="connsiteX142" fmla="*/ 7144 w 1800225"/>
                <a:gd name="connsiteY142" fmla="*/ 902867 h 1800225"/>
                <a:gd name="connsiteX143" fmla="*/ 32861 w 1800225"/>
                <a:gd name="connsiteY143" fmla="*/ 927632 h 1800225"/>
                <a:gd name="connsiteX144" fmla="*/ 82391 w 1800225"/>
                <a:gd name="connsiteY144" fmla="*/ 926680 h 1800225"/>
                <a:gd name="connsiteX145" fmla="*/ 83344 w 1800225"/>
                <a:gd name="connsiteY145" fmla="*/ 926680 h 1800225"/>
                <a:gd name="connsiteX146" fmla="*/ 67151 w 1800225"/>
                <a:gd name="connsiteY146" fmla="*/ 951445 h 1800225"/>
                <a:gd name="connsiteX147" fmla="*/ 73819 w 1800225"/>
                <a:gd name="connsiteY147" fmla="*/ 986687 h 1800225"/>
                <a:gd name="connsiteX148" fmla="*/ 109061 w 1800225"/>
                <a:gd name="connsiteY148" fmla="*/ 980020 h 1800225"/>
                <a:gd name="connsiteX149" fmla="*/ 144304 w 1800225"/>
                <a:gd name="connsiteY149" fmla="*/ 927632 h 1800225"/>
                <a:gd name="connsiteX150" fmla="*/ 207169 w 1800225"/>
                <a:gd name="connsiteY150" fmla="*/ 927632 h 1800225"/>
                <a:gd name="connsiteX151" fmla="*/ 207169 w 1800225"/>
                <a:gd name="connsiteY151" fmla="*/ 927632 h 1800225"/>
                <a:gd name="connsiteX152" fmla="*/ 159544 w 1800225"/>
                <a:gd name="connsiteY152" fmla="*/ 998117 h 1800225"/>
                <a:gd name="connsiteX153" fmla="*/ 166211 w 1800225"/>
                <a:gd name="connsiteY153" fmla="*/ 1033360 h 1800225"/>
                <a:gd name="connsiteX154" fmla="*/ 201454 w 1800225"/>
                <a:gd name="connsiteY154" fmla="*/ 1026692 h 1800225"/>
                <a:gd name="connsiteX155" fmla="*/ 268129 w 1800225"/>
                <a:gd name="connsiteY155" fmla="*/ 927632 h 1800225"/>
                <a:gd name="connsiteX156" fmla="*/ 342424 w 1800225"/>
                <a:gd name="connsiteY156" fmla="*/ 928585 h 1800225"/>
                <a:gd name="connsiteX157" fmla="*/ 260509 w 1800225"/>
                <a:gd name="connsiteY157" fmla="*/ 1051457 h 1800225"/>
                <a:gd name="connsiteX158" fmla="*/ 267176 w 1800225"/>
                <a:gd name="connsiteY158" fmla="*/ 1086700 h 1800225"/>
                <a:gd name="connsiteX159" fmla="*/ 302419 w 1800225"/>
                <a:gd name="connsiteY159" fmla="*/ 1080032 h 1800225"/>
                <a:gd name="connsiteX160" fmla="*/ 404336 w 1800225"/>
                <a:gd name="connsiteY160" fmla="*/ 928585 h 1800225"/>
                <a:gd name="connsiteX161" fmla="*/ 483394 w 1800225"/>
                <a:gd name="connsiteY161" fmla="*/ 928585 h 1800225"/>
                <a:gd name="connsiteX162" fmla="*/ 362426 w 1800225"/>
                <a:gd name="connsiteY162" fmla="*/ 1100035 h 1800225"/>
                <a:gd name="connsiteX163" fmla="*/ 360521 w 1800225"/>
                <a:gd name="connsiteY163" fmla="*/ 1123847 h 1800225"/>
                <a:gd name="connsiteX164" fmla="*/ 378619 w 1800225"/>
                <a:gd name="connsiteY164" fmla="*/ 1139088 h 1800225"/>
                <a:gd name="connsiteX165" fmla="*/ 584359 w 1800225"/>
                <a:gd name="connsiteY165" fmla="*/ 1177188 h 1800225"/>
                <a:gd name="connsiteX166" fmla="*/ 528161 w 1800225"/>
                <a:gd name="connsiteY166" fmla="*/ 1232433 h 1800225"/>
                <a:gd name="connsiteX167" fmla="*/ 349091 w 1800225"/>
                <a:gd name="connsiteY167" fmla="*/ 1193380 h 1800225"/>
                <a:gd name="connsiteX168" fmla="*/ 334804 w 1800225"/>
                <a:gd name="connsiteY168" fmla="*/ 1194332 h 1800225"/>
                <a:gd name="connsiteX169" fmla="*/ 319564 w 1800225"/>
                <a:gd name="connsiteY169" fmla="*/ 1212430 h 1800225"/>
                <a:gd name="connsiteX170" fmla="*/ 338614 w 1800225"/>
                <a:gd name="connsiteY170" fmla="*/ 1242910 h 1800225"/>
                <a:gd name="connsiteX171" fmla="*/ 483394 w 1800225"/>
                <a:gd name="connsiteY171" fmla="*/ 1274342 h 1800225"/>
                <a:gd name="connsiteX172" fmla="*/ 483394 w 1800225"/>
                <a:gd name="connsiteY172" fmla="*/ 1274342 h 1800225"/>
                <a:gd name="connsiteX173" fmla="*/ 429101 w 1800225"/>
                <a:gd name="connsiteY173" fmla="*/ 1326730 h 1800225"/>
                <a:gd name="connsiteX174" fmla="*/ 311944 w 1800225"/>
                <a:gd name="connsiteY174" fmla="*/ 1300060 h 1800225"/>
                <a:gd name="connsiteX175" fmla="*/ 296704 w 1800225"/>
                <a:gd name="connsiteY175" fmla="*/ 1301013 h 1800225"/>
                <a:gd name="connsiteX176" fmla="*/ 281464 w 1800225"/>
                <a:gd name="connsiteY176" fmla="*/ 1319110 h 1800225"/>
                <a:gd name="connsiteX177" fmla="*/ 300514 w 1800225"/>
                <a:gd name="connsiteY177" fmla="*/ 1349590 h 1800225"/>
                <a:gd name="connsiteX178" fmla="*/ 383381 w 1800225"/>
                <a:gd name="connsiteY178" fmla="*/ 1367688 h 1800225"/>
                <a:gd name="connsiteX179" fmla="*/ 337661 w 1800225"/>
                <a:gd name="connsiteY179" fmla="*/ 1411502 h 1800225"/>
                <a:gd name="connsiteX180" fmla="*/ 337661 w 1800225"/>
                <a:gd name="connsiteY180" fmla="*/ 1411502 h 1800225"/>
                <a:gd name="connsiteX181" fmla="*/ 275749 w 1800225"/>
                <a:gd name="connsiteY181" fmla="*/ 1398167 h 1800225"/>
                <a:gd name="connsiteX182" fmla="*/ 261461 w 1800225"/>
                <a:gd name="connsiteY182" fmla="*/ 1399120 h 1800225"/>
                <a:gd name="connsiteX183" fmla="*/ 246221 w 1800225"/>
                <a:gd name="connsiteY183" fmla="*/ 1417217 h 1800225"/>
                <a:gd name="connsiteX184" fmla="*/ 265271 w 1800225"/>
                <a:gd name="connsiteY184" fmla="*/ 1447697 h 1800225"/>
                <a:gd name="connsiteX185" fmla="*/ 293846 w 1800225"/>
                <a:gd name="connsiteY185" fmla="*/ 1454365 h 1800225"/>
                <a:gd name="connsiteX186" fmla="*/ 293846 w 1800225"/>
                <a:gd name="connsiteY186" fmla="*/ 1454365 h 1800225"/>
                <a:gd name="connsiteX187" fmla="*/ 257651 w 1800225"/>
                <a:gd name="connsiteY187" fmla="*/ 1488655 h 1800225"/>
                <a:gd name="connsiteX188" fmla="*/ 256699 w 1800225"/>
                <a:gd name="connsiteY188" fmla="*/ 1524850 h 1800225"/>
                <a:gd name="connsiteX189" fmla="*/ 291941 w 1800225"/>
                <a:gd name="connsiteY189" fmla="*/ 1525802 h 1800225"/>
                <a:gd name="connsiteX190" fmla="*/ 334804 w 1800225"/>
                <a:gd name="connsiteY190" fmla="*/ 1483892 h 1800225"/>
                <a:gd name="connsiteX191" fmla="*/ 334804 w 1800225"/>
                <a:gd name="connsiteY191" fmla="*/ 1483892 h 1800225"/>
                <a:gd name="connsiteX192" fmla="*/ 344329 w 1800225"/>
                <a:gd name="connsiteY192" fmla="*/ 1528660 h 1800225"/>
                <a:gd name="connsiteX193" fmla="*/ 374809 w 1800225"/>
                <a:gd name="connsiteY193" fmla="*/ 1547710 h 1800225"/>
                <a:gd name="connsiteX194" fmla="*/ 393859 w 1800225"/>
                <a:gd name="connsiteY194" fmla="*/ 1517230 h 1800225"/>
                <a:gd name="connsiteX195" fmla="*/ 377666 w 1800225"/>
                <a:gd name="connsiteY195" fmla="*/ 1441983 h 1800225"/>
                <a:gd name="connsiteX196" fmla="*/ 377666 w 1800225"/>
                <a:gd name="connsiteY196" fmla="*/ 1441983 h 1800225"/>
                <a:gd name="connsiteX197" fmla="*/ 423386 w 1800225"/>
                <a:gd name="connsiteY197" fmla="*/ 1398167 h 1800225"/>
                <a:gd name="connsiteX198" fmla="*/ 444341 w 1800225"/>
                <a:gd name="connsiteY198" fmla="*/ 1496275 h 1800225"/>
                <a:gd name="connsiteX199" fmla="*/ 474821 w 1800225"/>
                <a:gd name="connsiteY199" fmla="*/ 1515325 h 1800225"/>
                <a:gd name="connsiteX200" fmla="*/ 493871 w 1800225"/>
                <a:gd name="connsiteY200" fmla="*/ 1484845 h 1800225"/>
                <a:gd name="connsiteX201" fmla="*/ 466249 w 1800225"/>
                <a:gd name="connsiteY201" fmla="*/ 1356258 h 1800225"/>
                <a:gd name="connsiteX202" fmla="*/ 467201 w 1800225"/>
                <a:gd name="connsiteY202" fmla="*/ 1356258 h 1800225"/>
                <a:gd name="connsiteX203" fmla="*/ 511969 w 1800225"/>
                <a:gd name="connsiteY203" fmla="*/ 1313395 h 1800225"/>
                <a:gd name="connsiteX204" fmla="*/ 541496 w 1800225"/>
                <a:gd name="connsiteY204" fmla="*/ 1447697 h 1800225"/>
                <a:gd name="connsiteX205" fmla="*/ 571976 w 1800225"/>
                <a:gd name="connsiteY205" fmla="*/ 1466747 h 1800225"/>
                <a:gd name="connsiteX206" fmla="*/ 591026 w 1800225"/>
                <a:gd name="connsiteY206" fmla="*/ 1436267 h 1800225"/>
                <a:gd name="connsiteX207" fmla="*/ 554831 w 1800225"/>
                <a:gd name="connsiteY207" fmla="*/ 1270533 h 1800225"/>
                <a:gd name="connsiteX208" fmla="*/ 608171 w 1800225"/>
                <a:gd name="connsiteY208" fmla="*/ 1218145 h 1800225"/>
                <a:gd name="connsiteX209" fmla="*/ 651986 w 1800225"/>
                <a:gd name="connsiteY209" fmla="*/ 1429600 h 1800225"/>
                <a:gd name="connsiteX210" fmla="*/ 667226 w 1800225"/>
                <a:gd name="connsiteY210" fmla="*/ 1447697 h 1800225"/>
                <a:gd name="connsiteX211" fmla="*/ 691039 w 1800225"/>
                <a:gd name="connsiteY211" fmla="*/ 1445792 h 1800225"/>
                <a:gd name="connsiteX212" fmla="*/ 874871 w 1800225"/>
                <a:gd name="connsiteY212" fmla="*/ 1330540 h 1800225"/>
                <a:gd name="connsiteX213" fmla="*/ 874871 w 1800225"/>
                <a:gd name="connsiteY213" fmla="*/ 1405788 h 1800225"/>
                <a:gd name="connsiteX214" fmla="*/ 874871 w 1800225"/>
                <a:gd name="connsiteY214" fmla="*/ 1405788 h 1800225"/>
                <a:gd name="connsiteX215" fmla="*/ 731044 w 1800225"/>
                <a:gd name="connsiteY215" fmla="*/ 1497227 h 1800225"/>
                <a:gd name="connsiteX216" fmla="*/ 722471 w 1800225"/>
                <a:gd name="connsiteY216" fmla="*/ 1532470 h 1800225"/>
                <a:gd name="connsiteX217" fmla="*/ 757714 w 1800225"/>
                <a:gd name="connsiteY217" fmla="*/ 1541042 h 1800225"/>
                <a:gd name="connsiteX218" fmla="*/ 875824 w 1800225"/>
                <a:gd name="connsiteY218" fmla="*/ 1468652 h 1800225"/>
                <a:gd name="connsiteX219" fmla="*/ 875824 w 1800225"/>
                <a:gd name="connsiteY219" fmla="*/ 1468652 h 1800225"/>
                <a:gd name="connsiteX220" fmla="*/ 875824 w 1800225"/>
                <a:gd name="connsiteY220" fmla="*/ 1530565 h 1800225"/>
                <a:gd name="connsiteX221" fmla="*/ 875824 w 1800225"/>
                <a:gd name="connsiteY221" fmla="*/ 1530565 h 1800225"/>
                <a:gd name="connsiteX222" fmla="*/ 763429 w 1800225"/>
                <a:gd name="connsiteY222" fmla="*/ 1600097 h 1800225"/>
                <a:gd name="connsiteX223" fmla="*/ 754856 w 1800225"/>
                <a:gd name="connsiteY223" fmla="*/ 1635340 h 1800225"/>
                <a:gd name="connsiteX224" fmla="*/ 790099 w 1800225"/>
                <a:gd name="connsiteY224" fmla="*/ 1643913 h 1800225"/>
                <a:gd name="connsiteX225" fmla="*/ 875824 w 1800225"/>
                <a:gd name="connsiteY225" fmla="*/ 1590572 h 1800225"/>
                <a:gd name="connsiteX226" fmla="*/ 875824 w 1800225"/>
                <a:gd name="connsiteY226" fmla="*/ 1591525 h 1800225"/>
                <a:gd name="connsiteX227" fmla="*/ 875824 w 1800225"/>
                <a:gd name="connsiteY227" fmla="*/ 1654390 h 1800225"/>
                <a:gd name="connsiteX228" fmla="*/ 809149 w 1800225"/>
                <a:gd name="connsiteY228" fmla="*/ 1695347 h 1800225"/>
                <a:gd name="connsiteX229" fmla="*/ 800576 w 1800225"/>
                <a:gd name="connsiteY229" fmla="*/ 1730590 h 1800225"/>
                <a:gd name="connsiteX230" fmla="*/ 835819 w 1800225"/>
                <a:gd name="connsiteY230" fmla="*/ 1739163 h 1800225"/>
                <a:gd name="connsiteX231" fmla="*/ 875824 w 1800225"/>
                <a:gd name="connsiteY231" fmla="*/ 1714397 h 1800225"/>
                <a:gd name="connsiteX232" fmla="*/ 875824 w 1800225"/>
                <a:gd name="connsiteY232" fmla="*/ 1715350 h 1800225"/>
                <a:gd name="connsiteX233" fmla="*/ 875824 w 1800225"/>
                <a:gd name="connsiteY233" fmla="*/ 1774405 h 1800225"/>
                <a:gd name="connsiteX234" fmla="*/ 901541 w 1800225"/>
                <a:gd name="connsiteY234" fmla="*/ 1800122 h 1800225"/>
                <a:gd name="connsiteX235" fmla="*/ 926306 w 1800225"/>
                <a:gd name="connsiteY235" fmla="*/ 1774405 h 1800225"/>
                <a:gd name="connsiteX236" fmla="*/ 927259 w 1800225"/>
                <a:gd name="connsiteY236" fmla="*/ 1723922 h 1800225"/>
                <a:gd name="connsiteX237" fmla="*/ 927259 w 1800225"/>
                <a:gd name="connsiteY237" fmla="*/ 1723922 h 1800225"/>
                <a:gd name="connsiteX238" fmla="*/ 951071 w 1800225"/>
                <a:gd name="connsiteY238" fmla="*/ 1740115 h 1800225"/>
                <a:gd name="connsiteX239" fmla="*/ 986314 w 1800225"/>
                <a:gd name="connsiteY239" fmla="*/ 1733447 h 1800225"/>
                <a:gd name="connsiteX240" fmla="*/ 979646 w 1800225"/>
                <a:gd name="connsiteY240" fmla="*/ 1698205 h 1800225"/>
                <a:gd name="connsiteX241" fmla="*/ 926306 w 1800225"/>
                <a:gd name="connsiteY241" fmla="*/ 1662010 h 1800225"/>
                <a:gd name="connsiteX242" fmla="*/ 926306 w 1800225"/>
                <a:gd name="connsiteY242" fmla="*/ 1662010 h 1800225"/>
                <a:gd name="connsiteX243" fmla="*/ 926306 w 1800225"/>
                <a:gd name="connsiteY243" fmla="*/ 1600097 h 1800225"/>
                <a:gd name="connsiteX244" fmla="*/ 926306 w 1800225"/>
                <a:gd name="connsiteY244" fmla="*/ 1599145 h 1800225"/>
                <a:gd name="connsiteX245" fmla="*/ 926306 w 1800225"/>
                <a:gd name="connsiteY245" fmla="*/ 1599145 h 1800225"/>
                <a:gd name="connsiteX246" fmla="*/ 997744 w 1800225"/>
                <a:gd name="connsiteY246" fmla="*/ 1646770 h 1800225"/>
                <a:gd name="connsiteX247" fmla="*/ 1032986 w 1800225"/>
                <a:gd name="connsiteY247" fmla="*/ 1640102 h 1800225"/>
                <a:gd name="connsiteX248" fmla="*/ 1026319 w 1800225"/>
                <a:gd name="connsiteY248" fmla="*/ 1604860 h 1800225"/>
                <a:gd name="connsiteX249" fmla="*/ 927259 w 1800225"/>
                <a:gd name="connsiteY249" fmla="*/ 1538185 h 1800225"/>
                <a:gd name="connsiteX250" fmla="*/ 927259 w 1800225"/>
                <a:gd name="connsiteY250" fmla="*/ 1538185 h 1800225"/>
                <a:gd name="connsiteX251" fmla="*/ 928211 w 1800225"/>
                <a:gd name="connsiteY251" fmla="*/ 1463890 h 1800225"/>
                <a:gd name="connsiteX252" fmla="*/ 928211 w 1800225"/>
                <a:gd name="connsiteY252" fmla="*/ 1463890 h 1800225"/>
                <a:gd name="connsiteX253" fmla="*/ 1051084 w 1800225"/>
                <a:gd name="connsiteY253" fmla="*/ 1546758 h 1800225"/>
                <a:gd name="connsiteX254" fmla="*/ 1086326 w 1800225"/>
                <a:gd name="connsiteY254" fmla="*/ 1540090 h 1800225"/>
                <a:gd name="connsiteX255" fmla="*/ 1079659 w 1800225"/>
                <a:gd name="connsiteY255" fmla="*/ 1504847 h 1800225"/>
                <a:gd name="connsiteX256" fmla="*/ 927259 w 1800225"/>
                <a:gd name="connsiteY256" fmla="*/ 1402930 h 1800225"/>
                <a:gd name="connsiteX257" fmla="*/ 927259 w 1800225"/>
                <a:gd name="connsiteY257" fmla="*/ 1402930 h 1800225"/>
                <a:gd name="connsiteX258" fmla="*/ 927259 w 1800225"/>
                <a:gd name="connsiteY258" fmla="*/ 1323872 h 1800225"/>
                <a:gd name="connsiteX259" fmla="*/ 1097756 w 1800225"/>
                <a:gd name="connsiteY259" fmla="*/ 1443888 h 1800225"/>
                <a:gd name="connsiteX260" fmla="*/ 1136809 w 1800225"/>
                <a:gd name="connsiteY260" fmla="*/ 1427695 h 1800225"/>
                <a:gd name="connsiteX261" fmla="*/ 1176814 w 1800225"/>
                <a:gd name="connsiteY261" fmla="*/ 1222907 h 1800225"/>
                <a:gd name="connsiteX262" fmla="*/ 1231106 w 1800225"/>
                <a:gd name="connsiteY262" fmla="*/ 1279105 h 1800225"/>
                <a:gd name="connsiteX263" fmla="*/ 1231106 w 1800225"/>
                <a:gd name="connsiteY263" fmla="*/ 1279105 h 1800225"/>
                <a:gd name="connsiteX264" fmla="*/ 1192054 w 1800225"/>
                <a:gd name="connsiteY264" fmla="*/ 1458175 h 1800225"/>
                <a:gd name="connsiteX265" fmla="*/ 1211104 w 1800225"/>
                <a:gd name="connsiteY265" fmla="*/ 1487702 h 1800225"/>
                <a:gd name="connsiteX266" fmla="*/ 1241584 w 1800225"/>
                <a:gd name="connsiteY266" fmla="*/ 1468652 h 1800225"/>
                <a:gd name="connsiteX267" fmla="*/ 1273016 w 1800225"/>
                <a:gd name="connsiteY267" fmla="*/ 1323872 h 1800225"/>
                <a:gd name="connsiteX268" fmla="*/ 1273016 w 1800225"/>
                <a:gd name="connsiteY268" fmla="*/ 1323872 h 1800225"/>
                <a:gd name="connsiteX269" fmla="*/ 1325404 w 1800225"/>
                <a:gd name="connsiteY269" fmla="*/ 1377213 h 1800225"/>
                <a:gd name="connsiteX270" fmla="*/ 1325404 w 1800225"/>
                <a:gd name="connsiteY270" fmla="*/ 1377213 h 1800225"/>
                <a:gd name="connsiteX271" fmla="*/ 1300639 w 1800225"/>
                <a:gd name="connsiteY271" fmla="*/ 1494370 h 1800225"/>
                <a:gd name="connsiteX272" fmla="*/ 1319689 w 1800225"/>
                <a:gd name="connsiteY272" fmla="*/ 1524850 h 1800225"/>
                <a:gd name="connsiteX273" fmla="*/ 1350169 w 1800225"/>
                <a:gd name="connsiteY273" fmla="*/ 1505800 h 1800225"/>
                <a:gd name="connsiteX274" fmla="*/ 1368266 w 1800225"/>
                <a:gd name="connsiteY274" fmla="*/ 1421980 h 1800225"/>
                <a:gd name="connsiteX275" fmla="*/ 1368266 w 1800225"/>
                <a:gd name="connsiteY275" fmla="*/ 1421980 h 1800225"/>
                <a:gd name="connsiteX276" fmla="*/ 1368266 w 1800225"/>
                <a:gd name="connsiteY276" fmla="*/ 1422933 h 1800225"/>
                <a:gd name="connsiteX277" fmla="*/ 1411129 w 1800225"/>
                <a:gd name="connsiteY277" fmla="*/ 1467700 h 1800225"/>
                <a:gd name="connsiteX278" fmla="*/ 1411129 w 1800225"/>
                <a:gd name="connsiteY278" fmla="*/ 1467700 h 1800225"/>
                <a:gd name="connsiteX279" fmla="*/ 1397794 w 1800225"/>
                <a:gd name="connsiteY279" fmla="*/ 1530565 h 1800225"/>
                <a:gd name="connsiteX280" fmla="*/ 1416844 w 1800225"/>
                <a:gd name="connsiteY280" fmla="*/ 1561045 h 1800225"/>
                <a:gd name="connsiteX281" fmla="*/ 1447324 w 1800225"/>
                <a:gd name="connsiteY281" fmla="*/ 1541995 h 1800225"/>
                <a:gd name="connsiteX282" fmla="*/ 1453039 w 1800225"/>
                <a:gd name="connsiteY282" fmla="*/ 1513420 h 1800225"/>
                <a:gd name="connsiteX283" fmla="*/ 1453039 w 1800225"/>
                <a:gd name="connsiteY283" fmla="*/ 1513420 h 1800225"/>
                <a:gd name="connsiteX284" fmla="*/ 1488281 w 1800225"/>
                <a:gd name="connsiteY284" fmla="*/ 1549615 h 1800225"/>
                <a:gd name="connsiteX285" fmla="*/ 1523524 w 1800225"/>
                <a:gd name="connsiteY285" fmla="*/ 1550567 h 1800225"/>
                <a:gd name="connsiteX286" fmla="*/ 1524476 w 1800225"/>
                <a:gd name="connsiteY286" fmla="*/ 1514372 h 1800225"/>
                <a:gd name="connsiteX287" fmla="*/ 1483519 w 1800225"/>
                <a:gd name="connsiteY287" fmla="*/ 1472463 h 1800225"/>
                <a:gd name="connsiteX288" fmla="*/ 1482566 w 1800225"/>
                <a:gd name="connsiteY288" fmla="*/ 1471510 h 1800225"/>
                <a:gd name="connsiteX289" fmla="*/ 1528286 w 1800225"/>
                <a:gd name="connsiteY289" fmla="*/ 1461985 h 1800225"/>
                <a:gd name="connsiteX290" fmla="*/ 1547336 w 1800225"/>
                <a:gd name="connsiteY290" fmla="*/ 1431505 h 1800225"/>
                <a:gd name="connsiteX291" fmla="*/ 1516856 w 1800225"/>
                <a:gd name="connsiteY291" fmla="*/ 1412455 h 1800225"/>
                <a:gd name="connsiteX292" fmla="*/ 1440656 w 1800225"/>
                <a:gd name="connsiteY292" fmla="*/ 1428647 h 1800225"/>
                <a:gd name="connsiteX293" fmla="*/ 1397794 w 1800225"/>
                <a:gd name="connsiteY293" fmla="*/ 1379117 h 1800225"/>
                <a:gd name="connsiteX294" fmla="*/ 1397794 w 1800225"/>
                <a:gd name="connsiteY294" fmla="*/ 1379117 h 1800225"/>
                <a:gd name="connsiteX295" fmla="*/ 1495901 w 1800225"/>
                <a:gd name="connsiteY295" fmla="*/ 1358163 h 1800225"/>
                <a:gd name="connsiteX296" fmla="*/ 1514951 w 1800225"/>
                <a:gd name="connsiteY296" fmla="*/ 1327683 h 1800225"/>
                <a:gd name="connsiteX297" fmla="*/ 1484471 w 1800225"/>
                <a:gd name="connsiteY297" fmla="*/ 1308633 h 1800225"/>
                <a:gd name="connsiteX298" fmla="*/ 1355884 w 1800225"/>
                <a:gd name="connsiteY298" fmla="*/ 1336255 h 1800225"/>
                <a:gd name="connsiteX299" fmla="*/ 1355884 w 1800225"/>
                <a:gd name="connsiteY299" fmla="*/ 1336255 h 1800225"/>
                <a:gd name="connsiteX300" fmla="*/ 1313021 w 1800225"/>
                <a:gd name="connsiteY300" fmla="*/ 1291488 h 1800225"/>
                <a:gd name="connsiteX301" fmla="*/ 1313021 w 1800225"/>
                <a:gd name="connsiteY301" fmla="*/ 1291488 h 1800225"/>
                <a:gd name="connsiteX302" fmla="*/ 1448276 w 1800225"/>
                <a:gd name="connsiteY302" fmla="*/ 1261960 h 1800225"/>
                <a:gd name="connsiteX303" fmla="*/ 1467326 w 1800225"/>
                <a:gd name="connsiteY303" fmla="*/ 1231480 h 1800225"/>
                <a:gd name="connsiteX304" fmla="*/ 1436846 w 1800225"/>
                <a:gd name="connsiteY304" fmla="*/ 1212430 h 1800225"/>
                <a:gd name="connsiteX305" fmla="*/ 1271111 w 1800225"/>
                <a:gd name="connsiteY305" fmla="*/ 1248625 h 1800225"/>
                <a:gd name="connsiteX306" fmla="*/ 1271111 w 1800225"/>
                <a:gd name="connsiteY306" fmla="*/ 1248625 h 1800225"/>
                <a:gd name="connsiteX307" fmla="*/ 1218724 w 1800225"/>
                <a:gd name="connsiteY307" fmla="*/ 1194332 h 1800225"/>
                <a:gd name="connsiteX308" fmla="*/ 1431131 w 1800225"/>
                <a:gd name="connsiteY308" fmla="*/ 1150517 h 1800225"/>
                <a:gd name="connsiteX309" fmla="*/ 1449229 w 1800225"/>
                <a:gd name="connsiteY309" fmla="*/ 1135277 h 1800225"/>
                <a:gd name="connsiteX310" fmla="*/ 1447324 w 1800225"/>
                <a:gd name="connsiteY310" fmla="*/ 1112417 h 1800225"/>
                <a:gd name="connsiteX311" fmla="*/ 1332071 w 1800225"/>
                <a:gd name="connsiteY311" fmla="*/ 929537 h 1800225"/>
                <a:gd name="connsiteX312" fmla="*/ 1407319 w 1800225"/>
                <a:gd name="connsiteY312" fmla="*/ 929537 h 1800225"/>
                <a:gd name="connsiteX313" fmla="*/ 1495901 w 1800225"/>
                <a:gd name="connsiteY313" fmla="*/ 1073365 h 1800225"/>
                <a:gd name="connsiteX314" fmla="*/ 1531144 w 1800225"/>
                <a:gd name="connsiteY314" fmla="*/ 1081938 h 1800225"/>
                <a:gd name="connsiteX315" fmla="*/ 1539716 w 1800225"/>
                <a:gd name="connsiteY315" fmla="*/ 1046695 h 1800225"/>
                <a:gd name="connsiteX316" fmla="*/ 1467326 w 1800225"/>
                <a:gd name="connsiteY316" fmla="*/ 929537 h 1800225"/>
                <a:gd name="connsiteX317" fmla="*/ 1529239 w 1800225"/>
                <a:gd name="connsiteY317" fmla="*/ 929537 h 1800225"/>
                <a:gd name="connsiteX318" fmla="*/ 1530191 w 1800225"/>
                <a:gd name="connsiteY318" fmla="*/ 929537 h 1800225"/>
                <a:gd name="connsiteX319" fmla="*/ 1598771 w 1800225"/>
                <a:gd name="connsiteY319" fmla="*/ 1040980 h 1800225"/>
                <a:gd name="connsiteX320" fmla="*/ 1634014 w 1800225"/>
                <a:gd name="connsiteY320" fmla="*/ 1049552 h 1800225"/>
                <a:gd name="connsiteX321" fmla="*/ 1642586 w 1800225"/>
                <a:gd name="connsiteY321" fmla="*/ 1014310 h 1800225"/>
                <a:gd name="connsiteX322" fmla="*/ 1590199 w 1800225"/>
                <a:gd name="connsiteY322" fmla="*/ 928585 h 1800225"/>
                <a:gd name="connsiteX323" fmla="*/ 1653064 w 1800225"/>
                <a:gd name="connsiteY323" fmla="*/ 928585 h 1800225"/>
                <a:gd name="connsiteX324" fmla="*/ 1653064 w 1800225"/>
                <a:gd name="connsiteY324" fmla="*/ 928585 h 1800225"/>
                <a:gd name="connsiteX325" fmla="*/ 1694021 w 1800225"/>
                <a:gd name="connsiteY325" fmla="*/ 994307 h 1800225"/>
                <a:gd name="connsiteX326" fmla="*/ 1729264 w 1800225"/>
                <a:gd name="connsiteY326" fmla="*/ 1002880 h 1800225"/>
                <a:gd name="connsiteX327" fmla="*/ 1737836 w 1800225"/>
                <a:gd name="connsiteY327" fmla="*/ 967637 h 1800225"/>
                <a:gd name="connsiteX328" fmla="*/ 1714024 w 1800225"/>
                <a:gd name="connsiteY328" fmla="*/ 928585 h 1800225"/>
                <a:gd name="connsiteX329" fmla="*/ 1714024 w 1800225"/>
                <a:gd name="connsiteY329" fmla="*/ 928585 h 1800225"/>
                <a:gd name="connsiteX330" fmla="*/ 1774031 w 1800225"/>
                <a:gd name="connsiteY330" fmla="*/ 928585 h 1800225"/>
                <a:gd name="connsiteX331" fmla="*/ 1798796 w 1800225"/>
                <a:gd name="connsiteY331" fmla="*/ 902867 h 1800225"/>
                <a:gd name="connsiteX332" fmla="*/ 1773079 w 1800225"/>
                <a:gd name="connsiteY332" fmla="*/ 877150 h 1800225"/>
                <a:gd name="connsiteX333" fmla="*/ 1722596 w 1800225"/>
                <a:gd name="connsiteY333" fmla="*/ 878102 h 1800225"/>
                <a:gd name="connsiteX334" fmla="*/ 1722596 w 1800225"/>
                <a:gd name="connsiteY334" fmla="*/ 878102 h 1800225"/>
                <a:gd name="connsiteX335" fmla="*/ 1738789 w 1800225"/>
                <a:gd name="connsiteY335" fmla="*/ 853337 h 1800225"/>
                <a:gd name="connsiteX336" fmla="*/ 1732121 w 1800225"/>
                <a:gd name="connsiteY336" fmla="*/ 818095 h 1800225"/>
                <a:gd name="connsiteX337" fmla="*/ 1708309 w 1800225"/>
                <a:gd name="connsiteY337" fmla="*/ 815237 h 1800225"/>
                <a:gd name="connsiteX338" fmla="*/ 1696879 w 1800225"/>
                <a:gd name="connsiteY338" fmla="*/ 824762 h 1800225"/>
                <a:gd name="connsiteX339" fmla="*/ 1661636 w 1800225"/>
                <a:gd name="connsiteY339" fmla="*/ 877150 h 1800225"/>
                <a:gd name="connsiteX340" fmla="*/ 1661636 w 1800225"/>
                <a:gd name="connsiteY340" fmla="*/ 877150 h 1800225"/>
                <a:gd name="connsiteX341" fmla="*/ 1598771 w 1800225"/>
                <a:gd name="connsiteY341" fmla="*/ 877150 h 1800225"/>
                <a:gd name="connsiteX342" fmla="*/ 1646396 w 1800225"/>
                <a:gd name="connsiteY342" fmla="*/ 806665 h 1800225"/>
                <a:gd name="connsiteX343" fmla="*/ 1639729 w 1800225"/>
                <a:gd name="connsiteY343" fmla="*/ 771422 h 1800225"/>
                <a:gd name="connsiteX344" fmla="*/ 1615916 w 1800225"/>
                <a:gd name="connsiteY344" fmla="*/ 768565 h 1800225"/>
                <a:gd name="connsiteX345" fmla="*/ 1604486 w 1800225"/>
                <a:gd name="connsiteY345" fmla="*/ 778090 h 1800225"/>
                <a:gd name="connsiteX346" fmla="*/ 1537811 w 1800225"/>
                <a:gd name="connsiteY346" fmla="*/ 877150 h 1800225"/>
                <a:gd name="connsiteX347" fmla="*/ 1462564 w 1800225"/>
                <a:gd name="connsiteY347" fmla="*/ 877150 h 1800225"/>
                <a:gd name="connsiteX348" fmla="*/ 1462564 w 1800225"/>
                <a:gd name="connsiteY348" fmla="*/ 877150 h 1800225"/>
                <a:gd name="connsiteX349" fmla="*/ 1545431 w 1800225"/>
                <a:gd name="connsiteY349" fmla="*/ 754277 h 1800225"/>
                <a:gd name="connsiteX350" fmla="*/ 1538764 w 1800225"/>
                <a:gd name="connsiteY350" fmla="*/ 719035 h 1800225"/>
                <a:gd name="connsiteX351" fmla="*/ 1514951 w 1800225"/>
                <a:gd name="connsiteY351" fmla="*/ 716177 h 1800225"/>
                <a:gd name="connsiteX352" fmla="*/ 1503521 w 1800225"/>
                <a:gd name="connsiteY352" fmla="*/ 725702 h 1800225"/>
                <a:gd name="connsiteX353" fmla="*/ 1401604 w 1800225"/>
                <a:gd name="connsiteY353" fmla="*/ 878102 h 1800225"/>
                <a:gd name="connsiteX354" fmla="*/ 1322546 w 1800225"/>
                <a:gd name="connsiteY354" fmla="*/ 877150 h 1800225"/>
                <a:gd name="connsiteX355" fmla="*/ 1443514 w 1800225"/>
                <a:gd name="connsiteY355" fmla="*/ 706652 h 1800225"/>
                <a:gd name="connsiteX356" fmla="*/ 1445419 w 1800225"/>
                <a:gd name="connsiteY356" fmla="*/ 682840 h 1800225"/>
                <a:gd name="connsiteX357" fmla="*/ 1427321 w 1800225"/>
                <a:gd name="connsiteY357" fmla="*/ 667600 h 1800225"/>
                <a:gd name="connsiteX358" fmla="*/ 1221581 w 1800225"/>
                <a:gd name="connsiteY358" fmla="*/ 628547 h 1800225"/>
                <a:gd name="connsiteX359" fmla="*/ 1278731 w 1800225"/>
                <a:gd name="connsiteY359" fmla="*/ 573302 h 1800225"/>
                <a:gd name="connsiteX360" fmla="*/ 1456849 w 1800225"/>
                <a:gd name="connsiteY360" fmla="*/ 611402 h 1800225"/>
                <a:gd name="connsiteX361" fmla="*/ 1487329 w 1800225"/>
                <a:gd name="connsiteY361" fmla="*/ 592352 h 1800225"/>
                <a:gd name="connsiteX362" fmla="*/ 1468279 w 1800225"/>
                <a:gd name="connsiteY362" fmla="*/ 561872 h 1800225"/>
                <a:gd name="connsiteX363" fmla="*/ 1321594 w 1800225"/>
                <a:gd name="connsiteY363" fmla="*/ 532345 h 1800225"/>
                <a:gd name="connsiteX364" fmla="*/ 1374934 w 1800225"/>
                <a:gd name="connsiteY364" fmla="*/ 479957 h 1800225"/>
                <a:gd name="connsiteX365" fmla="*/ 1492091 w 1800225"/>
                <a:gd name="connsiteY365" fmla="*/ 504722 h 1800225"/>
                <a:gd name="connsiteX366" fmla="*/ 1522571 w 1800225"/>
                <a:gd name="connsiteY366" fmla="*/ 485672 h 1800225"/>
                <a:gd name="connsiteX367" fmla="*/ 1503521 w 1800225"/>
                <a:gd name="connsiteY367" fmla="*/ 455192 h 1800225"/>
                <a:gd name="connsiteX368" fmla="*/ 1420654 w 1800225"/>
                <a:gd name="connsiteY368" fmla="*/ 437095 h 1800225"/>
                <a:gd name="connsiteX369" fmla="*/ 1420654 w 1800225"/>
                <a:gd name="connsiteY369" fmla="*/ 437095 h 1800225"/>
                <a:gd name="connsiteX370" fmla="*/ 1466374 w 1800225"/>
                <a:gd name="connsiteY370" fmla="*/ 393280 h 1800225"/>
                <a:gd name="connsiteX371" fmla="*/ 1528286 w 1800225"/>
                <a:gd name="connsiteY371" fmla="*/ 406615 h 1800225"/>
                <a:gd name="connsiteX372" fmla="*/ 1558766 w 1800225"/>
                <a:gd name="connsiteY372" fmla="*/ 387565 h 1800225"/>
                <a:gd name="connsiteX373" fmla="*/ 1539716 w 1800225"/>
                <a:gd name="connsiteY373" fmla="*/ 357085 h 1800225"/>
                <a:gd name="connsiteX374" fmla="*/ 1510189 w 1800225"/>
                <a:gd name="connsiteY374" fmla="*/ 350417 h 1800225"/>
                <a:gd name="connsiteX375" fmla="*/ 1510189 w 1800225"/>
                <a:gd name="connsiteY375" fmla="*/ 350417 h 1800225"/>
                <a:gd name="connsiteX376" fmla="*/ 1546384 w 1800225"/>
                <a:gd name="connsiteY376" fmla="*/ 316127 h 1800225"/>
                <a:gd name="connsiteX377" fmla="*/ 1546384 w 1800225"/>
                <a:gd name="connsiteY377" fmla="*/ 280885 h 1800225"/>
                <a:gd name="connsiteX378" fmla="*/ 1257776 w 1800225"/>
                <a:gd name="connsiteY378" fmla="*/ 879055 h 1800225"/>
                <a:gd name="connsiteX379" fmla="*/ 1110139 w 1800225"/>
                <a:gd name="connsiteY379" fmla="*/ 880007 h 1800225"/>
                <a:gd name="connsiteX380" fmla="*/ 1109186 w 1800225"/>
                <a:gd name="connsiteY380" fmla="*/ 828572 h 1800225"/>
                <a:gd name="connsiteX381" fmla="*/ 1102519 w 1800225"/>
                <a:gd name="connsiteY381" fmla="*/ 811427 h 1800225"/>
                <a:gd name="connsiteX382" fmla="*/ 1068229 w 1800225"/>
                <a:gd name="connsiteY382" fmla="*/ 774280 h 1800225"/>
                <a:gd name="connsiteX383" fmla="*/ 1175861 w 1800225"/>
                <a:gd name="connsiteY383" fmla="*/ 671410 h 1800225"/>
                <a:gd name="connsiteX384" fmla="*/ 1376839 w 1800225"/>
                <a:gd name="connsiteY384" fmla="*/ 710462 h 1800225"/>
                <a:gd name="connsiteX385" fmla="*/ 1258729 w 1800225"/>
                <a:gd name="connsiteY385" fmla="*/ 877150 h 1800225"/>
                <a:gd name="connsiteX386" fmla="*/ 1257776 w 1800225"/>
                <a:gd name="connsiteY386" fmla="*/ 879055 h 1800225"/>
                <a:gd name="connsiteX387" fmla="*/ 1059656 w 1800225"/>
                <a:gd name="connsiteY387" fmla="*/ 879055 h 1800225"/>
                <a:gd name="connsiteX388" fmla="*/ 1060609 w 1800225"/>
                <a:gd name="connsiteY388" fmla="*/ 929537 h 1800225"/>
                <a:gd name="connsiteX389" fmla="*/ 1061561 w 1800225"/>
                <a:gd name="connsiteY389" fmla="*/ 969542 h 1800225"/>
                <a:gd name="connsiteX390" fmla="*/ 1032034 w 1800225"/>
                <a:gd name="connsiteY390" fmla="*/ 997165 h 1800225"/>
                <a:gd name="connsiteX391" fmla="*/ 994886 w 1800225"/>
                <a:gd name="connsiteY391" fmla="*/ 1031455 h 1800225"/>
                <a:gd name="connsiteX392" fmla="*/ 965359 w 1800225"/>
                <a:gd name="connsiteY392" fmla="*/ 1059077 h 1800225"/>
                <a:gd name="connsiteX393" fmla="*/ 925354 w 1800225"/>
                <a:gd name="connsiteY393" fmla="*/ 1060030 h 1800225"/>
                <a:gd name="connsiteX394" fmla="*/ 874871 w 1800225"/>
                <a:gd name="connsiteY394" fmla="*/ 1060982 h 1800225"/>
                <a:gd name="connsiteX395" fmla="*/ 834866 w 1800225"/>
                <a:gd name="connsiteY395" fmla="*/ 1061935 h 1800225"/>
                <a:gd name="connsiteX396" fmla="*/ 807244 w 1800225"/>
                <a:gd name="connsiteY396" fmla="*/ 1032407 h 1800225"/>
                <a:gd name="connsiteX397" fmla="*/ 772954 w 1800225"/>
                <a:gd name="connsiteY397" fmla="*/ 995260 h 1800225"/>
                <a:gd name="connsiteX398" fmla="*/ 745331 w 1800225"/>
                <a:gd name="connsiteY398" fmla="*/ 965732 h 1800225"/>
                <a:gd name="connsiteX399" fmla="*/ 744379 w 1800225"/>
                <a:gd name="connsiteY399" fmla="*/ 925727 h 1800225"/>
                <a:gd name="connsiteX400" fmla="*/ 743426 w 1800225"/>
                <a:gd name="connsiteY400" fmla="*/ 875245 h 1800225"/>
                <a:gd name="connsiteX401" fmla="*/ 742474 w 1800225"/>
                <a:gd name="connsiteY401" fmla="*/ 835240 h 1800225"/>
                <a:gd name="connsiteX402" fmla="*/ 772001 w 1800225"/>
                <a:gd name="connsiteY402" fmla="*/ 807617 h 1800225"/>
                <a:gd name="connsiteX403" fmla="*/ 809149 w 1800225"/>
                <a:gd name="connsiteY403" fmla="*/ 773327 h 1800225"/>
                <a:gd name="connsiteX404" fmla="*/ 838676 w 1800225"/>
                <a:gd name="connsiteY404" fmla="*/ 745705 h 1800225"/>
                <a:gd name="connsiteX405" fmla="*/ 878681 w 1800225"/>
                <a:gd name="connsiteY405" fmla="*/ 744752 h 1800225"/>
                <a:gd name="connsiteX406" fmla="*/ 929164 w 1800225"/>
                <a:gd name="connsiteY406" fmla="*/ 743800 h 1800225"/>
                <a:gd name="connsiteX407" fmla="*/ 969169 w 1800225"/>
                <a:gd name="connsiteY407" fmla="*/ 742847 h 1800225"/>
                <a:gd name="connsiteX408" fmla="*/ 996791 w 1800225"/>
                <a:gd name="connsiteY408" fmla="*/ 772375 h 1800225"/>
                <a:gd name="connsiteX409" fmla="*/ 1031081 w 1800225"/>
                <a:gd name="connsiteY409" fmla="*/ 809522 h 1800225"/>
                <a:gd name="connsiteX410" fmla="*/ 1057751 w 1800225"/>
                <a:gd name="connsiteY410" fmla="*/ 839050 h 1800225"/>
                <a:gd name="connsiteX411" fmla="*/ 1059656 w 1800225"/>
                <a:gd name="connsiteY411" fmla="*/ 879055 h 1800225"/>
                <a:gd name="connsiteX412" fmla="*/ 1178719 w 1800225"/>
                <a:gd name="connsiteY412" fmla="*/ 1150517 h 1800225"/>
                <a:gd name="connsiteX413" fmla="*/ 1066324 w 1800225"/>
                <a:gd name="connsiteY413" fmla="*/ 1033360 h 1800225"/>
                <a:gd name="connsiteX414" fmla="*/ 1103471 w 1800225"/>
                <a:gd name="connsiteY414" fmla="*/ 999070 h 1800225"/>
                <a:gd name="connsiteX415" fmla="*/ 1112044 w 1800225"/>
                <a:gd name="connsiteY415" fmla="*/ 980020 h 1800225"/>
                <a:gd name="connsiteX416" fmla="*/ 1111091 w 1800225"/>
                <a:gd name="connsiteY416" fmla="*/ 929537 h 1800225"/>
                <a:gd name="connsiteX417" fmla="*/ 1272064 w 1800225"/>
                <a:gd name="connsiteY417" fmla="*/ 928585 h 1800225"/>
                <a:gd name="connsiteX418" fmla="*/ 1384459 w 1800225"/>
                <a:gd name="connsiteY418" fmla="*/ 1107655 h 1800225"/>
                <a:gd name="connsiteX419" fmla="*/ 1178719 w 1800225"/>
                <a:gd name="connsiteY419" fmla="*/ 1150517 h 1800225"/>
                <a:gd name="connsiteX420" fmla="*/ 926306 w 1800225"/>
                <a:gd name="connsiteY420" fmla="*/ 1260055 h 1800225"/>
                <a:gd name="connsiteX421" fmla="*/ 925354 w 1800225"/>
                <a:gd name="connsiteY421" fmla="*/ 1111465 h 1800225"/>
                <a:gd name="connsiteX422" fmla="*/ 975836 w 1800225"/>
                <a:gd name="connsiteY422" fmla="*/ 1110513 h 1800225"/>
                <a:gd name="connsiteX423" fmla="*/ 992981 w 1800225"/>
                <a:gd name="connsiteY423" fmla="*/ 1103845 h 1800225"/>
                <a:gd name="connsiteX424" fmla="*/ 1030129 w 1800225"/>
                <a:gd name="connsiteY424" fmla="*/ 1069555 h 1800225"/>
                <a:gd name="connsiteX425" fmla="*/ 1132999 w 1800225"/>
                <a:gd name="connsiteY425" fmla="*/ 1177188 h 1800225"/>
                <a:gd name="connsiteX426" fmla="*/ 1093946 w 1800225"/>
                <a:gd name="connsiteY426" fmla="*/ 1378165 h 1800225"/>
                <a:gd name="connsiteX427" fmla="*/ 926306 w 1800225"/>
                <a:gd name="connsiteY427" fmla="*/ 1260055 h 1800225"/>
                <a:gd name="connsiteX428" fmla="*/ 652939 w 1800225"/>
                <a:gd name="connsiteY428" fmla="*/ 1179092 h 1800225"/>
                <a:gd name="connsiteX429" fmla="*/ 769144 w 1800225"/>
                <a:gd name="connsiteY429" fmla="*/ 1067650 h 1800225"/>
                <a:gd name="connsiteX430" fmla="*/ 803434 w 1800225"/>
                <a:gd name="connsiteY430" fmla="*/ 1104797 h 1800225"/>
                <a:gd name="connsiteX431" fmla="*/ 822484 w 1800225"/>
                <a:gd name="connsiteY431" fmla="*/ 1112417 h 1800225"/>
                <a:gd name="connsiteX432" fmla="*/ 872966 w 1800225"/>
                <a:gd name="connsiteY432" fmla="*/ 1111465 h 1800225"/>
                <a:gd name="connsiteX433" fmla="*/ 872966 w 1800225"/>
                <a:gd name="connsiteY433" fmla="*/ 1274342 h 1800225"/>
                <a:gd name="connsiteX434" fmla="*/ 694849 w 1800225"/>
                <a:gd name="connsiteY434" fmla="*/ 1386738 h 1800225"/>
                <a:gd name="connsiteX435" fmla="*/ 652939 w 1800225"/>
                <a:gd name="connsiteY435" fmla="*/ 1179092 h 1800225"/>
                <a:gd name="connsiteX436" fmla="*/ 545306 w 1800225"/>
                <a:gd name="connsiteY436" fmla="*/ 926680 h 1800225"/>
                <a:gd name="connsiteX437" fmla="*/ 693896 w 1800225"/>
                <a:gd name="connsiteY437" fmla="*/ 925727 h 1800225"/>
                <a:gd name="connsiteX438" fmla="*/ 694849 w 1800225"/>
                <a:gd name="connsiteY438" fmla="*/ 976210 h 1800225"/>
                <a:gd name="connsiteX439" fmla="*/ 701516 w 1800225"/>
                <a:gd name="connsiteY439" fmla="*/ 993355 h 1800225"/>
                <a:gd name="connsiteX440" fmla="*/ 735806 w 1800225"/>
                <a:gd name="connsiteY440" fmla="*/ 1030502 h 1800225"/>
                <a:gd name="connsiteX441" fmla="*/ 628174 w 1800225"/>
                <a:gd name="connsiteY441" fmla="*/ 1132420 h 1800225"/>
                <a:gd name="connsiteX442" fmla="*/ 627221 w 1800225"/>
                <a:gd name="connsiteY442" fmla="*/ 1131467 h 1800225"/>
                <a:gd name="connsiteX443" fmla="*/ 426244 w 1800225"/>
                <a:gd name="connsiteY443" fmla="*/ 1093367 h 1800225"/>
                <a:gd name="connsiteX444" fmla="*/ 545306 w 1800225"/>
                <a:gd name="connsiteY444" fmla="*/ 926680 h 1800225"/>
                <a:gd name="connsiteX445" fmla="*/ 626269 w 1800225"/>
                <a:gd name="connsiteY445" fmla="*/ 654265 h 1800225"/>
                <a:gd name="connsiteX446" fmla="*/ 737711 w 1800225"/>
                <a:gd name="connsiteY446" fmla="*/ 770470 h 1800225"/>
                <a:gd name="connsiteX447" fmla="*/ 700564 w 1800225"/>
                <a:gd name="connsiteY447" fmla="*/ 804760 h 1800225"/>
                <a:gd name="connsiteX448" fmla="*/ 691991 w 1800225"/>
                <a:gd name="connsiteY448" fmla="*/ 823810 h 1800225"/>
                <a:gd name="connsiteX449" fmla="*/ 692944 w 1800225"/>
                <a:gd name="connsiteY449" fmla="*/ 875245 h 1800225"/>
                <a:gd name="connsiteX450" fmla="*/ 531971 w 1800225"/>
                <a:gd name="connsiteY450" fmla="*/ 876197 h 1800225"/>
                <a:gd name="connsiteX451" fmla="*/ 418624 w 1800225"/>
                <a:gd name="connsiteY451" fmla="*/ 697127 h 1800225"/>
                <a:gd name="connsiteX452" fmla="*/ 626269 w 1800225"/>
                <a:gd name="connsiteY452" fmla="*/ 654265 h 1800225"/>
                <a:gd name="connsiteX453" fmla="*/ 877729 w 1800225"/>
                <a:gd name="connsiteY453" fmla="*/ 545680 h 1800225"/>
                <a:gd name="connsiteX454" fmla="*/ 877729 w 1800225"/>
                <a:gd name="connsiteY454" fmla="*/ 695222 h 1800225"/>
                <a:gd name="connsiteX455" fmla="*/ 827246 w 1800225"/>
                <a:gd name="connsiteY455" fmla="*/ 696175 h 1800225"/>
                <a:gd name="connsiteX456" fmla="*/ 817721 w 1800225"/>
                <a:gd name="connsiteY456" fmla="*/ 698080 h 1800225"/>
                <a:gd name="connsiteX457" fmla="*/ 810101 w 1800225"/>
                <a:gd name="connsiteY457" fmla="*/ 703795 h 1800225"/>
                <a:gd name="connsiteX458" fmla="*/ 773906 w 1800225"/>
                <a:gd name="connsiteY458" fmla="*/ 738085 h 1800225"/>
                <a:gd name="connsiteX459" fmla="*/ 671989 w 1800225"/>
                <a:gd name="connsiteY459" fmla="*/ 629500 h 1800225"/>
                <a:gd name="connsiteX460" fmla="*/ 711041 w 1800225"/>
                <a:gd name="connsiteY460" fmla="*/ 428522 h 1800225"/>
                <a:gd name="connsiteX461" fmla="*/ 877729 w 1800225"/>
                <a:gd name="connsiteY461" fmla="*/ 545680 h 1800225"/>
                <a:gd name="connsiteX462" fmla="*/ 1151096 w 1800225"/>
                <a:gd name="connsiteY462" fmla="*/ 626642 h 1800225"/>
                <a:gd name="connsiteX463" fmla="*/ 1034891 w 1800225"/>
                <a:gd name="connsiteY463" fmla="*/ 738085 h 1800225"/>
                <a:gd name="connsiteX464" fmla="*/ 999649 w 1800225"/>
                <a:gd name="connsiteY464" fmla="*/ 699985 h 1800225"/>
                <a:gd name="connsiteX465" fmla="*/ 980599 w 1800225"/>
                <a:gd name="connsiteY465" fmla="*/ 692365 h 1800225"/>
                <a:gd name="connsiteX466" fmla="*/ 929164 w 1800225"/>
                <a:gd name="connsiteY466" fmla="*/ 693317 h 1800225"/>
                <a:gd name="connsiteX467" fmla="*/ 928211 w 1800225"/>
                <a:gd name="connsiteY467" fmla="*/ 532345 h 1800225"/>
                <a:gd name="connsiteX468" fmla="*/ 1107281 w 1800225"/>
                <a:gd name="connsiteY468" fmla="*/ 419950 h 1800225"/>
                <a:gd name="connsiteX469" fmla="*/ 1151096 w 1800225"/>
                <a:gd name="connsiteY469" fmla="*/ 626642 h 180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</a:cxnLst>
              <a:rect l="l" t="t" r="r" b="b"/>
              <a:pathLst>
                <a:path w="1800225" h="1800225">
                  <a:moveTo>
                    <a:pt x="1546384" y="280885"/>
                  </a:moveTo>
                  <a:cubicBezTo>
                    <a:pt x="1536859" y="270407"/>
                    <a:pt x="1520666" y="270407"/>
                    <a:pt x="1511141" y="279932"/>
                  </a:cubicBezTo>
                  <a:lnTo>
                    <a:pt x="1467326" y="320890"/>
                  </a:lnTo>
                  <a:lnTo>
                    <a:pt x="1457801" y="275170"/>
                  </a:lnTo>
                  <a:cubicBezTo>
                    <a:pt x="1454944" y="261835"/>
                    <a:pt x="1441609" y="253262"/>
                    <a:pt x="1427321" y="256120"/>
                  </a:cubicBezTo>
                  <a:cubicBezTo>
                    <a:pt x="1426369" y="256120"/>
                    <a:pt x="1424464" y="257072"/>
                    <a:pt x="1423511" y="257072"/>
                  </a:cubicBezTo>
                  <a:cubicBezTo>
                    <a:pt x="1412081" y="261835"/>
                    <a:pt x="1405414" y="273265"/>
                    <a:pt x="1408271" y="285647"/>
                  </a:cubicBezTo>
                  <a:lnTo>
                    <a:pt x="1424464" y="361847"/>
                  </a:lnTo>
                  <a:lnTo>
                    <a:pt x="1424464" y="361847"/>
                  </a:lnTo>
                  <a:lnTo>
                    <a:pt x="1378744" y="405662"/>
                  </a:lnTo>
                  <a:lnTo>
                    <a:pt x="1378744" y="405662"/>
                  </a:lnTo>
                  <a:lnTo>
                    <a:pt x="1356836" y="306602"/>
                  </a:lnTo>
                  <a:cubicBezTo>
                    <a:pt x="1353979" y="293267"/>
                    <a:pt x="1340644" y="284695"/>
                    <a:pt x="1326356" y="287552"/>
                  </a:cubicBezTo>
                  <a:cubicBezTo>
                    <a:pt x="1324451" y="287552"/>
                    <a:pt x="1323499" y="288505"/>
                    <a:pt x="1322546" y="288505"/>
                  </a:cubicBezTo>
                  <a:cubicBezTo>
                    <a:pt x="1311116" y="293267"/>
                    <a:pt x="1304449" y="304697"/>
                    <a:pt x="1307306" y="317080"/>
                  </a:cubicBezTo>
                  <a:lnTo>
                    <a:pt x="1335881" y="445667"/>
                  </a:lnTo>
                  <a:lnTo>
                    <a:pt x="1335881" y="445667"/>
                  </a:lnTo>
                  <a:lnTo>
                    <a:pt x="1291114" y="488530"/>
                  </a:lnTo>
                  <a:lnTo>
                    <a:pt x="1291114" y="488530"/>
                  </a:lnTo>
                  <a:lnTo>
                    <a:pt x="1261586" y="353275"/>
                  </a:lnTo>
                  <a:cubicBezTo>
                    <a:pt x="1258729" y="339940"/>
                    <a:pt x="1245394" y="331367"/>
                    <a:pt x="1231106" y="334225"/>
                  </a:cubicBezTo>
                  <a:cubicBezTo>
                    <a:pt x="1230154" y="334225"/>
                    <a:pt x="1228249" y="335177"/>
                    <a:pt x="1227296" y="335177"/>
                  </a:cubicBezTo>
                  <a:cubicBezTo>
                    <a:pt x="1215866" y="339940"/>
                    <a:pt x="1209199" y="352322"/>
                    <a:pt x="1212056" y="363752"/>
                  </a:cubicBezTo>
                  <a:lnTo>
                    <a:pt x="1248251" y="529487"/>
                  </a:lnTo>
                  <a:lnTo>
                    <a:pt x="1193959" y="581875"/>
                  </a:lnTo>
                  <a:lnTo>
                    <a:pt x="1150144" y="372325"/>
                  </a:lnTo>
                  <a:cubicBezTo>
                    <a:pt x="1148239" y="364705"/>
                    <a:pt x="1142524" y="358037"/>
                    <a:pt x="1134904" y="354227"/>
                  </a:cubicBezTo>
                  <a:cubicBezTo>
                    <a:pt x="1127284" y="351370"/>
                    <a:pt x="1118711" y="352322"/>
                    <a:pt x="1111091" y="356132"/>
                  </a:cubicBezTo>
                  <a:lnTo>
                    <a:pt x="929164" y="471385"/>
                  </a:lnTo>
                  <a:lnTo>
                    <a:pt x="928211" y="396137"/>
                  </a:lnTo>
                  <a:lnTo>
                    <a:pt x="1072991" y="307555"/>
                  </a:lnTo>
                  <a:cubicBezTo>
                    <a:pt x="1084421" y="299935"/>
                    <a:pt x="1088231" y="284695"/>
                    <a:pt x="1081564" y="272312"/>
                  </a:cubicBezTo>
                  <a:cubicBezTo>
                    <a:pt x="1073944" y="259930"/>
                    <a:pt x="1058704" y="256120"/>
                    <a:pt x="1046321" y="263740"/>
                  </a:cubicBezTo>
                  <a:lnTo>
                    <a:pt x="929164" y="336130"/>
                  </a:lnTo>
                  <a:lnTo>
                    <a:pt x="929164" y="273265"/>
                  </a:lnTo>
                  <a:lnTo>
                    <a:pt x="1041559" y="203732"/>
                  </a:lnTo>
                  <a:cubicBezTo>
                    <a:pt x="1053941" y="196112"/>
                    <a:pt x="1056799" y="180872"/>
                    <a:pt x="1050131" y="168490"/>
                  </a:cubicBezTo>
                  <a:cubicBezTo>
                    <a:pt x="1042511" y="156107"/>
                    <a:pt x="1027271" y="152297"/>
                    <a:pt x="1014889" y="159917"/>
                  </a:cubicBezTo>
                  <a:lnTo>
                    <a:pt x="929164" y="212305"/>
                  </a:lnTo>
                  <a:lnTo>
                    <a:pt x="929164" y="149440"/>
                  </a:lnTo>
                  <a:lnTo>
                    <a:pt x="929164" y="148487"/>
                  </a:lnTo>
                  <a:lnTo>
                    <a:pt x="994886" y="107530"/>
                  </a:lnTo>
                  <a:cubicBezTo>
                    <a:pt x="1006316" y="99910"/>
                    <a:pt x="1010126" y="84670"/>
                    <a:pt x="1003459" y="72287"/>
                  </a:cubicBezTo>
                  <a:cubicBezTo>
                    <a:pt x="995839" y="59905"/>
                    <a:pt x="980599" y="56095"/>
                    <a:pt x="968216" y="63715"/>
                  </a:cubicBezTo>
                  <a:lnTo>
                    <a:pt x="929164" y="88480"/>
                  </a:lnTo>
                  <a:lnTo>
                    <a:pt x="929164" y="88480"/>
                  </a:lnTo>
                  <a:lnTo>
                    <a:pt x="929164" y="28472"/>
                  </a:lnTo>
                  <a:cubicBezTo>
                    <a:pt x="927259" y="17995"/>
                    <a:pt x="915829" y="7517"/>
                    <a:pt x="902494" y="7517"/>
                  </a:cubicBezTo>
                  <a:cubicBezTo>
                    <a:pt x="898684" y="6565"/>
                    <a:pt x="895826" y="7517"/>
                    <a:pt x="892969" y="9422"/>
                  </a:cubicBezTo>
                  <a:cubicBezTo>
                    <a:pt x="883444" y="13232"/>
                    <a:pt x="877729" y="21805"/>
                    <a:pt x="876776" y="32282"/>
                  </a:cubicBezTo>
                  <a:lnTo>
                    <a:pt x="876776" y="82765"/>
                  </a:lnTo>
                  <a:lnTo>
                    <a:pt x="852011" y="66572"/>
                  </a:lnTo>
                  <a:cubicBezTo>
                    <a:pt x="845344" y="61810"/>
                    <a:pt x="836771" y="60857"/>
                    <a:pt x="829151" y="64667"/>
                  </a:cubicBezTo>
                  <a:cubicBezTo>
                    <a:pt x="824389" y="66572"/>
                    <a:pt x="820579" y="69430"/>
                    <a:pt x="817721" y="74192"/>
                  </a:cubicBezTo>
                  <a:cubicBezTo>
                    <a:pt x="810101" y="85622"/>
                    <a:pt x="812959" y="101815"/>
                    <a:pt x="824389" y="109435"/>
                  </a:cubicBezTo>
                  <a:lnTo>
                    <a:pt x="877729" y="144677"/>
                  </a:lnTo>
                  <a:lnTo>
                    <a:pt x="876776" y="206590"/>
                  </a:lnTo>
                  <a:lnTo>
                    <a:pt x="807244" y="159917"/>
                  </a:lnTo>
                  <a:cubicBezTo>
                    <a:pt x="799624" y="155155"/>
                    <a:pt x="791051" y="154202"/>
                    <a:pt x="783431" y="157060"/>
                  </a:cubicBezTo>
                  <a:cubicBezTo>
                    <a:pt x="778669" y="158965"/>
                    <a:pt x="774859" y="161822"/>
                    <a:pt x="772001" y="166585"/>
                  </a:cubicBezTo>
                  <a:cubicBezTo>
                    <a:pt x="764381" y="178015"/>
                    <a:pt x="767239" y="194207"/>
                    <a:pt x="778669" y="201827"/>
                  </a:cubicBezTo>
                  <a:lnTo>
                    <a:pt x="877729" y="268502"/>
                  </a:lnTo>
                  <a:lnTo>
                    <a:pt x="877729" y="268502"/>
                  </a:lnTo>
                  <a:lnTo>
                    <a:pt x="877729" y="343750"/>
                  </a:lnTo>
                  <a:lnTo>
                    <a:pt x="754856" y="260882"/>
                  </a:lnTo>
                  <a:cubicBezTo>
                    <a:pt x="747236" y="256120"/>
                    <a:pt x="738664" y="255167"/>
                    <a:pt x="731044" y="258025"/>
                  </a:cubicBezTo>
                  <a:cubicBezTo>
                    <a:pt x="726281" y="259930"/>
                    <a:pt x="722471" y="262787"/>
                    <a:pt x="719614" y="267550"/>
                  </a:cubicBezTo>
                  <a:cubicBezTo>
                    <a:pt x="711994" y="278980"/>
                    <a:pt x="714851" y="295172"/>
                    <a:pt x="726281" y="302792"/>
                  </a:cubicBezTo>
                  <a:lnTo>
                    <a:pt x="878681" y="404710"/>
                  </a:lnTo>
                  <a:lnTo>
                    <a:pt x="878681" y="483767"/>
                  </a:lnTo>
                  <a:lnTo>
                    <a:pt x="707231" y="363752"/>
                  </a:lnTo>
                  <a:cubicBezTo>
                    <a:pt x="699611" y="358990"/>
                    <a:pt x="691039" y="358037"/>
                    <a:pt x="683419" y="361847"/>
                  </a:cubicBezTo>
                  <a:cubicBezTo>
                    <a:pt x="675799" y="364705"/>
                    <a:pt x="670084" y="371372"/>
                    <a:pt x="668179" y="379945"/>
                  </a:cubicBezTo>
                  <a:lnTo>
                    <a:pt x="628174" y="584732"/>
                  </a:lnTo>
                  <a:lnTo>
                    <a:pt x="573881" y="528535"/>
                  </a:lnTo>
                  <a:lnTo>
                    <a:pt x="611981" y="349465"/>
                  </a:lnTo>
                  <a:cubicBezTo>
                    <a:pt x="614839" y="336130"/>
                    <a:pt x="606266" y="322795"/>
                    <a:pt x="592931" y="318985"/>
                  </a:cubicBezTo>
                  <a:cubicBezTo>
                    <a:pt x="588169" y="318032"/>
                    <a:pt x="582454" y="318032"/>
                    <a:pt x="577691" y="319937"/>
                  </a:cubicBezTo>
                  <a:cubicBezTo>
                    <a:pt x="570071" y="322795"/>
                    <a:pt x="564356" y="329462"/>
                    <a:pt x="562451" y="338035"/>
                  </a:cubicBezTo>
                  <a:lnTo>
                    <a:pt x="531019" y="482815"/>
                  </a:lnTo>
                  <a:lnTo>
                    <a:pt x="478631" y="428522"/>
                  </a:lnTo>
                  <a:lnTo>
                    <a:pt x="478631" y="428522"/>
                  </a:lnTo>
                  <a:lnTo>
                    <a:pt x="504349" y="312317"/>
                  </a:lnTo>
                  <a:cubicBezTo>
                    <a:pt x="507206" y="298982"/>
                    <a:pt x="498634" y="285647"/>
                    <a:pt x="485299" y="281837"/>
                  </a:cubicBezTo>
                  <a:cubicBezTo>
                    <a:pt x="480536" y="280885"/>
                    <a:pt x="474821" y="280885"/>
                    <a:pt x="470059" y="282790"/>
                  </a:cubicBezTo>
                  <a:cubicBezTo>
                    <a:pt x="462439" y="285647"/>
                    <a:pt x="456724" y="292315"/>
                    <a:pt x="454819" y="300887"/>
                  </a:cubicBezTo>
                  <a:lnTo>
                    <a:pt x="437674" y="382802"/>
                  </a:lnTo>
                  <a:lnTo>
                    <a:pt x="393859" y="338987"/>
                  </a:lnTo>
                  <a:lnTo>
                    <a:pt x="407194" y="276122"/>
                  </a:lnTo>
                  <a:cubicBezTo>
                    <a:pt x="410051" y="262787"/>
                    <a:pt x="401479" y="249452"/>
                    <a:pt x="388144" y="245642"/>
                  </a:cubicBezTo>
                  <a:cubicBezTo>
                    <a:pt x="383381" y="244690"/>
                    <a:pt x="377666" y="244690"/>
                    <a:pt x="373856" y="246595"/>
                  </a:cubicBezTo>
                  <a:cubicBezTo>
                    <a:pt x="366236" y="249452"/>
                    <a:pt x="360521" y="256120"/>
                    <a:pt x="358616" y="264692"/>
                  </a:cubicBezTo>
                  <a:lnTo>
                    <a:pt x="352901" y="293267"/>
                  </a:lnTo>
                  <a:lnTo>
                    <a:pt x="317659" y="257072"/>
                  </a:lnTo>
                  <a:cubicBezTo>
                    <a:pt x="310039" y="250405"/>
                    <a:pt x="299561" y="247547"/>
                    <a:pt x="290036" y="251357"/>
                  </a:cubicBezTo>
                  <a:cubicBezTo>
                    <a:pt x="287179" y="252310"/>
                    <a:pt x="284321" y="253262"/>
                    <a:pt x="282416" y="257072"/>
                  </a:cubicBezTo>
                  <a:cubicBezTo>
                    <a:pt x="271939" y="266597"/>
                    <a:pt x="271939" y="281837"/>
                    <a:pt x="281464" y="292315"/>
                  </a:cubicBezTo>
                  <a:lnTo>
                    <a:pt x="323374" y="335177"/>
                  </a:lnTo>
                  <a:lnTo>
                    <a:pt x="323374" y="335177"/>
                  </a:lnTo>
                  <a:lnTo>
                    <a:pt x="277654" y="344702"/>
                  </a:lnTo>
                  <a:cubicBezTo>
                    <a:pt x="264319" y="347560"/>
                    <a:pt x="255746" y="360895"/>
                    <a:pt x="258604" y="375182"/>
                  </a:cubicBezTo>
                  <a:cubicBezTo>
                    <a:pt x="261461" y="388517"/>
                    <a:pt x="274796" y="397090"/>
                    <a:pt x="289084" y="394232"/>
                  </a:cubicBezTo>
                  <a:lnTo>
                    <a:pt x="364331" y="378040"/>
                  </a:lnTo>
                  <a:lnTo>
                    <a:pt x="364331" y="378040"/>
                  </a:lnTo>
                  <a:lnTo>
                    <a:pt x="407194" y="423760"/>
                  </a:lnTo>
                  <a:lnTo>
                    <a:pt x="309086" y="444715"/>
                  </a:lnTo>
                  <a:cubicBezTo>
                    <a:pt x="295751" y="447572"/>
                    <a:pt x="287179" y="460907"/>
                    <a:pt x="290036" y="475195"/>
                  </a:cubicBezTo>
                  <a:cubicBezTo>
                    <a:pt x="292894" y="488530"/>
                    <a:pt x="306229" y="497102"/>
                    <a:pt x="320516" y="494245"/>
                  </a:cubicBezTo>
                  <a:lnTo>
                    <a:pt x="449104" y="465670"/>
                  </a:lnTo>
                  <a:lnTo>
                    <a:pt x="491966" y="511390"/>
                  </a:lnTo>
                  <a:lnTo>
                    <a:pt x="356711" y="540917"/>
                  </a:lnTo>
                  <a:cubicBezTo>
                    <a:pt x="343376" y="543775"/>
                    <a:pt x="334804" y="557110"/>
                    <a:pt x="337661" y="571397"/>
                  </a:cubicBezTo>
                  <a:cubicBezTo>
                    <a:pt x="340519" y="584732"/>
                    <a:pt x="353854" y="593305"/>
                    <a:pt x="368141" y="590447"/>
                  </a:cubicBezTo>
                  <a:lnTo>
                    <a:pt x="533876" y="554252"/>
                  </a:lnTo>
                  <a:lnTo>
                    <a:pt x="585311" y="608545"/>
                  </a:lnTo>
                  <a:lnTo>
                    <a:pt x="371951" y="655217"/>
                  </a:lnTo>
                  <a:cubicBezTo>
                    <a:pt x="364331" y="657122"/>
                    <a:pt x="357664" y="661885"/>
                    <a:pt x="353854" y="670457"/>
                  </a:cubicBezTo>
                  <a:cubicBezTo>
                    <a:pt x="351949" y="678077"/>
                    <a:pt x="351949" y="686650"/>
                    <a:pt x="355759" y="693317"/>
                  </a:cubicBezTo>
                  <a:lnTo>
                    <a:pt x="471964" y="876197"/>
                  </a:lnTo>
                  <a:lnTo>
                    <a:pt x="395764" y="876197"/>
                  </a:lnTo>
                  <a:lnTo>
                    <a:pt x="307181" y="731417"/>
                  </a:lnTo>
                  <a:cubicBezTo>
                    <a:pt x="300514" y="720940"/>
                    <a:pt x="287179" y="717130"/>
                    <a:pt x="275749" y="720940"/>
                  </a:cubicBezTo>
                  <a:cubicBezTo>
                    <a:pt x="274796" y="721892"/>
                    <a:pt x="272891" y="721892"/>
                    <a:pt x="271939" y="722845"/>
                  </a:cubicBezTo>
                  <a:cubicBezTo>
                    <a:pt x="260509" y="730465"/>
                    <a:pt x="256699" y="745705"/>
                    <a:pt x="263366" y="758087"/>
                  </a:cubicBezTo>
                  <a:lnTo>
                    <a:pt x="335756" y="876197"/>
                  </a:lnTo>
                  <a:lnTo>
                    <a:pt x="335756" y="876197"/>
                  </a:lnTo>
                  <a:lnTo>
                    <a:pt x="273844" y="876197"/>
                  </a:lnTo>
                  <a:lnTo>
                    <a:pt x="272891" y="876197"/>
                  </a:lnTo>
                  <a:lnTo>
                    <a:pt x="203359" y="763802"/>
                  </a:lnTo>
                  <a:cubicBezTo>
                    <a:pt x="196691" y="753325"/>
                    <a:pt x="183356" y="749515"/>
                    <a:pt x="171926" y="753325"/>
                  </a:cubicBezTo>
                  <a:cubicBezTo>
                    <a:pt x="170974" y="754277"/>
                    <a:pt x="169069" y="754277"/>
                    <a:pt x="168116" y="755230"/>
                  </a:cubicBezTo>
                  <a:cubicBezTo>
                    <a:pt x="155734" y="762850"/>
                    <a:pt x="152876" y="778090"/>
                    <a:pt x="159544" y="790472"/>
                  </a:cubicBezTo>
                  <a:lnTo>
                    <a:pt x="212884" y="876197"/>
                  </a:lnTo>
                  <a:lnTo>
                    <a:pt x="212884" y="876197"/>
                  </a:lnTo>
                  <a:lnTo>
                    <a:pt x="150019" y="876197"/>
                  </a:lnTo>
                  <a:lnTo>
                    <a:pt x="150019" y="876197"/>
                  </a:lnTo>
                  <a:lnTo>
                    <a:pt x="109061" y="809522"/>
                  </a:lnTo>
                  <a:cubicBezTo>
                    <a:pt x="102394" y="799045"/>
                    <a:pt x="89059" y="794282"/>
                    <a:pt x="77629" y="799045"/>
                  </a:cubicBezTo>
                  <a:cubicBezTo>
                    <a:pt x="76676" y="799997"/>
                    <a:pt x="74771" y="799997"/>
                    <a:pt x="73819" y="800950"/>
                  </a:cubicBezTo>
                  <a:cubicBezTo>
                    <a:pt x="62389" y="808570"/>
                    <a:pt x="58579" y="823810"/>
                    <a:pt x="65246" y="836192"/>
                  </a:cubicBezTo>
                  <a:lnTo>
                    <a:pt x="90011" y="876197"/>
                  </a:lnTo>
                  <a:lnTo>
                    <a:pt x="30004" y="877150"/>
                  </a:lnTo>
                  <a:cubicBezTo>
                    <a:pt x="18574" y="876197"/>
                    <a:pt x="7144" y="888580"/>
                    <a:pt x="7144" y="902867"/>
                  </a:cubicBezTo>
                  <a:cubicBezTo>
                    <a:pt x="7144" y="916202"/>
                    <a:pt x="18574" y="927632"/>
                    <a:pt x="32861" y="927632"/>
                  </a:cubicBezTo>
                  <a:lnTo>
                    <a:pt x="82391" y="926680"/>
                  </a:lnTo>
                  <a:lnTo>
                    <a:pt x="83344" y="926680"/>
                  </a:lnTo>
                  <a:lnTo>
                    <a:pt x="67151" y="951445"/>
                  </a:lnTo>
                  <a:cubicBezTo>
                    <a:pt x="59531" y="962875"/>
                    <a:pt x="62389" y="979067"/>
                    <a:pt x="73819" y="986687"/>
                  </a:cubicBezTo>
                  <a:cubicBezTo>
                    <a:pt x="85249" y="994307"/>
                    <a:pt x="101441" y="991450"/>
                    <a:pt x="109061" y="980020"/>
                  </a:cubicBezTo>
                  <a:lnTo>
                    <a:pt x="144304" y="927632"/>
                  </a:lnTo>
                  <a:lnTo>
                    <a:pt x="207169" y="927632"/>
                  </a:lnTo>
                  <a:lnTo>
                    <a:pt x="207169" y="927632"/>
                  </a:lnTo>
                  <a:lnTo>
                    <a:pt x="159544" y="998117"/>
                  </a:lnTo>
                  <a:cubicBezTo>
                    <a:pt x="151924" y="1009547"/>
                    <a:pt x="154781" y="1025740"/>
                    <a:pt x="166211" y="1033360"/>
                  </a:cubicBezTo>
                  <a:cubicBezTo>
                    <a:pt x="177641" y="1040980"/>
                    <a:pt x="193834" y="1038122"/>
                    <a:pt x="201454" y="1026692"/>
                  </a:cubicBezTo>
                  <a:lnTo>
                    <a:pt x="268129" y="927632"/>
                  </a:lnTo>
                  <a:lnTo>
                    <a:pt x="342424" y="928585"/>
                  </a:lnTo>
                  <a:lnTo>
                    <a:pt x="260509" y="1051457"/>
                  </a:lnTo>
                  <a:cubicBezTo>
                    <a:pt x="252889" y="1062888"/>
                    <a:pt x="255746" y="1079080"/>
                    <a:pt x="267176" y="1086700"/>
                  </a:cubicBezTo>
                  <a:cubicBezTo>
                    <a:pt x="278606" y="1094320"/>
                    <a:pt x="294799" y="1091463"/>
                    <a:pt x="302419" y="1080032"/>
                  </a:cubicBezTo>
                  <a:lnTo>
                    <a:pt x="404336" y="928585"/>
                  </a:lnTo>
                  <a:lnTo>
                    <a:pt x="483394" y="928585"/>
                  </a:lnTo>
                  <a:lnTo>
                    <a:pt x="362426" y="1100035"/>
                  </a:lnTo>
                  <a:cubicBezTo>
                    <a:pt x="357664" y="1106702"/>
                    <a:pt x="356711" y="1115275"/>
                    <a:pt x="360521" y="1123847"/>
                  </a:cubicBezTo>
                  <a:cubicBezTo>
                    <a:pt x="363379" y="1131467"/>
                    <a:pt x="370046" y="1137182"/>
                    <a:pt x="378619" y="1139088"/>
                  </a:cubicBezTo>
                  <a:lnTo>
                    <a:pt x="584359" y="1177188"/>
                  </a:lnTo>
                  <a:lnTo>
                    <a:pt x="528161" y="1232433"/>
                  </a:lnTo>
                  <a:lnTo>
                    <a:pt x="349091" y="1193380"/>
                  </a:lnTo>
                  <a:cubicBezTo>
                    <a:pt x="344329" y="1192427"/>
                    <a:pt x="338614" y="1192427"/>
                    <a:pt x="334804" y="1194332"/>
                  </a:cubicBezTo>
                  <a:cubicBezTo>
                    <a:pt x="327184" y="1197190"/>
                    <a:pt x="321469" y="1203857"/>
                    <a:pt x="319564" y="1212430"/>
                  </a:cubicBezTo>
                  <a:cubicBezTo>
                    <a:pt x="316706" y="1225765"/>
                    <a:pt x="325279" y="1240052"/>
                    <a:pt x="338614" y="1242910"/>
                  </a:cubicBezTo>
                  <a:lnTo>
                    <a:pt x="483394" y="1274342"/>
                  </a:lnTo>
                  <a:lnTo>
                    <a:pt x="483394" y="1274342"/>
                  </a:lnTo>
                  <a:lnTo>
                    <a:pt x="429101" y="1326730"/>
                  </a:lnTo>
                  <a:lnTo>
                    <a:pt x="311944" y="1300060"/>
                  </a:lnTo>
                  <a:cubicBezTo>
                    <a:pt x="307181" y="1299108"/>
                    <a:pt x="301466" y="1299108"/>
                    <a:pt x="296704" y="1301013"/>
                  </a:cubicBezTo>
                  <a:cubicBezTo>
                    <a:pt x="289084" y="1303870"/>
                    <a:pt x="283369" y="1310538"/>
                    <a:pt x="281464" y="1319110"/>
                  </a:cubicBezTo>
                  <a:cubicBezTo>
                    <a:pt x="278606" y="1332445"/>
                    <a:pt x="287179" y="1345780"/>
                    <a:pt x="300514" y="1349590"/>
                  </a:cubicBezTo>
                  <a:lnTo>
                    <a:pt x="383381" y="1367688"/>
                  </a:lnTo>
                  <a:lnTo>
                    <a:pt x="337661" y="1411502"/>
                  </a:lnTo>
                  <a:lnTo>
                    <a:pt x="337661" y="1411502"/>
                  </a:lnTo>
                  <a:lnTo>
                    <a:pt x="275749" y="1398167"/>
                  </a:lnTo>
                  <a:cubicBezTo>
                    <a:pt x="270986" y="1397215"/>
                    <a:pt x="265271" y="1397215"/>
                    <a:pt x="261461" y="1399120"/>
                  </a:cubicBezTo>
                  <a:cubicBezTo>
                    <a:pt x="253841" y="1401977"/>
                    <a:pt x="248126" y="1408645"/>
                    <a:pt x="246221" y="1417217"/>
                  </a:cubicBezTo>
                  <a:cubicBezTo>
                    <a:pt x="243364" y="1430552"/>
                    <a:pt x="251936" y="1443888"/>
                    <a:pt x="265271" y="1447697"/>
                  </a:cubicBezTo>
                  <a:lnTo>
                    <a:pt x="293846" y="1454365"/>
                  </a:lnTo>
                  <a:lnTo>
                    <a:pt x="293846" y="1454365"/>
                  </a:lnTo>
                  <a:lnTo>
                    <a:pt x="257651" y="1488655"/>
                  </a:lnTo>
                  <a:cubicBezTo>
                    <a:pt x="247174" y="1498180"/>
                    <a:pt x="247174" y="1514372"/>
                    <a:pt x="256699" y="1524850"/>
                  </a:cubicBezTo>
                  <a:cubicBezTo>
                    <a:pt x="266224" y="1535327"/>
                    <a:pt x="282416" y="1535327"/>
                    <a:pt x="291941" y="1525802"/>
                  </a:cubicBezTo>
                  <a:lnTo>
                    <a:pt x="334804" y="1483892"/>
                  </a:lnTo>
                  <a:lnTo>
                    <a:pt x="334804" y="1483892"/>
                  </a:lnTo>
                  <a:lnTo>
                    <a:pt x="344329" y="1528660"/>
                  </a:lnTo>
                  <a:cubicBezTo>
                    <a:pt x="347186" y="1541995"/>
                    <a:pt x="360521" y="1550567"/>
                    <a:pt x="374809" y="1547710"/>
                  </a:cubicBezTo>
                  <a:cubicBezTo>
                    <a:pt x="388144" y="1544852"/>
                    <a:pt x="396716" y="1531517"/>
                    <a:pt x="393859" y="1517230"/>
                  </a:cubicBezTo>
                  <a:lnTo>
                    <a:pt x="377666" y="1441983"/>
                  </a:lnTo>
                  <a:lnTo>
                    <a:pt x="377666" y="1441983"/>
                  </a:lnTo>
                  <a:lnTo>
                    <a:pt x="423386" y="1398167"/>
                  </a:lnTo>
                  <a:lnTo>
                    <a:pt x="444341" y="1496275"/>
                  </a:lnTo>
                  <a:cubicBezTo>
                    <a:pt x="447199" y="1509610"/>
                    <a:pt x="460534" y="1518183"/>
                    <a:pt x="474821" y="1515325"/>
                  </a:cubicBezTo>
                  <a:cubicBezTo>
                    <a:pt x="488156" y="1512467"/>
                    <a:pt x="496729" y="1499133"/>
                    <a:pt x="493871" y="1484845"/>
                  </a:cubicBezTo>
                  <a:lnTo>
                    <a:pt x="466249" y="1356258"/>
                  </a:lnTo>
                  <a:lnTo>
                    <a:pt x="467201" y="1356258"/>
                  </a:lnTo>
                  <a:lnTo>
                    <a:pt x="511969" y="1313395"/>
                  </a:lnTo>
                  <a:lnTo>
                    <a:pt x="541496" y="1447697"/>
                  </a:lnTo>
                  <a:cubicBezTo>
                    <a:pt x="544354" y="1461033"/>
                    <a:pt x="557689" y="1469605"/>
                    <a:pt x="571976" y="1466747"/>
                  </a:cubicBezTo>
                  <a:cubicBezTo>
                    <a:pt x="585311" y="1463890"/>
                    <a:pt x="593884" y="1450555"/>
                    <a:pt x="591026" y="1436267"/>
                  </a:cubicBezTo>
                  <a:lnTo>
                    <a:pt x="554831" y="1270533"/>
                  </a:lnTo>
                  <a:lnTo>
                    <a:pt x="608171" y="1218145"/>
                  </a:lnTo>
                  <a:lnTo>
                    <a:pt x="651986" y="1429600"/>
                  </a:lnTo>
                  <a:cubicBezTo>
                    <a:pt x="653891" y="1437220"/>
                    <a:pt x="659606" y="1443888"/>
                    <a:pt x="667226" y="1447697"/>
                  </a:cubicBezTo>
                  <a:cubicBezTo>
                    <a:pt x="674846" y="1450555"/>
                    <a:pt x="683419" y="1450555"/>
                    <a:pt x="691039" y="1445792"/>
                  </a:cubicBezTo>
                  <a:lnTo>
                    <a:pt x="874871" y="1330540"/>
                  </a:lnTo>
                  <a:lnTo>
                    <a:pt x="874871" y="1405788"/>
                  </a:lnTo>
                  <a:lnTo>
                    <a:pt x="874871" y="1405788"/>
                  </a:lnTo>
                  <a:lnTo>
                    <a:pt x="731044" y="1497227"/>
                  </a:lnTo>
                  <a:cubicBezTo>
                    <a:pt x="719614" y="1504847"/>
                    <a:pt x="715804" y="1520088"/>
                    <a:pt x="722471" y="1532470"/>
                  </a:cubicBezTo>
                  <a:cubicBezTo>
                    <a:pt x="730091" y="1543900"/>
                    <a:pt x="745331" y="1547710"/>
                    <a:pt x="757714" y="1541042"/>
                  </a:cubicBezTo>
                  <a:lnTo>
                    <a:pt x="875824" y="1468652"/>
                  </a:lnTo>
                  <a:lnTo>
                    <a:pt x="875824" y="1468652"/>
                  </a:lnTo>
                  <a:lnTo>
                    <a:pt x="875824" y="1530565"/>
                  </a:lnTo>
                  <a:lnTo>
                    <a:pt x="875824" y="1530565"/>
                  </a:lnTo>
                  <a:lnTo>
                    <a:pt x="763429" y="1600097"/>
                  </a:lnTo>
                  <a:cubicBezTo>
                    <a:pt x="751999" y="1607717"/>
                    <a:pt x="748189" y="1622958"/>
                    <a:pt x="754856" y="1635340"/>
                  </a:cubicBezTo>
                  <a:cubicBezTo>
                    <a:pt x="762476" y="1647722"/>
                    <a:pt x="777716" y="1650580"/>
                    <a:pt x="790099" y="1643913"/>
                  </a:cubicBezTo>
                  <a:lnTo>
                    <a:pt x="875824" y="1590572"/>
                  </a:lnTo>
                  <a:lnTo>
                    <a:pt x="875824" y="1591525"/>
                  </a:lnTo>
                  <a:lnTo>
                    <a:pt x="875824" y="1654390"/>
                  </a:lnTo>
                  <a:lnTo>
                    <a:pt x="809149" y="1695347"/>
                  </a:lnTo>
                  <a:cubicBezTo>
                    <a:pt x="796766" y="1702967"/>
                    <a:pt x="793909" y="1718208"/>
                    <a:pt x="800576" y="1730590"/>
                  </a:cubicBezTo>
                  <a:cubicBezTo>
                    <a:pt x="808196" y="1742020"/>
                    <a:pt x="823436" y="1745830"/>
                    <a:pt x="835819" y="1739163"/>
                  </a:cubicBezTo>
                  <a:lnTo>
                    <a:pt x="875824" y="1714397"/>
                  </a:lnTo>
                  <a:lnTo>
                    <a:pt x="875824" y="1715350"/>
                  </a:lnTo>
                  <a:lnTo>
                    <a:pt x="875824" y="1774405"/>
                  </a:lnTo>
                  <a:cubicBezTo>
                    <a:pt x="875824" y="1788692"/>
                    <a:pt x="887254" y="1800122"/>
                    <a:pt x="901541" y="1800122"/>
                  </a:cubicBezTo>
                  <a:cubicBezTo>
                    <a:pt x="914876" y="1800122"/>
                    <a:pt x="926306" y="1788692"/>
                    <a:pt x="926306" y="1774405"/>
                  </a:cubicBezTo>
                  <a:lnTo>
                    <a:pt x="927259" y="1723922"/>
                  </a:lnTo>
                  <a:lnTo>
                    <a:pt x="927259" y="1723922"/>
                  </a:lnTo>
                  <a:lnTo>
                    <a:pt x="951071" y="1740115"/>
                  </a:lnTo>
                  <a:cubicBezTo>
                    <a:pt x="962501" y="1747735"/>
                    <a:pt x="978694" y="1744877"/>
                    <a:pt x="986314" y="1733447"/>
                  </a:cubicBezTo>
                  <a:cubicBezTo>
                    <a:pt x="993934" y="1722017"/>
                    <a:pt x="991076" y="1705825"/>
                    <a:pt x="979646" y="1698205"/>
                  </a:cubicBezTo>
                  <a:lnTo>
                    <a:pt x="926306" y="1662010"/>
                  </a:lnTo>
                  <a:lnTo>
                    <a:pt x="926306" y="1662010"/>
                  </a:lnTo>
                  <a:lnTo>
                    <a:pt x="926306" y="1600097"/>
                  </a:lnTo>
                  <a:lnTo>
                    <a:pt x="926306" y="1599145"/>
                  </a:lnTo>
                  <a:lnTo>
                    <a:pt x="926306" y="1599145"/>
                  </a:lnTo>
                  <a:lnTo>
                    <a:pt x="997744" y="1646770"/>
                  </a:lnTo>
                  <a:cubicBezTo>
                    <a:pt x="1009174" y="1654390"/>
                    <a:pt x="1025366" y="1651533"/>
                    <a:pt x="1032986" y="1640102"/>
                  </a:cubicBezTo>
                  <a:cubicBezTo>
                    <a:pt x="1040606" y="1628672"/>
                    <a:pt x="1037749" y="1612480"/>
                    <a:pt x="1026319" y="1604860"/>
                  </a:cubicBezTo>
                  <a:lnTo>
                    <a:pt x="927259" y="1538185"/>
                  </a:lnTo>
                  <a:lnTo>
                    <a:pt x="927259" y="1538185"/>
                  </a:lnTo>
                  <a:lnTo>
                    <a:pt x="928211" y="1463890"/>
                  </a:lnTo>
                  <a:lnTo>
                    <a:pt x="928211" y="1463890"/>
                  </a:lnTo>
                  <a:lnTo>
                    <a:pt x="1051084" y="1546758"/>
                  </a:lnTo>
                  <a:cubicBezTo>
                    <a:pt x="1062514" y="1554377"/>
                    <a:pt x="1078706" y="1551520"/>
                    <a:pt x="1086326" y="1540090"/>
                  </a:cubicBezTo>
                  <a:cubicBezTo>
                    <a:pt x="1093946" y="1528660"/>
                    <a:pt x="1091089" y="1512467"/>
                    <a:pt x="1079659" y="1504847"/>
                  </a:cubicBezTo>
                  <a:lnTo>
                    <a:pt x="927259" y="1402930"/>
                  </a:lnTo>
                  <a:lnTo>
                    <a:pt x="927259" y="1402930"/>
                  </a:lnTo>
                  <a:lnTo>
                    <a:pt x="927259" y="1323872"/>
                  </a:lnTo>
                  <a:lnTo>
                    <a:pt x="1097756" y="1443888"/>
                  </a:lnTo>
                  <a:cubicBezTo>
                    <a:pt x="1111091" y="1453413"/>
                    <a:pt x="1133951" y="1444840"/>
                    <a:pt x="1136809" y="1427695"/>
                  </a:cubicBezTo>
                  <a:lnTo>
                    <a:pt x="1176814" y="1222907"/>
                  </a:lnTo>
                  <a:lnTo>
                    <a:pt x="1231106" y="1279105"/>
                  </a:lnTo>
                  <a:lnTo>
                    <a:pt x="1231106" y="1279105"/>
                  </a:lnTo>
                  <a:lnTo>
                    <a:pt x="1192054" y="1458175"/>
                  </a:lnTo>
                  <a:cubicBezTo>
                    <a:pt x="1189196" y="1471510"/>
                    <a:pt x="1197769" y="1484845"/>
                    <a:pt x="1211104" y="1487702"/>
                  </a:cubicBezTo>
                  <a:cubicBezTo>
                    <a:pt x="1224439" y="1490560"/>
                    <a:pt x="1237774" y="1481988"/>
                    <a:pt x="1241584" y="1468652"/>
                  </a:cubicBezTo>
                  <a:lnTo>
                    <a:pt x="1273016" y="1323872"/>
                  </a:lnTo>
                  <a:lnTo>
                    <a:pt x="1273016" y="1323872"/>
                  </a:lnTo>
                  <a:lnTo>
                    <a:pt x="1325404" y="1377213"/>
                  </a:lnTo>
                  <a:lnTo>
                    <a:pt x="1325404" y="1377213"/>
                  </a:lnTo>
                  <a:lnTo>
                    <a:pt x="1300639" y="1494370"/>
                  </a:lnTo>
                  <a:cubicBezTo>
                    <a:pt x="1297781" y="1507705"/>
                    <a:pt x="1306354" y="1521040"/>
                    <a:pt x="1319689" y="1524850"/>
                  </a:cubicBezTo>
                  <a:cubicBezTo>
                    <a:pt x="1333024" y="1527708"/>
                    <a:pt x="1346359" y="1519135"/>
                    <a:pt x="1350169" y="1505800"/>
                  </a:cubicBezTo>
                  <a:lnTo>
                    <a:pt x="1368266" y="1421980"/>
                  </a:lnTo>
                  <a:lnTo>
                    <a:pt x="1368266" y="1421980"/>
                  </a:lnTo>
                  <a:lnTo>
                    <a:pt x="1368266" y="1422933"/>
                  </a:lnTo>
                  <a:lnTo>
                    <a:pt x="1411129" y="1467700"/>
                  </a:lnTo>
                  <a:lnTo>
                    <a:pt x="1411129" y="1467700"/>
                  </a:lnTo>
                  <a:lnTo>
                    <a:pt x="1397794" y="1530565"/>
                  </a:lnTo>
                  <a:cubicBezTo>
                    <a:pt x="1394936" y="1543900"/>
                    <a:pt x="1403509" y="1558188"/>
                    <a:pt x="1416844" y="1561045"/>
                  </a:cubicBezTo>
                  <a:cubicBezTo>
                    <a:pt x="1430179" y="1563902"/>
                    <a:pt x="1443514" y="1555330"/>
                    <a:pt x="1447324" y="1541995"/>
                  </a:cubicBezTo>
                  <a:lnTo>
                    <a:pt x="1453039" y="1513420"/>
                  </a:lnTo>
                  <a:lnTo>
                    <a:pt x="1453039" y="1513420"/>
                  </a:lnTo>
                  <a:lnTo>
                    <a:pt x="1488281" y="1549615"/>
                  </a:lnTo>
                  <a:cubicBezTo>
                    <a:pt x="1497806" y="1560092"/>
                    <a:pt x="1513999" y="1560092"/>
                    <a:pt x="1523524" y="1550567"/>
                  </a:cubicBezTo>
                  <a:cubicBezTo>
                    <a:pt x="1534001" y="1541042"/>
                    <a:pt x="1534001" y="1524850"/>
                    <a:pt x="1524476" y="1514372"/>
                  </a:cubicBezTo>
                  <a:lnTo>
                    <a:pt x="1483519" y="1472463"/>
                  </a:lnTo>
                  <a:lnTo>
                    <a:pt x="1482566" y="1471510"/>
                  </a:lnTo>
                  <a:lnTo>
                    <a:pt x="1528286" y="1461985"/>
                  </a:lnTo>
                  <a:cubicBezTo>
                    <a:pt x="1541621" y="1459127"/>
                    <a:pt x="1550194" y="1445792"/>
                    <a:pt x="1547336" y="1431505"/>
                  </a:cubicBezTo>
                  <a:cubicBezTo>
                    <a:pt x="1544479" y="1418170"/>
                    <a:pt x="1531144" y="1409597"/>
                    <a:pt x="1516856" y="1412455"/>
                  </a:cubicBezTo>
                  <a:lnTo>
                    <a:pt x="1440656" y="1428647"/>
                  </a:lnTo>
                  <a:lnTo>
                    <a:pt x="1397794" y="1379117"/>
                  </a:lnTo>
                  <a:lnTo>
                    <a:pt x="1397794" y="1379117"/>
                  </a:lnTo>
                  <a:lnTo>
                    <a:pt x="1495901" y="1358163"/>
                  </a:lnTo>
                  <a:cubicBezTo>
                    <a:pt x="1509236" y="1355305"/>
                    <a:pt x="1517809" y="1341970"/>
                    <a:pt x="1514951" y="1327683"/>
                  </a:cubicBezTo>
                  <a:cubicBezTo>
                    <a:pt x="1512094" y="1314347"/>
                    <a:pt x="1498759" y="1305775"/>
                    <a:pt x="1484471" y="1308633"/>
                  </a:cubicBezTo>
                  <a:lnTo>
                    <a:pt x="1355884" y="1336255"/>
                  </a:lnTo>
                  <a:lnTo>
                    <a:pt x="1355884" y="1336255"/>
                  </a:lnTo>
                  <a:lnTo>
                    <a:pt x="1313021" y="1291488"/>
                  </a:lnTo>
                  <a:lnTo>
                    <a:pt x="1313021" y="1291488"/>
                  </a:lnTo>
                  <a:lnTo>
                    <a:pt x="1448276" y="1261960"/>
                  </a:lnTo>
                  <a:cubicBezTo>
                    <a:pt x="1461611" y="1259102"/>
                    <a:pt x="1470184" y="1245767"/>
                    <a:pt x="1467326" y="1231480"/>
                  </a:cubicBezTo>
                  <a:cubicBezTo>
                    <a:pt x="1464469" y="1218145"/>
                    <a:pt x="1451134" y="1209572"/>
                    <a:pt x="1436846" y="1212430"/>
                  </a:cubicBezTo>
                  <a:lnTo>
                    <a:pt x="1271111" y="1248625"/>
                  </a:lnTo>
                  <a:lnTo>
                    <a:pt x="1271111" y="1248625"/>
                  </a:lnTo>
                  <a:lnTo>
                    <a:pt x="1218724" y="1194332"/>
                  </a:lnTo>
                  <a:lnTo>
                    <a:pt x="1431131" y="1150517"/>
                  </a:lnTo>
                  <a:cubicBezTo>
                    <a:pt x="1439704" y="1149565"/>
                    <a:pt x="1445419" y="1143850"/>
                    <a:pt x="1449229" y="1135277"/>
                  </a:cubicBezTo>
                  <a:cubicBezTo>
                    <a:pt x="1451134" y="1127657"/>
                    <a:pt x="1451134" y="1119085"/>
                    <a:pt x="1447324" y="1112417"/>
                  </a:cubicBezTo>
                  <a:lnTo>
                    <a:pt x="1332071" y="929537"/>
                  </a:lnTo>
                  <a:lnTo>
                    <a:pt x="1407319" y="929537"/>
                  </a:lnTo>
                  <a:lnTo>
                    <a:pt x="1495901" y="1073365"/>
                  </a:lnTo>
                  <a:cubicBezTo>
                    <a:pt x="1503521" y="1084795"/>
                    <a:pt x="1519714" y="1088605"/>
                    <a:pt x="1531144" y="1081938"/>
                  </a:cubicBezTo>
                  <a:cubicBezTo>
                    <a:pt x="1542574" y="1074317"/>
                    <a:pt x="1546384" y="1059077"/>
                    <a:pt x="1539716" y="1046695"/>
                  </a:cubicBezTo>
                  <a:lnTo>
                    <a:pt x="1467326" y="929537"/>
                  </a:lnTo>
                  <a:lnTo>
                    <a:pt x="1529239" y="929537"/>
                  </a:lnTo>
                  <a:lnTo>
                    <a:pt x="1530191" y="929537"/>
                  </a:lnTo>
                  <a:lnTo>
                    <a:pt x="1598771" y="1040980"/>
                  </a:lnTo>
                  <a:cubicBezTo>
                    <a:pt x="1606391" y="1052410"/>
                    <a:pt x="1622584" y="1056220"/>
                    <a:pt x="1634014" y="1049552"/>
                  </a:cubicBezTo>
                  <a:cubicBezTo>
                    <a:pt x="1645444" y="1041932"/>
                    <a:pt x="1649254" y="1026692"/>
                    <a:pt x="1642586" y="1014310"/>
                  </a:cubicBezTo>
                  <a:lnTo>
                    <a:pt x="1590199" y="928585"/>
                  </a:lnTo>
                  <a:lnTo>
                    <a:pt x="1653064" y="928585"/>
                  </a:lnTo>
                  <a:lnTo>
                    <a:pt x="1653064" y="928585"/>
                  </a:lnTo>
                  <a:lnTo>
                    <a:pt x="1694021" y="994307"/>
                  </a:lnTo>
                  <a:cubicBezTo>
                    <a:pt x="1701641" y="1005737"/>
                    <a:pt x="1717834" y="1009547"/>
                    <a:pt x="1729264" y="1002880"/>
                  </a:cubicBezTo>
                  <a:cubicBezTo>
                    <a:pt x="1740694" y="995260"/>
                    <a:pt x="1744504" y="980020"/>
                    <a:pt x="1737836" y="967637"/>
                  </a:cubicBezTo>
                  <a:lnTo>
                    <a:pt x="1714024" y="928585"/>
                  </a:lnTo>
                  <a:lnTo>
                    <a:pt x="1714024" y="928585"/>
                  </a:lnTo>
                  <a:lnTo>
                    <a:pt x="1774031" y="928585"/>
                  </a:lnTo>
                  <a:cubicBezTo>
                    <a:pt x="1787366" y="928585"/>
                    <a:pt x="1798796" y="917155"/>
                    <a:pt x="1798796" y="902867"/>
                  </a:cubicBezTo>
                  <a:cubicBezTo>
                    <a:pt x="1798796" y="888580"/>
                    <a:pt x="1787366" y="877150"/>
                    <a:pt x="1773079" y="877150"/>
                  </a:cubicBezTo>
                  <a:lnTo>
                    <a:pt x="1722596" y="878102"/>
                  </a:lnTo>
                  <a:lnTo>
                    <a:pt x="1722596" y="878102"/>
                  </a:lnTo>
                  <a:lnTo>
                    <a:pt x="1738789" y="853337"/>
                  </a:lnTo>
                  <a:cubicBezTo>
                    <a:pt x="1746409" y="841907"/>
                    <a:pt x="1743551" y="825715"/>
                    <a:pt x="1732121" y="818095"/>
                  </a:cubicBezTo>
                  <a:cubicBezTo>
                    <a:pt x="1724501" y="813332"/>
                    <a:pt x="1715929" y="812380"/>
                    <a:pt x="1708309" y="815237"/>
                  </a:cubicBezTo>
                  <a:cubicBezTo>
                    <a:pt x="1703546" y="817142"/>
                    <a:pt x="1699736" y="820000"/>
                    <a:pt x="1696879" y="824762"/>
                  </a:cubicBezTo>
                  <a:lnTo>
                    <a:pt x="1661636" y="877150"/>
                  </a:lnTo>
                  <a:lnTo>
                    <a:pt x="1661636" y="877150"/>
                  </a:lnTo>
                  <a:lnTo>
                    <a:pt x="1598771" y="877150"/>
                  </a:lnTo>
                  <a:lnTo>
                    <a:pt x="1646396" y="806665"/>
                  </a:lnTo>
                  <a:cubicBezTo>
                    <a:pt x="1654016" y="795235"/>
                    <a:pt x="1651159" y="779042"/>
                    <a:pt x="1639729" y="771422"/>
                  </a:cubicBezTo>
                  <a:cubicBezTo>
                    <a:pt x="1632109" y="766660"/>
                    <a:pt x="1623536" y="765707"/>
                    <a:pt x="1615916" y="768565"/>
                  </a:cubicBezTo>
                  <a:cubicBezTo>
                    <a:pt x="1611154" y="770470"/>
                    <a:pt x="1607344" y="773327"/>
                    <a:pt x="1604486" y="778090"/>
                  </a:cubicBezTo>
                  <a:lnTo>
                    <a:pt x="1537811" y="877150"/>
                  </a:lnTo>
                  <a:lnTo>
                    <a:pt x="1462564" y="877150"/>
                  </a:lnTo>
                  <a:lnTo>
                    <a:pt x="1462564" y="877150"/>
                  </a:lnTo>
                  <a:lnTo>
                    <a:pt x="1545431" y="754277"/>
                  </a:lnTo>
                  <a:cubicBezTo>
                    <a:pt x="1553051" y="742847"/>
                    <a:pt x="1550194" y="726655"/>
                    <a:pt x="1538764" y="719035"/>
                  </a:cubicBezTo>
                  <a:cubicBezTo>
                    <a:pt x="1531144" y="714272"/>
                    <a:pt x="1522571" y="713320"/>
                    <a:pt x="1514951" y="716177"/>
                  </a:cubicBezTo>
                  <a:cubicBezTo>
                    <a:pt x="1510189" y="718082"/>
                    <a:pt x="1506379" y="720940"/>
                    <a:pt x="1503521" y="725702"/>
                  </a:cubicBezTo>
                  <a:lnTo>
                    <a:pt x="1401604" y="878102"/>
                  </a:lnTo>
                  <a:lnTo>
                    <a:pt x="1322546" y="877150"/>
                  </a:lnTo>
                  <a:lnTo>
                    <a:pt x="1443514" y="706652"/>
                  </a:lnTo>
                  <a:cubicBezTo>
                    <a:pt x="1448276" y="699032"/>
                    <a:pt x="1449229" y="690460"/>
                    <a:pt x="1445419" y="682840"/>
                  </a:cubicBezTo>
                  <a:cubicBezTo>
                    <a:pt x="1441609" y="674267"/>
                    <a:pt x="1434941" y="668552"/>
                    <a:pt x="1427321" y="667600"/>
                  </a:cubicBezTo>
                  <a:lnTo>
                    <a:pt x="1221581" y="628547"/>
                  </a:lnTo>
                  <a:lnTo>
                    <a:pt x="1278731" y="573302"/>
                  </a:lnTo>
                  <a:lnTo>
                    <a:pt x="1456849" y="611402"/>
                  </a:lnTo>
                  <a:cubicBezTo>
                    <a:pt x="1470184" y="614260"/>
                    <a:pt x="1483519" y="605687"/>
                    <a:pt x="1487329" y="592352"/>
                  </a:cubicBezTo>
                  <a:cubicBezTo>
                    <a:pt x="1490186" y="579017"/>
                    <a:pt x="1481614" y="565682"/>
                    <a:pt x="1468279" y="561872"/>
                  </a:cubicBezTo>
                  <a:lnTo>
                    <a:pt x="1321594" y="532345"/>
                  </a:lnTo>
                  <a:lnTo>
                    <a:pt x="1374934" y="479957"/>
                  </a:lnTo>
                  <a:lnTo>
                    <a:pt x="1492091" y="504722"/>
                  </a:lnTo>
                  <a:cubicBezTo>
                    <a:pt x="1505426" y="507580"/>
                    <a:pt x="1518761" y="499007"/>
                    <a:pt x="1522571" y="485672"/>
                  </a:cubicBezTo>
                  <a:cubicBezTo>
                    <a:pt x="1525429" y="472337"/>
                    <a:pt x="1516856" y="459002"/>
                    <a:pt x="1503521" y="455192"/>
                  </a:cubicBezTo>
                  <a:lnTo>
                    <a:pt x="1420654" y="437095"/>
                  </a:lnTo>
                  <a:lnTo>
                    <a:pt x="1420654" y="437095"/>
                  </a:lnTo>
                  <a:lnTo>
                    <a:pt x="1466374" y="393280"/>
                  </a:lnTo>
                  <a:lnTo>
                    <a:pt x="1528286" y="406615"/>
                  </a:lnTo>
                  <a:cubicBezTo>
                    <a:pt x="1541621" y="409472"/>
                    <a:pt x="1554956" y="400900"/>
                    <a:pt x="1558766" y="387565"/>
                  </a:cubicBezTo>
                  <a:cubicBezTo>
                    <a:pt x="1561624" y="374230"/>
                    <a:pt x="1553051" y="360895"/>
                    <a:pt x="1539716" y="357085"/>
                  </a:cubicBezTo>
                  <a:lnTo>
                    <a:pt x="1510189" y="350417"/>
                  </a:lnTo>
                  <a:lnTo>
                    <a:pt x="1510189" y="350417"/>
                  </a:lnTo>
                  <a:lnTo>
                    <a:pt x="1546384" y="316127"/>
                  </a:lnTo>
                  <a:cubicBezTo>
                    <a:pt x="1555909" y="307555"/>
                    <a:pt x="1555909" y="290410"/>
                    <a:pt x="1546384" y="280885"/>
                  </a:cubicBezTo>
                  <a:close/>
                  <a:moveTo>
                    <a:pt x="1257776" y="879055"/>
                  </a:moveTo>
                  <a:lnTo>
                    <a:pt x="1110139" y="880007"/>
                  </a:lnTo>
                  <a:lnTo>
                    <a:pt x="1109186" y="828572"/>
                  </a:lnTo>
                  <a:cubicBezTo>
                    <a:pt x="1109186" y="821905"/>
                    <a:pt x="1106329" y="815237"/>
                    <a:pt x="1102519" y="811427"/>
                  </a:cubicBezTo>
                  <a:lnTo>
                    <a:pt x="1068229" y="774280"/>
                  </a:lnTo>
                  <a:lnTo>
                    <a:pt x="1175861" y="671410"/>
                  </a:lnTo>
                  <a:lnTo>
                    <a:pt x="1376839" y="710462"/>
                  </a:lnTo>
                  <a:lnTo>
                    <a:pt x="1258729" y="877150"/>
                  </a:lnTo>
                  <a:lnTo>
                    <a:pt x="1257776" y="879055"/>
                  </a:lnTo>
                  <a:close/>
                  <a:moveTo>
                    <a:pt x="1059656" y="879055"/>
                  </a:moveTo>
                  <a:lnTo>
                    <a:pt x="1060609" y="929537"/>
                  </a:lnTo>
                  <a:lnTo>
                    <a:pt x="1061561" y="969542"/>
                  </a:lnTo>
                  <a:lnTo>
                    <a:pt x="1032034" y="997165"/>
                  </a:lnTo>
                  <a:lnTo>
                    <a:pt x="994886" y="1031455"/>
                  </a:lnTo>
                  <a:lnTo>
                    <a:pt x="965359" y="1059077"/>
                  </a:lnTo>
                  <a:lnTo>
                    <a:pt x="925354" y="1060030"/>
                  </a:lnTo>
                  <a:lnTo>
                    <a:pt x="874871" y="1060982"/>
                  </a:lnTo>
                  <a:lnTo>
                    <a:pt x="834866" y="1061935"/>
                  </a:lnTo>
                  <a:lnTo>
                    <a:pt x="807244" y="1032407"/>
                  </a:lnTo>
                  <a:lnTo>
                    <a:pt x="772954" y="995260"/>
                  </a:lnTo>
                  <a:lnTo>
                    <a:pt x="745331" y="965732"/>
                  </a:lnTo>
                  <a:lnTo>
                    <a:pt x="744379" y="925727"/>
                  </a:lnTo>
                  <a:lnTo>
                    <a:pt x="743426" y="875245"/>
                  </a:lnTo>
                  <a:lnTo>
                    <a:pt x="742474" y="835240"/>
                  </a:lnTo>
                  <a:lnTo>
                    <a:pt x="772001" y="807617"/>
                  </a:lnTo>
                  <a:lnTo>
                    <a:pt x="809149" y="773327"/>
                  </a:lnTo>
                  <a:lnTo>
                    <a:pt x="838676" y="745705"/>
                  </a:lnTo>
                  <a:lnTo>
                    <a:pt x="878681" y="744752"/>
                  </a:lnTo>
                  <a:lnTo>
                    <a:pt x="929164" y="743800"/>
                  </a:lnTo>
                  <a:lnTo>
                    <a:pt x="969169" y="742847"/>
                  </a:lnTo>
                  <a:lnTo>
                    <a:pt x="996791" y="772375"/>
                  </a:lnTo>
                  <a:lnTo>
                    <a:pt x="1031081" y="809522"/>
                  </a:lnTo>
                  <a:lnTo>
                    <a:pt x="1057751" y="839050"/>
                  </a:lnTo>
                  <a:lnTo>
                    <a:pt x="1059656" y="879055"/>
                  </a:lnTo>
                  <a:close/>
                  <a:moveTo>
                    <a:pt x="1178719" y="1150517"/>
                  </a:moveTo>
                  <a:lnTo>
                    <a:pt x="1066324" y="1033360"/>
                  </a:lnTo>
                  <a:lnTo>
                    <a:pt x="1103471" y="999070"/>
                  </a:lnTo>
                  <a:cubicBezTo>
                    <a:pt x="1109186" y="994307"/>
                    <a:pt x="1112044" y="987640"/>
                    <a:pt x="1112044" y="980020"/>
                  </a:cubicBezTo>
                  <a:lnTo>
                    <a:pt x="1111091" y="929537"/>
                  </a:lnTo>
                  <a:lnTo>
                    <a:pt x="1272064" y="928585"/>
                  </a:lnTo>
                  <a:lnTo>
                    <a:pt x="1384459" y="1107655"/>
                  </a:lnTo>
                  <a:lnTo>
                    <a:pt x="1178719" y="1150517"/>
                  </a:lnTo>
                  <a:close/>
                  <a:moveTo>
                    <a:pt x="926306" y="1260055"/>
                  </a:moveTo>
                  <a:lnTo>
                    <a:pt x="925354" y="1111465"/>
                  </a:lnTo>
                  <a:lnTo>
                    <a:pt x="975836" y="1110513"/>
                  </a:lnTo>
                  <a:cubicBezTo>
                    <a:pt x="982504" y="1110513"/>
                    <a:pt x="988219" y="1107655"/>
                    <a:pt x="992981" y="1103845"/>
                  </a:cubicBezTo>
                  <a:lnTo>
                    <a:pt x="1030129" y="1069555"/>
                  </a:lnTo>
                  <a:lnTo>
                    <a:pt x="1132999" y="1177188"/>
                  </a:lnTo>
                  <a:lnTo>
                    <a:pt x="1093946" y="1378165"/>
                  </a:lnTo>
                  <a:lnTo>
                    <a:pt x="926306" y="1260055"/>
                  </a:lnTo>
                  <a:close/>
                  <a:moveTo>
                    <a:pt x="652939" y="1179092"/>
                  </a:moveTo>
                  <a:lnTo>
                    <a:pt x="769144" y="1067650"/>
                  </a:lnTo>
                  <a:lnTo>
                    <a:pt x="803434" y="1104797"/>
                  </a:lnTo>
                  <a:cubicBezTo>
                    <a:pt x="809149" y="1110513"/>
                    <a:pt x="815816" y="1113370"/>
                    <a:pt x="822484" y="1112417"/>
                  </a:cubicBezTo>
                  <a:lnTo>
                    <a:pt x="872966" y="1111465"/>
                  </a:lnTo>
                  <a:lnTo>
                    <a:pt x="872966" y="1274342"/>
                  </a:lnTo>
                  <a:lnTo>
                    <a:pt x="694849" y="1386738"/>
                  </a:lnTo>
                  <a:lnTo>
                    <a:pt x="652939" y="1179092"/>
                  </a:lnTo>
                  <a:close/>
                  <a:moveTo>
                    <a:pt x="545306" y="926680"/>
                  </a:moveTo>
                  <a:lnTo>
                    <a:pt x="693896" y="925727"/>
                  </a:lnTo>
                  <a:lnTo>
                    <a:pt x="694849" y="976210"/>
                  </a:lnTo>
                  <a:cubicBezTo>
                    <a:pt x="694849" y="981925"/>
                    <a:pt x="697706" y="988592"/>
                    <a:pt x="701516" y="993355"/>
                  </a:cubicBezTo>
                  <a:lnTo>
                    <a:pt x="735806" y="1030502"/>
                  </a:lnTo>
                  <a:lnTo>
                    <a:pt x="628174" y="1132420"/>
                  </a:lnTo>
                  <a:lnTo>
                    <a:pt x="627221" y="1131467"/>
                  </a:lnTo>
                  <a:lnTo>
                    <a:pt x="426244" y="1093367"/>
                  </a:lnTo>
                  <a:lnTo>
                    <a:pt x="545306" y="926680"/>
                  </a:lnTo>
                  <a:close/>
                  <a:moveTo>
                    <a:pt x="626269" y="654265"/>
                  </a:moveTo>
                  <a:lnTo>
                    <a:pt x="737711" y="770470"/>
                  </a:lnTo>
                  <a:lnTo>
                    <a:pt x="700564" y="804760"/>
                  </a:lnTo>
                  <a:cubicBezTo>
                    <a:pt x="694849" y="809522"/>
                    <a:pt x="691991" y="817142"/>
                    <a:pt x="691991" y="823810"/>
                  </a:cubicBezTo>
                  <a:lnTo>
                    <a:pt x="692944" y="875245"/>
                  </a:lnTo>
                  <a:lnTo>
                    <a:pt x="531971" y="876197"/>
                  </a:lnTo>
                  <a:lnTo>
                    <a:pt x="418624" y="697127"/>
                  </a:lnTo>
                  <a:lnTo>
                    <a:pt x="626269" y="654265"/>
                  </a:lnTo>
                  <a:close/>
                  <a:moveTo>
                    <a:pt x="877729" y="545680"/>
                  </a:moveTo>
                  <a:lnTo>
                    <a:pt x="877729" y="695222"/>
                  </a:lnTo>
                  <a:lnTo>
                    <a:pt x="827246" y="696175"/>
                  </a:lnTo>
                  <a:cubicBezTo>
                    <a:pt x="824389" y="696175"/>
                    <a:pt x="820579" y="696175"/>
                    <a:pt x="817721" y="698080"/>
                  </a:cubicBezTo>
                  <a:cubicBezTo>
                    <a:pt x="814864" y="699032"/>
                    <a:pt x="812959" y="700937"/>
                    <a:pt x="810101" y="703795"/>
                  </a:cubicBezTo>
                  <a:lnTo>
                    <a:pt x="773906" y="738085"/>
                  </a:lnTo>
                  <a:lnTo>
                    <a:pt x="671989" y="629500"/>
                  </a:lnTo>
                  <a:lnTo>
                    <a:pt x="711041" y="428522"/>
                  </a:lnTo>
                  <a:lnTo>
                    <a:pt x="877729" y="545680"/>
                  </a:lnTo>
                  <a:close/>
                  <a:moveTo>
                    <a:pt x="1151096" y="626642"/>
                  </a:moveTo>
                  <a:lnTo>
                    <a:pt x="1034891" y="738085"/>
                  </a:lnTo>
                  <a:lnTo>
                    <a:pt x="999649" y="699985"/>
                  </a:lnTo>
                  <a:cubicBezTo>
                    <a:pt x="994886" y="695222"/>
                    <a:pt x="987266" y="691412"/>
                    <a:pt x="980599" y="692365"/>
                  </a:cubicBezTo>
                  <a:lnTo>
                    <a:pt x="929164" y="693317"/>
                  </a:lnTo>
                  <a:lnTo>
                    <a:pt x="928211" y="532345"/>
                  </a:lnTo>
                  <a:lnTo>
                    <a:pt x="1107281" y="419950"/>
                  </a:lnTo>
                  <a:lnTo>
                    <a:pt x="1151096" y="626642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87755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2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+mn-ea"/>
                <a:cs typeface="+mn-cs"/>
              </a:endParaRPr>
            </a:p>
          </p:txBody>
        </p:sp>
        <p:sp>
          <p:nvSpPr>
            <p:cNvPr id="24" name="Graphic 12">
              <a:extLst>
                <a:ext uri="{FF2B5EF4-FFF2-40B4-BE49-F238E27FC236}">
                  <a16:creationId xmlns:a16="http://schemas.microsoft.com/office/drawing/2014/main" id="{28E93EFC-542D-405A-934D-B37612B79FAC}"/>
                </a:ext>
              </a:extLst>
            </p:cNvPr>
            <p:cNvSpPr/>
            <p:nvPr userDrawn="1"/>
          </p:nvSpPr>
          <p:spPr>
            <a:xfrm rot="1218983">
              <a:off x="8828331" y="4599434"/>
              <a:ext cx="706875" cy="706875"/>
            </a:xfrm>
            <a:custGeom>
              <a:avLst/>
              <a:gdLst>
                <a:gd name="connsiteX0" fmla="*/ 1546384 w 1800225"/>
                <a:gd name="connsiteY0" fmla="*/ 280885 h 1800225"/>
                <a:gd name="connsiteX1" fmla="*/ 1511141 w 1800225"/>
                <a:gd name="connsiteY1" fmla="*/ 279932 h 1800225"/>
                <a:gd name="connsiteX2" fmla="*/ 1467326 w 1800225"/>
                <a:gd name="connsiteY2" fmla="*/ 320890 h 1800225"/>
                <a:gd name="connsiteX3" fmla="*/ 1457801 w 1800225"/>
                <a:gd name="connsiteY3" fmla="*/ 275170 h 1800225"/>
                <a:gd name="connsiteX4" fmla="*/ 1427321 w 1800225"/>
                <a:gd name="connsiteY4" fmla="*/ 256120 h 1800225"/>
                <a:gd name="connsiteX5" fmla="*/ 1423511 w 1800225"/>
                <a:gd name="connsiteY5" fmla="*/ 257072 h 1800225"/>
                <a:gd name="connsiteX6" fmla="*/ 1408271 w 1800225"/>
                <a:gd name="connsiteY6" fmla="*/ 285647 h 1800225"/>
                <a:gd name="connsiteX7" fmla="*/ 1424464 w 1800225"/>
                <a:gd name="connsiteY7" fmla="*/ 361847 h 1800225"/>
                <a:gd name="connsiteX8" fmla="*/ 1424464 w 1800225"/>
                <a:gd name="connsiteY8" fmla="*/ 361847 h 1800225"/>
                <a:gd name="connsiteX9" fmla="*/ 1378744 w 1800225"/>
                <a:gd name="connsiteY9" fmla="*/ 405662 h 1800225"/>
                <a:gd name="connsiteX10" fmla="*/ 1378744 w 1800225"/>
                <a:gd name="connsiteY10" fmla="*/ 405662 h 1800225"/>
                <a:gd name="connsiteX11" fmla="*/ 1356836 w 1800225"/>
                <a:gd name="connsiteY11" fmla="*/ 306602 h 1800225"/>
                <a:gd name="connsiteX12" fmla="*/ 1326356 w 1800225"/>
                <a:gd name="connsiteY12" fmla="*/ 287552 h 1800225"/>
                <a:gd name="connsiteX13" fmla="*/ 1322546 w 1800225"/>
                <a:gd name="connsiteY13" fmla="*/ 288505 h 1800225"/>
                <a:gd name="connsiteX14" fmla="*/ 1307306 w 1800225"/>
                <a:gd name="connsiteY14" fmla="*/ 317080 h 1800225"/>
                <a:gd name="connsiteX15" fmla="*/ 1335881 w 1800225"/>
                <a:gd name="connsiteY15" fmla="*/ 445667 h 1800225"/>
                <a:gd name="connsiteX16" fmla="*/ 1335881 w 1800225"/>
                <a:gd name="connsiteY16" fmla="*/ 445667 h 1800225"/>
                <a:gd name="connsiteX17" fmla="*/ 1291114 w 1800225"/>
                <a:gd name="connsiteY17" fmla="*/ 488530 h 1800225"/>
                <a:gd name="connsiteX18" fmla="*/ 1291114 w 1800225"/>
                <a:gd name="connsiteY18" fmla="*/ 488530 h 1800225"/>
                <a:gd name="connsiteX19" fmla="*/ 1261586 w 1800225"/>
                <a:gd name="connsiteY19" fmla="*/ 353275 h 1800225"/>
                <a:gd name="connsiteX20" fmla="*/ 1231106 w 1800225"/>
                <a:gd name="connsiteY20" fmla="*/ 334225 h 1800225"/>
                <a:gd name="connsiteX21" fmla="*/ 1227296 w 1800225"/>
                <a:gd name="connsiteY21" fmla="*/ 335177 h 1800225"/>
                <a:gd name="connsiteX22" fmla="*/ 1212056 w 1800225"/>
                <a:gd name="connsiteY22" fmla="*/ 363752 h 1800225"/>
                <a:gd name="connsiteX23" fmla="*/ 1248251 w 1800225"/>
                <a:gd name="connsiteY23" fmla="*/ 529487 h 1800225"/>
                <a:gd name="connsiteX24" fmla="*/ 1193959 w 1800225"/>
                <a:gd name="connsiteY24" fmla="*/ 581875 h 1800225"/>
                <a:gd name="connsiteX25" fmla="*/ 1150144 w 1800225"/>
                <a:gd name="connsiteY25" fmla="*/ 372325 h 1800225"/>
                <a:gd name="connsiteX26" fmla="*/ 1134904 w 1800225"/>
                <a:gd name="connsiteY26" fmla="*/ 354227 h 1800225"/>
                <a:gd name="connsiteX27" fmla="*/ 1111091 w 1800225"/>
                <a:gd name="connsiteY27" fmla="*/ 356132 h 1800225"/>
                <a:gd name="connsiteX28" fmla="*/ 929164 w 1800225"/>
                <a:gd name="connsiteY28" fmla="*/ 471385 h 1800225"/>
                <a:gd name="connsiteX29" fmla="*/ 928211 w 1800225"/>
                <a:gd name="connsiteY29" fmla="*/ 396137 h 1800225"/>
                <a:gd name="connsiteX30" fmla="*/ 1072991 w 1800225"/>
                <a:gd name="connsiteY30" fmla="*/ 307555 h 1800225"/>
                <a:gd name="connsiteX31" fmla="*/ 1081564 w 1800225"/>
                <a:gd name="connsiteY31" fmla="*/ 272312 h 1800225"/>
                <a:gd name="connsiteX32" fmla="*/ 1046321 w 1800225"/>
                <a:gd name="connsiteY32" fmla="*/ 263740 h 1800225"/>
                <a:gd name="connsiteX33" fmla="*/ 929164 w 1800225"/>
                <a:gd name="connsiteY33" fmla="*/ 336130 h 1800225"/>
                <a:gd name="connsiteX34" fmla="*/ 929164 w 1800225"/>
                <a:gd name="connsiteY34" fmla="*/ 273265 h 1800225"/>
                <a:gd name="connsiteX35" fmla="*/ 1041559 w 1800225"/>
                <a:gd name="connsiteY35" fmla="*/ 203732 h 1800225"/>
                <a:gd name="connsiteX36" fmla="*/ 1050131 w 1800225"/>
                <a:gd name="connsiteY36" fmla="*/ 168490 h 1800225"/>
                <a:gd name="connsiteX37" fmla="*/ 1014889 w 1800225"/>
                <a:gd name="connsiteY37" fmla="*/ 159917 h 1800225"/>
                <a:gd name="connsiteX38" fmla="*/ 929164 w 1800225"/>
                <a:gd name="connsiteY38" fmla="*/ 212305 h 1800225"/>
                <a:gd name="connsiteX39" fmla="*/ 929164 w 1800225"/>
                <a:gd name="connsiteY39" fmla="*/ 149440 h 1800225"/>
                <a:gd name="connsiteX40" fmla="*/ 929164 w 1800225"/>
                <a:gd name="connsiteY40" fmla="*/ 148487 h 1800225"/>
                <a:gd name="connsiteX41" fmla="*/ 994886 w 1800225"/>
                <a:gd name="connsiteY41" fmla="*/ 107530 h 1800225"/>
                <a:gd name="connsiteX42" fmla="*/ 1003459 w 1800225"/>
                <a:gd name="connsiteY42" fmla="*/ 72287 h 1800225"/>
                <a:gd name="connsiteX43" fmla="*/ 968216 w 1800225"/>
                <a:gd name="connsiteY43" fmla="*/ 63715 h 1800225"/>
                <a:gd name="connsiteX44" fmla="*/ 929164 w 1800225"/>
                <a:gd name="connsiteY44" fmla="*/ 88480 h 1800225"/>
                <a:gd name="connsiteX45" fmla="*/ 929164 w 1800225"/>
                <a:gd name="connsiteY45" fmla="*/ 88480 h 1800225"/>
                <a:gd name="connsiteX46" fmla="*/ 929164 w 1800225"/>
                <a:gd name="connsiteY46" fmla="*/ 28472 h 1800225"/>
                <a:gd name="connsiteX47" fmla="*/ 902494 w 1800225"/>
                <a:gd name="connsiteY47" fmla="*/ 7517 h 1800225"/>
                <a:gd name="connsiteX48" fmla="*/ 892969 w 1800225"/>
                <a:gd name="connsiteY48" fmla="*/ 9422 h 1800225"/>
                <a:gd name="connsiteX49" fmla="*/ 876776 w 1800225"/>
                <a:gd name="connsiteY49" fmla="*/ 32282 h 1800225"/>
                <a:gd name="connsiteX50" fmla="*/ 876776 w 1800225"/>
                <a:gd name="connsiteY50" fmla="*/ 82765 h 1800225"/>
                <a:gd name="connsiteX51" fmla="*/ 852011 w 1800225"/>
                <a:gd name="connsiteY51" fmla="*/ 66572 h 1800225"/>
                <a:gd name="connsiteX52" fmla="*/ 829151 w 1800225"/>
                <a:gd name="connsiteY52" fmla="*/ 64667 h 1800225"/>
                <a:gd name="connsiteX53" fmla="*/ 817721 w 1800225"/>
                <a:gd name="connsiteY53" fmla="*/ 74192 h 1800225"/>
                <a:gd name="connsiteX54" fmla="*/ 824389 w 1800225"/>
                <a:gd name="connsiteY54" fmla="*/ 109435 h 1800225"/>
                <a:gd name="connsiteX55" fmla="*/ 877729 w 1800225"/>
                <a:gd name="connsiteY55" fmla="*/ 144677 h 1800225"/>
                <a:gd name="connsiteX56" fmla="*/ 876776 w 1800225"/>
                <a:gd name="connsiteY56" fmla="*/ 206590 h 1800225"/>
                <a:gd name="connsiteX57" fmla="*/ 807244 w 1800225"/>
                <a:gd name="connsiteY57" fmla="*/ 159917 h 1800225"/>
                <a:gd name="connsiteX58" fmla="*/ 783431 w 1800225"/>
                <a:gd name="connsiteY58" fmla="*/ 157060 h 1800225"/>
                <a:gd name="connsiteX59" fmla="*/ 772001 w 1800225"/>
                <a:gd name="connsiteY59" fmla="*/ 166585 h 1800225"/>
                <a:gd name="connsiteX60" fmla="*/ 778669 w 1800225"/>
                <a:gd name="connsiteY60" fmla="*/ 201827 h 1800225"/>
                <a:gd name="connsiteX61" fmla="*/ 877729 w 1800225"/>
                <a:gd name="connsiteY61" fmla="*/ 268502 h 1800225"/>
                <a:gd name="connsiteX62" fmla="*/ 877729 w 1800225"/>
                <a:gd name="connsiteY62" fmla="*/ 268502 h 1800225"/>
                <a:gd name="connsiteX63" fmla="*/ 877729 w 1800225"/>
                <a:gd name="connsiteY63" fmla="*/ 343750 h 1800225"/>
                <a:gd name="connsiteX64" fmla="*/ 754856 w 1800225"/>
                <a:gd name="connsiteY64" fmla="*/ 260882 h 1800225"/>
                <a:gd name="connsiteX65" fmla="*/ 731044 w 1800225"/>
                <a:gd name="connsiteY65" fmla="*/ 258025 h 1800225"/>
                <a:gd name="connsiteX66" fmla="*/ 719614 w 1800225"/>
                <a:gd name="connsiteY66" fmla="*/ 267550 h 1800225"/>
                <a:gd name="connsiteX67" fmla="*/ 726281 w 1800225"/>
                <a:gd name="connsiteY67" fmla="*/ 302792 h 1800225"/>
                <a:gd name="connsiteX68" fmla="*/ 878681 w 1800225"/>
                <a:gd name="connsiteY68" fmla="*/ 404710 h 1800225"/>
                <a:gd name="connsiteX69" fmla="*/ 878681 w 1800225"/>
                <a:gd name="connsiteY69" fmla="*/ 483767 h 1800225"/>
                <a:gd name="connsiteX70" fmla="*/ 707231 w 1800225"/>
                <a:gd name="connsiteY70" fmla="*/ 363752 h 1800225"/>
                <a:gd name="connsiteX71" fmla="*/ 683419 w 1800225"/>
                <a:gd name="connsiteY71" fmla="*/ 361847 h 1800225"/>
                <a:gd name="connsiteX72" fmla="*/ 668179 w 1800225"/>
                <a:gd name="connsiteY72" fmla="*/ 379945 h 1800225"/>
                <a:gd name="connsiteX73" fmla="*/ 628174 w 1800225"/>
                <a:gd name="connsiteY73" fmla="*/ 584732 h 1800225"/>
                <a:gd name="connsiteX74" fmla="*/ 573881 w 1800225"/>
                <a:gd name="connsiteY74" fmla="*/ 528535 h 1800225"/>
                <a:gd name="connsiteX75" fmla="*/ 611981 w 1800225"/>
                <a:gd name="connsiteY75" fmla="*/ 349465 h 1800225"/>
                <a:gd name="connsiteX76" fmla="*/ 592931 w 1800225"/>
                <a:gd name="connsiteY76" fmla="*/ 318985 h 1800225"/>
                <a:gd name="connsiteX77" fmla="*/ 577691 w 1800225"/>
                <a:gd name="connsiteY77" fmla="*/ 319937 h 1800225"/>
                <a:gd name="connsiteX78" fmla="*/ 562451 w 1800225"/>
                <a:gd name="connsiteY78" fmla="*/ 338035 h 1800225"/>
                <a:gd name="connsiteX79" fmla="*/ 531019 w 1800225"/>
                <a:gd name="connsiteY79" fmla="*/ 482815 h 1800225"/>
                <a:gd name="connsiteX80" fmla="*/ 478631 w 1800225"/>
                <a:gd name="connsiteY80" fmla="*/ 428522 h 1800225"/>
                <a:gd name="connsiteX81" fmla="*/ 478631 w 1800225"/>
                <a:gd name="connsiteY81" fmla="*/ 428522 h 1800225"/>
                <a:gd name="connsiteX82" fmla="*/ 504349 w 1800225"/>
                <a:gd name="connsiteY82" fmla="*/ 312317 h 1800225"/>
                <a:gd name="connsiteX83" fmla="*/ 485299 w 1800225"/>
                <a:gd name="connsiteY83" fmla="*/ 281837 h 1800225"/>
                <a:gd name="connsiteX84" fmla="*/ 470059 w 1800225"/>
                <a:gd name="connsiteY84" fmla="*/ 282790 h 1800225"/>
                <a:gd name="connsiteX85" fmla="*/ 454819 w 1800225"/>
                <a:gd name="connsiteY85" fmla="*/ 300887 h 1800225"/>
                <a:gd name="connsiteX86" fmla="*/ 437674 w 1800225"/>
                <a:gd name="connsiteY86" fmla="*/ 382802 h 1800225"/>
                <a:gd name="connsiteX87" fmla="*/ 393859 w 1800225"/>
                <a:gd name="connsiteY87" fmla="*/ 338987 h 1800225"/>
                <a:gd name="connsiteX88" fmla="*/ 407194 w 1800225"/>
                <a:gd name="connsiteY88" fmla="*/ 276122 h 1800225"/>
                <a:gd name="connsiteX89" fmla="*/ 388144 w 1800225"/>
                <a:gd name="connsiteY89" fmla="*/ 245642 h 1800225"/>
                <a:gd name="connsiteX90" fmla="*/ 373856 w 1800225"/>
                <a:gd name="connsiteY90" fmla="*/ 246595 h 1800225"/>
                <a:gd name="connsiteX91" fmla="*/ 358616 w 1800225"/>
                <a:gd name="connsiteY91" fmla="*/ 264692 h 1800225"/>
                <a:gd name="connsiteX92" fmla="*/ 352901 w 1800225"/>
                <a:gd name="connsiteY92" fmla="*/ 293267 h 1800225"/>
                <a:gd name="connsiteX93" fmla="*/ 317659 w 1800225"/>
                <a:gd name="connsiteY93" fmla="*/ 257072 h 1800225"/>
                <a:gd name="connsiteX94" fmla="*/ 290036 w 1800225"/>
                <a:gd name="connsiteY94" fmla="*/ 251357 h 1800225"/>
                <a:gd name="connsiteX95" fmla="*/ 282416 w 1800225"/>
                <a:gd name="connsiteY95" fmla="*/ 257072 h 1800225"/>
                <a:gd name="connsiteX96" fmla="*/ 281464 w 1800225"/>
                <a:gd name="connsiteY96" fmla="*/ 292315 h 1800225"/>
                <a:gd name="connsiteX97" fmla="*/ 323374 w 1800225"/>
                <a:gd name="connsiteY97" fmla="*/ 335177 h 1800225"/>
                <a:gd name="connsiteX98" fmla="*/ 323374 w 1800225"/>
                <a:gd name="connsiteY98" fmla="*/ 335177 h 1800225"/>
                <a:gd name="connsiteX99" fmla="*/ 277654 w 1800225"/>
                <a:gd name="connsiteY99" fmla="*/ 344702 h 1800225"/>
                <a:gd name="connsiteX100" fmla="*/ 258604 w 1800225"/>
                <a:gd name="connsiteY100" fmla="*/ 375182 h 1800225"/>
                <a:gd name="connsiteX101" fmla="*/ 289084 w 1800225"/>
                <a:gd name="connsiteY101" fmla="*/ 394232 h 1800225"/>
                <a:gd name="connsiteX102" fmla="*/ 364331 w 1800225"/>
                <a:gd name="connsiteY102" fmla="*/ 378040 h 1800225"/>
                <a:gd name="connsiteX103" fmla="*/ 364331 w 1800225"/>
                <a:gd name="connsiteY103" fmla="*/ 378040 h 1800225"/>
                <a:gd name="connsiteX104" fmla="*/ 407194 w 1800225"/>
                <a:gd name="connsiteY104" fmla="*/ 423760 h 1800225"/>
                <a:gd name="connsiteX105" fmla="*/ 309086 w 1800225"/>
                <a:gd name="connsiteY105" fmla="*/ 444715 h 1800225"/>
                <a:gd name="connsiteX106" fmla="*/ 290036 w 1800225"/>
                <a:gd name="connsiteY106" fmla="*/ 475195 h 1800225"/>
                <a:gd name="connsiteX107" fmla="*/ 320516 w 1800225"/>
                <a:gd name="connsiteY107" fmla="*/ 494245 h 1800225"/>
                <a:gd name="connsiteX108" fmla="*/ 449104 w 1800225"/>
                <a:gd name="connsiteY108" fmla="*/ 465670 h 1800225"/>
                <a:gd name="connsiteX109" fmla="*/ 491966 w 1800225"/>
                <a:gd name="connsiteY109" fmla="*/ 511390 h 1800225"/>
                <a:gd name="connsiteX110" fmla="*/ 356711 w 1800225"/>
                <a:gd name="connsiteY110" fmla="*/ 540917 h 1800225"/>
                <a:gd name="connsiteX111" fmla="*/ 337661 w 1800225"/>
                <a:gd name="connsiteY111" fmla="*/ 571397 h 1800225"/>
                <a:gd name="connsiteX112" fmla="*/ 368141 w 1800225"/>
                <a:gd name="connsiteY112" fmla="*/ 590447 h 1800225"/>
                <a:gd name="connsiteX113" fmla="*/ 533876 w 1800225"/>
                <a:gd name="connsiteY113" fmla="*/ 554252 h 1800225"/>
                <a:gd name="connsiteX114" fmla="*/ 585311 w 1800225"/>
                <a:gd name="connsiteY114" fmla="*/ 608545 h 1800225"/>
                <a:gd name="connsiteX115" fmla="*/ 371951 w 1800225"/>
                <a:gd name="connsiteY115" fmla="*/ 655217 h 1800225"/>
                <a:gd name="connsiteX116" fmla="*/ 353854 w 1800225"/>
                <a:gd name="connsiteY116" fmla="*/ 670457 h 1800225"/>
                <a:gd name="connsiteX117" fmla="*/ 355759 w 1800225"/>
                <a:gd name="connsiteY117" fmla="*/ 693317 h 1800225"/>
                <a:gd name="connsiteX118" fmla="*/ 471964 w 1800225"/>
                <a:gd name="connsiteY118" fmla="*/ 876197 h 1800225"/>
                <a:gd name="connsiteX119" fmla="*/ 395764 w 1800225"/>
                <a:gd name="connsiteY119" fmla="*/ 876197 h 1800225"/>
                <a:gd name="connsiteX120" fmla="*/ 307181 w 1800225"/>
                <a:gd name="connsiteY120" fmla="*/ 731417 h 1800225"/>
                <a:gd name="connsiteX121" fmla="*/ 275749 w 1800225"/>
                <a:gd name="connsiteY121" fmla="*/ 720940 h 1800225"/>
                <a:gd name="connsiteX122" fmla="*/ 271939 w 1800225"/>
                <a:gd name="connsiteY122" fmla="*/ 722845 h 1800225"/>
                <a:gd name="connsiteX123" fmla="*/ 263366 w 1800225"/>
                <a:gd name="connsiteY123" fmla="*/ 758087 h 1800225"/>
                <a:gd name="connsiteX124" fmla="*/ 335756 w 1800225"/>
                <a:gd name="connsiteY124" fmla="*/ 876197 h 1800225"/>
                <a:gd name="connsiteX125" fmla="*/ 335756 w 1800225"/>
                <a:gd name="connsiteY125" fmla="*/ 876197 h 1800225"/>
                <a:gd name="connsiteX126" fmla="*/ 273844 w 1800225"/>
                <a:gd name="connsiteY126" fmla="*/ 876197 h 1800225"/>
                <a:gd name="connsiteX127" fmla="*/ 272891 w 1800225"/>
                <a:gd name="connsiteY127" fmla="*/ 876197 h 1800225"/>
                <a:gd name="connsiteX128" fmla="*/ 203359 w 1800225"/>
                <a:gd name="connsiteY128" fmla="*/ 763802 h 1800225"/>
                <a:gd name="connsiteX129" fmla="*/ 171926 w 1800225"/>
                <a:gd name="connsiteY129" fmla="*/ 753325 h 1800225"/>
                <a:gd name="connsiteX130" fmla="*/ 168116 w 1800225"/>
                <a:gd name="connsiteY130" fmla="*/ 755230 h 1800225"/>
                <a:gd name="connsiteX131" fmla="*/ 159544 w 1800225"/>
                <a:gd name="connsiteY131" fmla="*/ 790472 h 1800225"/>
                <a:gd name="connsiteX132" fmla="*/ 212884 w 1800225"/>
                <a:gd name="connsiteY132" fmla="*/ 876197 h 1800225"/>
                <a:gd name="connsiteX133" fmla="*/ 212884 w 1800225"/>
                <a:gd name="connsiteY133" fmla="*/ 876197 h 1800225"/>
                <a:gd name="connsiteX134" fmla="*/ 150019 w 1800225"/>
                <a:gd name="connsiteY134" fmla="*/ 876197 h 1800225"/>
                <a:gd name="connsiteX135" fmla="*/ 150019 w 1800225"/>
                <a:gd name="connsiteY135" fmla="*/ 876197 h 1800225"/>
                <a:gd name="connsiteX136" fmla="*/ 109061 w 1800225"/>
                <a:gd name="connsiteY136" fmla="*/ 809522 h 1800225"/>
                <a:gd name="connsiteX137" fmla="*/ 77629 w 1800225"/>
                <a:gd name="connsiteY137" fmla="*/ 799045 h 1800225"/>
                <a:gd name="connsiteX138" fmla="*/ 73819 w 1800225"/>
                <a:gd name="connsiteY138" fmla="*/ 800950 h 1800225"/>
                <a:gd name="connsiteX139" fmla="*/ 65246 w 1800225"/>
                <a:gd name="connsiteY139" fmla="*/ 836192 h 1800225"/>
                <a:gd name="connsiteX140" fmla="*/ 90011 w 1800225"/>
                <a:gd name="connsiteY140" fmla="*/ 876197 h 1800225"/>
                <a:gd name="connsiteX141" fmla="*/ 30004 w 1800225"/>
                <a:gd name="connsiteY141" fmla="*/ 877150 h 1800225"/>
                <a:gd name="connsiteX142" fmla="*/ 7144 w 1800225"/>
                <a:gd name="connsiteY142" fmla="*/ 902867 h 1800225"/>
                <a:gd name="connsiteX143" fmla="*/ 32861 w 1800225"/>
                <a:gd name="connsiteY143" fmla="*/ 927632 h 1800225"/>
                <a:gd name="connsiteX144" fmla="*/ 82391 w 1800225"/>
                <a:gd name="connsiteY144" fmla="*/ 926680 h 1800225"/>
                <a:gd name="connsiteX145" fmla="*/ 83344 w 1800225"/>
                <a:gd name="connsiteY145" fmla="*/ 926680 h 1800225"/>
                <a:gd name="connsiteX146" fmla="*/ 67151 w 1800225"/>
                <a:gd name="connsiteY146" fmla="*/ 951445 h 1800225"/>
                <a:gd name="connsiteX147" fmla="*/ 73819 w 1800225"/>
                <a:gd name="connsiteY147" fmla="*/ 986687 h 1800225"/>
                <a:gd name="connsiteX148" fmla="*/ 109061 w 1800225"/>
                <a:gd name="connsiteY148" fmla="*/ 980020 h 1800225"/>
                <a:gd name="connsiteX149" fmla="*/ 144304 w 1800225"/>
                <a:gd name="connsiteY149" fmla="*/ 927632 h 1800225"/>
                <a:gd name="connsiteX150" fmla="*/ 207169 w 1800225"/>
                <a:gd name="connsiteY150" fmla="*/ 927632 h 1800225"/>
                <a:gd name="connsiteX151" fmla="*/ 207169 w 1800225"/>
                <a:gd name="connsiteY151" fmla="*/ 927632 h 1800225"/>
                <a:gd name="connsiteX152" fmla="*/ 159544 w 1800225"/>
                <a:gd name="connsiteY152" fmla="*/ 998117 h 1800225"/>
                <a:gd name="connsiteX153" fmla="*/ 166211 w 1800225"/>
                <a:gd name="connsiteY153" fmla="*/ 1033360 h 1800225"/>
                <a:gd name="connsiteX154" fmla="*/ 201454 w 1800225"/>
                <a:gd name="connsiteY154" fmla="*/ 1026692 h 1800225"/>
                <a:gd name="connsiteX155" fmla="*/ 268129 w 1800225"/>
                <a:gd name="connsiteY155" fmla="*/ 927632 h 1800225"/>
                <a:gd name="connsiteX156" fmla="*/ 342424 w 1800225"/>
                <a:gd name="connsiteY156" fmla="*/ 928585 h 1800225"/>
                <a:gd name="connsiteX157" fmla="*/ 260509 w 1800225"/>
                <a:gd name="connsiteY157" fmla="*/ 1051457 h 1800225"/>
                <a:gd name="connsiteX158" fmla="*/ 267176 w 1800225"/>
                <a:gd name="connsiteY158" fmla="*/ 1086700 h 1800225"/>
                <a:gd name="connsiteX159" fmla="*/ 302419 w 1800225"/>
                <a:gd name="connsiteY159" fmla="*/ 1080032 h 1800225"/>
                <a:gd name="connsiteX160" fmla="*/ 404336 w 1800225"/>
                <a:gd name="connsiteY160" fmla="*/ 928585 h 1800225"/>
                <a:gd name="connsiteX161" fmla="*/ 483394 w 1800225"/>
                <a:gd name="connsiteY161" fmla="*/ 928585 h 1800225"/>
                <a:gd name="connsiteX162" fmla="*/ 362426 w 1800225"/>
                <a:gd name="connsiteY162" fmla="*/ 1100035 h 1800225"/>
                <a:gd name="connsiteX163" fmla="*/ 360521 w 1800225"/>
                <a:gd name="connsiteY163" fmla="*/ 1123847 h 1800225"/>
                <a:gd name="connsiteX164" fmla="*/ 378619 w 1800225"/>
                <a:gd name="connsiteY164" fmla="*/ 1139088 h 1800225"/>
                <a:gd name="connsiteX165" fmla="*/ 584359 w 1800225"/>
                <a:gd name="connsiteY165" fmla="*/ 1177188 h 1800225"/>
                <a:gd name="connsiteX166" fmla="*/ 528161 w 1800225"/>
                <a:gd name="connsiteY166" fmla="*/ 1232433 h 1800225"/>
                <a:gd name="connsiteX167" fmla="*/ 349091 w 1800225"/>
                <a:gd name="connsiteY167" fmla="*/ 1193380 h 1800225"/>
                <a:gd name="connsiteX168" fmla="*/ 334804 w 1800225"/>
                <a:gd name="connsiteY168" fmla="*/ 1194332 h 1800225"/>
                <a:gd name="connsiteX169" fmla="*/ 319564 w 1800225"/>
                <a:gd name="connsiteY169" fmla="*/ 1212430 h 1800225"/>
                <a:gd name="connsiteX170" fmla="*/ 338614 w 1800225"/>
                <a:gd name="connsiteY170" fmla="*/ 1242910 h 1800225"/>
                <a:gd name="connsiteX171" fmla="*/ 483394 w 1800225"/>
                <a:gd name="connsiteY171" fmla="*/ 1274342 h 1800225"/>
                <a:gd name="connsiteX172" fmla="*/ 483394 w 1800225"/>
                <a:gd name="connsiteY172" fmla="*/ 1274342 h 1800225"/>
                <a:gd name="connsiteX173" fmla="*/ 429101 w 1800225"/>
                <a:gd name="connsiteY173" fmla="*/ 1326730 h 1800225"/>
                <a:gd name="connsiteX174" fmla="*/ 311944 w 1800225"/>
                <a:gd name="connsiteY174" fmla="*/ 1300060 h 1800225"/>
                <a:gd name="connsiteX175" fmla="*/ 296704 w 1800225"/>
                <a:gd name="connsiteY175" fmla="*/ 1301013 h 1800225"/>
                <a:gd name="connsiteX176" fmla="*/ 281464 w 1800225"/>
                <a:gd name="connsiteY176" fmla="*/ 1319110 h 1800225"/>
                <a:gd name="connsiteX177" fmla="*/ 300514 w 1800225"/>
                <a:gd name="connsiteY177" fmla="*/ 1349590 h 1800225"/>
                <a:gd name="connsiteX178" fmla="*/ 383381 w 1800225"/>
                <a:gd name="connsiteY178" fmla="*/ 1367688 h 1800225"/>
                <a:gd name="connsiteX179" fmla="*/ 337661 w 1800225"/>
                <a:gd name="connsiteY179" fmla="*/ 1411502 h 1800225"/>
                <a:gd name="connsiteX180" fmla="*/ 337661 w 1800225"/>
                <a:gd name="connsiteY180" fmla="*/ 1411502 h 1800225"/>
                <a:gd name="connsiteX181" fmla="*/ 275749 w 1800225"/>
                <a:gd name="connsiteY181" fmla="*/ 1398167 h 1800225"/>
                <a:gd name="connsiteX182" fmla="*/ 261461 w 1800225"/>
                <a:gd name="connsiteY182" fmla="*/ 1399120 h 1800225"/>
                <a:gd name="connsiteX183" fmla="*/ 246221 w 1800225"/>
                <a:gd name="connsiteY183" fmla="*/ 1417217 h 1800225"/>
                <a:gd name="connsiteX184" fmla="*/ 265271 w 1800225"/>
                <a:gd name="connsiteY184" fmla="*/ 1447697 h 1800225"/>
                <a:gd name="connsiteX185" fmla="*/ 293846 w 1800225"/>
                <a:gd name="connsiteY185" fmla="*/ 1454365 h 1800225"/>
                <a:gd name="connsiteX186" fmla="*/ 293846 w 1800225"/>
                <a:gd name="connsiteY186" fmla="*/ 1454365 h 1800225"/>
                <a:gd name="connsiteX187" fmla="*/ 257651 w 1800225"/>
                <a:gd name="connsiteY187" fmla="*/ 1488655 h 1800225"/>
                <a:gd name="connsiteX188" fmla="*/ 256699 w 1800225"/>
                <a:gd name="connsiteY188" fmla="*/ 1524850 h 1800225"/>
                <a:gd name="connsiteX189" fmla="*/ 291941 w 1800225"/>
                <a:gd name="connsiteY189" fmla="*/ 1525802 h 1800225"/>
                <a:gd name="connsiteX190" fmla="*/ 334804 w 1800225"/>
                <a:gd name="connsiteY190" fmla="*/ 1483892 h 1800225"/>
                <a:gd name="connsiteX191" fmla="*/ 334804 w 1800225"/>
                <a:gd name="connsiteY191" fmla="*/ 1483892 h 1800225"/>
                <a:gd name="connsiteX192" fmla="*/ 344329 w 1800225"/>
                <a:gd name="connsiteY192" fmla="*/ 1528660 h 1800225"/>
                <a:gd name="connsiteX193" fmla="*/ 374809 w 1800225"/>
                <a:gd name="connsiteY193" fmla="*/ 1547710 h 1800225"/>
                <a:gd name="connsiteX194" fmla="*/ 393859 w 1800225"/>
                <a:gd name="connsiteY194" fmla="*/ 1517230 h 1800225"/>
                <a:gd name="connsiteX195" fmla="*/ 377666 w 1800225"/>
                <a:gd name="connsiteY195" fmla="*/ 1441983 h 1800225"/>
                <a:gd name="connsiteX196" fmla="*/ 377666 w 1800225"/>
                <a:gd name="connsiteY196" fmla="*/ 1441983 h 1800225"/>
                <a:gd name="connsiteX197" fmla="*/ 423386 w 1800225"/>
                <a:gd name="connsiteY197" fmla="*/ 1398167 h 1800225"/>
                <a:gd name="connsiteX198" fmla="*/ 444341 w 1800225"/>
                <a:gd name="connsiteY198" fmla="*/ 1496275 h 1800225"/>
                <a:gd name="connsiteX199" fmla="*/ 474821 w 1800225"/>
                <a:gd name="connsiteY199" fmla="*/ 1515325 h 1800225"/>
                <a:gd name="connsiteX200" fmla="*/ 493871 w 1800225"/>
                <a:gd name="connsiteY200" fmla="*/ 1484845 h 1800225"/>
                <a:gd name="connsiteX201" fmla="*/ 466249 w 1800225"/>
                <a:gd name="connsiteY201" fmla="*/ 1356258 h 1800225"/>
                <a:gd name="connsiteX202" fmla="*/ 467201 w 1800225"/>
                <a:gd name="connsiteY202" fmla="*/ 1356258 h 1800225"/>
                <a:gd name="connsiteX203" fmla="*/ 511969 w 1800225"/>
                <a:gd name="connsiteY203" fmla="*/ 1313395 h 1800225"/>
                <a:gd name="connsiteX204" fmla="*/ 541496 w 1800225"/>
                <a:gd name="connsiteY204" fmla="*/ 1447697 h 1800225"/>
                <a:gd name="connsiteX205" fmla="*/ 571976 w 1800225"/>
                <a:gd name="connsiteY205" fmla="*/ 1466747 h 1800225"/>
                <a:gd name="connsiteX206" fmla="*/ 591026 w 1800225"/>
                <a:gd name="connsiteY206" fmla="*/ 1436267 h 1800225"/>
                <a:gd name="connsiteX207" fmla="*/ 554831 w 1800225"/>
                <a:gd name="connsiteY207" fmla="*/ 1270533 h 1800225"/>
                <a:gd name="connsiteX208" fmla="*/ 608171 w 1800225"/>
                <a:gd name="connsiteY208" fmla="*/ 1218145 h 1800225"/>
                <a:gd name="connsiteX209" fmla="*/ 651986 w 1800225"/>
                <a:gd name="connsiteY209" fmla="*/ 1429600 h 1800225"/>
                <a:gd name="connsiteX210" fmla="*/ 667226 w 1800225"/>
                <a:gd name="connsiteY210" fmla="*/ 1447697 h 1800225"/>
                <a:gd name="connsiteX211" fmla="*/ 691039 w 1800225"/>
                <a:gd name="connsiteY211" fmla="*/ 1445792 h 1800225"/>
                <a:gd name="connsiteX212" fmla="*/ 874871 w 1800225"/>
                <a:gd name="connsiteY212" fmla="*/ 1330540 h 1800225"/>
                <a:gd name="connsiteX213" fmla="*/ 874871 w 1800225"/>
                <a:gd name="connsiteY213" fmla="*/ 1405788 h 1800225"/>
                <a:gd name="connsiteX214" fmla="*/ 874871 w 1800225"/>
                <a:gd name="connsiteY214" fmla="*/ 1405788 h 1800225"/>
                <a:gd name="connsiteX215" fmla="*/ 731044 w 1800225"/>
                <a:gd name="connsiteY215" fmla="*/ 1497227 h 1800225"/>
                <a:gd name="connsiteX216" fmla="*/ 722471 w 1800225"/>
                <a:gd name="connsiteY216" fmla="*/ 1532470 h 1800225"/>
                <a:gd name="connsiteX217" fmla="*/ 757714 w 1800225"/>
                <a:gd name="connsiteY217" fmla="*/ 1541042 h 1800225"/>
                <a:gd name="connsiteX218" fmla="*/ 875824 w 1800225"/>
                <a:gd name="connsiteY218" fmla="*/ 1468652 h 1800225"/>
                <a:gd name="connsiteX219" fmla="*/ 875824 w 1800225"/>
                <a:gd name="connsiteY219" fmla="*/ 1468652 h 1800225"/>
                <a:gd name="connsiteX220" fmla="*/ 875824 w 1800225"/>
                <a:gd name="connsiteY220" fmla="*/ 1530565 h 1800225"/>
                <a:gd name="connsiteX221" fmla="*/ 875824 w 1800225"/>
                <a:gd name="connsiteY221" fmla="*/ 1530565 h 1800225"/>
                <a:gd name="connsiteX222" fmla="*/ 763429 w 1800225"/>
                <a:gd name="connsiteY222" fmla="*/ 1600097 h 1800225"/>
                <a:gd name="connsiteX223" fmla="*/ 754856 w 1800225"/>
                <a:gd name="connsiteY223" fmla="*/ 1635340 h 1800225"/>
                <a:gd name="connsiteX224" fmla="*/ 790099 w 1800225"/>
                <a:gd name="connsiteY224" fmla="*/ 1643913 h 1800225"/>
                <a:gd name="connsiteX225" fmla="*/ 875824 w 1800225"/>
                <a:gd name="connsiteY225" fmla="*/ 1590572 h 1800225"/>
                <a:gd name="connsiteX226" fmla="*/ 875824 w 1800225"/>
                <a:gd name="connsiteY226" fmla="*/ 1591525 h 1800225"/>
                <a:gd name="connsiteX227" fmla="*/ 875824 w 1800225"/>
                <a:gd name="connsiteY227" fmla="*/ 1654390 h 1800225"/>
                <a:gd name="connsiteX228" fmla="*/ 809149 w 1800225"/>
                <a:gd name="connsiteY228" fmla="*/ 1695347 h 1800225"/>
                <a:gd name="connsiteX229" fmla="*/ 800576 w 1800225"/>
                <a:gd name="connsiteY229" fmla="*/ 1730590 h 1800225"/>
                <a:gd name="connsiteX230" fmla="*/ 835819 w 1800225"/>
                <a:gd name="connsiteY230" fmla="*/ 1739163 h 1800225"/>
                <a:gd name="connsiteX231" fmla="*/ 875824 w 1800225"/>
                <a:gd name="connsiteY231" fmla="*/ 1714397 h 1800225"/>
                <a:gd name="connsiteX232" fmla="*/ 875824 w 1800225"/>
                <a:gd name="connsiteY232" fmla="*/ 1715350 h 1800225"/>
                <a:gd name="connsiteX233" fmla="*/ 875824 w 1800225"/>
                <a:gd name="connsiteY233" fmla="*/ 1774405 h 1800225"/>
                <a:gd name="connsiteX234" fmla="*/ 901541 w 1800225"/>
                <a:gd name="connsiteY234" fmla="*/ 1800122 h 1800225"/>
                <a:gd name="connsiteX235" fmla="*/ 926306 w 1800225"/>
                <a:gd name="connsiteY235" fmla="*/ 1774405 h 1800225"/>
                <a:gd name="connsiteX236" fmla="*/ 927259 w 1800225"/>
                <a:gd name="connsiteY236" fmla="*/ 1723922 h 1800225"/>
                <a:gd name="connsiteX237" fmla="*/ 927259 w 1800225"/>
                <a:gd name="connsiteY237" fmla="*/ 1723922 h 1800225"/>
                <a:gd name="connsiteX238" fmla="*/ 951071 w 1800225"/>
                <a:gd name="connsiteY238" fmla="*/ 1740115 h 1800225"/>
                <a:gd name="connsiteX239" fmla="*/ 986314 w 1800225"/>
                <a:gd name="connsiteY239" fmla="*/ 1733447 h 1800225"/>
                <a:gd name="connsiteX240" fmla="*/ 979646 w 1800225"/>
                <a:gd name="connsiteY240" fmla="*/ 1698205 h 1800225"/>
                <a:gd name="connsiteX241" fmla="*/ 926306 w 1800225"/>
                <a:gd name="connsiteY241" fmla="*/ 1662010 h 1800225"/>
                <a:gd name="connsiteX242" fmla="*/ 926306 w 1800225"/>
                <a:gd name="connsiteY242" fmla="*/ 1662010 h 1800225"/>
                <a:gd name="connsiteX243" fmla="*/ 926306 w 1800225"/>
                <a:gd name="connsiteY243" fmla="*/ 1600097 h 1800225"/>
                <a:gd name="connsiteX244" fmla="*/ 926306 w 1800225"/>
                <a:gd name="connsiteY244" fmla="*/ 1599145 h 1800225"/>
                <a:gd name="connsiteX245" fmla="*/ 926306 w 1800225"/>
                <a:gd name="connsiteY245" fmla="*/ 1599145 h 1800225"/>
                <a:gd name="connsiteX246" fmla="*/ 997744 w 1800225"/>
                <a:gd name="connsiteY246" fmla="*/ 1646770 h 1800225"/>
                <a:gd name="connsiteX247" fmla="*/ 1032986 w 1800225"/>
                <a:gd name="connsiteY247" fmla="*/ 1640102 h 1800225"/>
                <a:gd name="connsiteX248" fmla="*/ 1026319 w 1800225"/>
                <a:gd name="connsiteY248" fmla="*/ 1604860 h 1800225"/>
                <a:gd name="connsiteX249" fmla="*/ 927259 w 1800225"/>
                <a:gd name="connsiteY249" fmla="*/ 1538185 h 1800225"/>
                <a:gd name="connsiteX250" fmla="*/ 927259 w 1800225"/>
                <a:gd name="connsiteY250" fmla="*/ 1538185 h 1800225"/>
                <a:gd name="connsiteX251" fmla="*/ 928211 w 1800225"/>
                <a:gd name="connsiteY251" fmla="*/ 1463890 h 1800225"/>
                <a:gd name="connsiteX252" fmla="*/ 928211 w 1800225"/>
                <a:gd name="connsiteY252" fmla="*/ 1463890 h 1800225"/>
                <a:gd name="connsiteX253" fmla="*/ 1051084 w 1800225"/>
                <a:gd name="connsiteY253" fmla="*/ 1546758 h 1800225"/>
                <a:gd name="connsiteX254" fmla="*/ 1086326 w 1800225"/>
                <a:gd name="connsiteY254" fmla="*/ 1540090 h 1800225"/>
                <a:gd name="connsiteX255" fmla="*/ 1079659 w 1800225"/>
                <a:gd name="connsiteY255" fmla="*/ 1504847 h 1800225"/>
                <a:gd name="connsiteX256" fmla="*/ 927259 w 1800225"/>
                <a:gd name="connsiteY256" fmla="*/ 1402930 h 1800225"/>
                <a:gd name="connsiteX257" fmla="*/ 927259 w 1800225"/>
                <a:gd name="connsiteY257" fmla="*/ 1402930 h 1800225"/>
                <a:gd name="connsiteX258" fmla="*/ 927259 w 1800225"/>
                <a:gd name="connsiteY258" fmla="*/ 1323872 h 1800225"/>
                <a:gd name="connsiteX259" fmla="*/ 1097756 w 1800225"/>
                <a:gd name="connsiteY259" fmla="*/ 1443888 h 1800225"/>
                <a:gd name="connsiteX260" fmla="*/ 1136809 w 1800225"/>
                <a:gd name="connsiteY260" fmla="*/ 1427695 h 1800225"/>
                <a:gd name="connsiteX261" fmla="*/ 1176814 w 1800225"/>
                <a:gd name="connsiteY261" fmla="*/ 1222907 h 1800225"/>
                <a:gd name="connsiteX262" fmla="*/ 1231106 w 1800225"/>
                <a:gd name="connsiteY262" fmla="*/ 1279105 h 1800225"/>
                <a:gd name="connsiteX263" fmla="*/ 1231106 w 1800225"/>
                <a:gd name="connsiteY263" fmla="*/ 1279105 h 1800225"/>
                <a:gd name="connsiteX264" fmla="*/ 1192054 w 1800225"/>
                <a:gd name="connsiteY264" fmla="*/ 1458175 h 1800225"/>
                <a:gd name="connsiteX265" fmla="*/ 1211104 w 1800225"/>
                <a:gd name="connsiteY265" fmla="*/ 1487702 h 1800225"/>
                <a:gd name="connsiteX266" fmla="*/ 1241584 w 1800225"/>
                <a:gd name="connsiteY266" fmla="*/ 1468652 h 1800225"/>
                <a:gd name="connsiteX267" fmla="*/ 1273016 w 1800225"/>
                <a:gd name="connsiteY267" fmla="*/ 1323872 h 1800225"/>
                <a:gd name="connsiteX268" fmla="*/ 1273016 w 1800225"/>
                <a:gd name="connsiteY268" fmla="*/ 1323872 h 1800225"/>
                <a:gd name="connsiteX269" fmla="*/ 1325404 w 1800225"/>
                <a:gd name="connsiteY269" fmla="*/ 1377213 h 1800225"/>
                <a:gd name="connsiteX270" fmla="*/ 1325404 w 1800225"/>
                <a:gd name="connsiteY270" fmla="*/ 1377213 h 1800225"/>
                <a:gd name="connsiteX271" fmla="*/ 1300639 w 1800225"/>
                <a:gd name="connsiteY271" fmla="*/ 1494370 h 1800225"/>
                <a:gd name="connsiteX272" fmla="*/ 1319689 w 1800225"/>
                <a:gd name="connsiteY272" fmla="*/ 1524850 h 1800225"/>
                <a:gd name="connsiteX273" fmla="*/ 1350169 w 1800225"/>
                <a:gd name="connsiteY273" fmla="*/ 1505800 h 1800225"/>
                <a:gd name="connsiteX274" fmla="*/ 1368266 w 1800225"/>
                <a:gd name="connsiteY274" fmla="*/ 1421980 h 1800225"/>
                <a:gd name="connsiteX275" fmla="*/ 1368266 w 1800225"/>
                <a:gd name="connsiteY275" fmla="*/ 1421980 h 1800225"/>
                <a:gd name="connsiteX276" fmla="*/ 1368266 w 1800225"/>
                <a:gd name="connsiteY276" fmla="*/ 1422933 h 1800225"/>
                <a:gd name="connsiteX277" fmla="*/ 1411129 w 1800225"/>
                <a:gd name="connsiteY277" fmla="*/ 1467700 h 1800225"/>
                <a:gd name="connsiteX278" fmla="*/ 1411129 w 1800225"/>
                <a:gd name="connsiteY278" fmla="*/ 1467700 h 1800225"/>
                <a:gd name="connsiteX279" fmla="*/ 1397794 w 1800225"/>
                <a:gd name="connsiteY279" fmla="*/ 1530565 h 1800225"/>
                <a:gd name="connsiteX280" fmla="*/ 1416844 w 1800225"/>
                <a:gd name="connsiteY280" fmla="*/ 1561045 h 1800225"/>
                <a:gd name="connsiteX281" fmla="*/ 1447324 w 1800225"/>
                <a:gd name="connsiteY281" fmla="*/ 1541995 h 1800225"/>
                <a:gd name="connsiteX282" fmla="*/ 1453039 w 1800225"/>
                <a:gd name="connsiteY282" fmla="*/ 1513420 h 1800225"/>
                <a:gd name="connsiteX283" fmla="*/ 1453039 w 1800225"/>
                <a:gd name="connsiteY283" fmla="*/ 1513420 h 1800225"/>
                <a:gd name="connsiteX284" fmla="*/ 1488281 w 1800225"/>
                <a:gd name="connsiteY284" fmla="*/ 1549615 h 1800225"/>
                <a:gd name="connsiteX285" fmla="*/ 1523524 w 1800225"/>
                <a:gd name="connsiteY285" fmla="*/ 1550567 h 1800225"/>
                <a:gd name="connsiteX286" fmla="*/ 1524476 w 1800225"/>
                <a:gd name="connsiteY286" fmla="*/ 1514372 h 1800225"/>
                <a:gd name="connsiteX287" fmla="*/ 1483519 w 1800225"/>
                <a:gd name="connsiteY287" fmla="*/ 1472463 h 1800225"/>
                <a:gd name="connsiteX288" fmla="*/ 1482566 w 1800225"/>
                <a:gd name="connsiteY288" fmla="*/ 1471510 h 1800225"/>
                <a:gd name="connsiteX289" fmla="*/ 1528286 w 1800225"/>
                <a:gd name="connsiteY289" fmla="*/ 1461985 h 1800225"/>
                <a:gd name="connsiteX290" fmla="*/ 1547336 w 1800225"/>
                <a:gd name="connsiteY290" fmla="*/ 1431505 h 1800225"/>
                <a:gd name="connsiteX291" fmla="*/ 1516856 w 1800225"/>
                <a:gd name="connsiteY291" fmla="*/ 1412455 h 1800225"/>
                <a:gd name="connsiteX292" fmla="*/ 1440656 w 1800225"/>
                <a:gd name="connsiteY292" fmla="*/ 1428647 h 1800225"/>
                <a:gd name="connsiteX293" fmla="*/ 1397794 w 1800225"/>
                <a:gd name="connsiteY293" fmla="*/ 1379117 h 1800225"/>
                <a:gd name="connsiteX294" fmla="*/ 1397794 w 1800225"/>
                <a:gd name="connsiteY294" fmla="*/ 1379117 h 1800225"/>
                <a:gd name="connsiteX295" fmla="*/ 1495901 w 1800225"/>
                <a:gd name="connsiteY295" fmla="*/ 1358163 h 1800225"/>
                <a:gd name="connsiteX296" fmla="*/ 1514951 w 1800225"/>
                <a:gd name="connsiteY296" fmla="*/ 1327683 h 1800225"/>
                <a:gd name="connsiteX297" fmla="*/ 1484471 w 1800225"/>
                <a:gd name="connsiteY297" fmla="*/ 1308633 h 1800225"/>
                <a:gd name="connsiteX298" fmla="*/ 1355884 w 1800225"/>
                <a:gd name="connsiteY298" fmla="*/ 1336255 h 1800225"/>
                <a:gd name="connsiteX299" fmla="*/ 1355884 w 1800225"/>
                <a:gd name="connsiteY299" fmla="*/ 1336255 h 1800225"/>
                <a:gd name="connsiteX300" fmla="*/ 1313021 w 1800225"/>
                <a:gd name="connsiteY300" fmla="*/ 1291488 h 1800225"/>
                <a:gd name="connsiteX301" fmla="*/ 1313021 w 1800225"/>
                <a:gd name="connsiteY301" fmla="*/ 1291488 h 1800225"/>
                <a:gd name="connsiteX302" fmla="*/ 1448276 w 1800225"/>
                <a:gd name="connsiteY302" fmla="*/ 1261960 h 1800225"/>
                <a:gd name="connsiteX303" fmla="*/ 1467326 w 1800225"/>
                <a:gd name="connsiteY303" fmla="*/ 1231480 h 1800225"/>
                <a:gd name="connsiteX304" fmla="*/ 1436846 w 1800225"/>
                <a:gd name="connsiteY304" fmla="*/ 1212430 h 1800225"/>
                <a:gd name="connsiteX305" fmla="*/ 1271111 w 1800225"/>
                <a:gd name="connsiteY305" fmla="*/ 1248625 h 1800225"/>
                <a:gd name="connsiteX306" fmla="*/ 1271111 w 1800225"/>
                <a:gd name="connsiteY306" fmla="*/ 1248625 h 1800225"/>
                <a:gd name="connsiteX307" fmla="*/ 1218724 w 1800225"/>
                <a:gd name="connsiteY307" fmla="*/ 1194332 h 1800225"/>
                <a:gd name="connsiteX308" fmla="*/ 1431131 w 1800225"/>
                <a:gd name="connsiteY308" fmla="*/ 1150517 h 1800225"/>
                <a:gd name="connsiteX309" fmla="*/ 1449229 w 1800225"/>
                <a:gd name="connsiteY309" fmla="*/ 1135277 h 1800225"/>
                <a:gd name="connsiteX310" fmla="*/ 1447324 w 1800225"/>
                <a:gd name="connsiteY310" fmla="*/ 1112417 h 1800225"/>
                <a:gd name="connsiteX311" fmla="*/ 1332071 w 1800225"/>
                <a:gd name="connsiteY311" fmla="*/ 929537 h 1800225"/>
                <a:gd name="connsiteX312" fmla="*/ 1407319 w 1800225"/>
                <a:gd name="connsiteY312" fmla="*/ 929537 h 1800225"/>
                <a:gd name="connsiteX313" fmla="*/ 1495901 w 1800225"/>
                <a:gd name="connsiteY313" fmla="*/ 1073365 h 1800225"/>
                <a:gd name="connsiteX314" fmla="*/ 1531144 w 1800225"/>
                <a:gd name="connsiteY314" fmla="*/ 1081938 h 1800225"/>
                <a:gd name="connsiteX315" fmla="*/ 1539716 w 1800225"/>
                <a:gd name="connsiteY315" fmla="*/ 1046695 h 1800225"/>
                <a:gd name="connsiteX316" fmla="*/ 1467326 w 1800225"/>
                <a:gd name="connsiteY316" fmla="*/ 929537 h 1800225"/>
                <a:gd name="connsiteX317" fmla="*/ 1529239 w 1800225"/>
                <a:gd name="connsiteY317" fmla="*/ 929537 h 1800225"/>
                <a:gd name="connsiteX318" fmla="*/ 1530191 w 1800225"/>
                <a:gd name="connsiteY318" fmla="*/ 929537 h 1800225"/>
                <a:gd name="connsiteX319" fmla="*/ 1598771 w 1800225"/>
                <a:gd name="connsiteY319" fmla="*/ 1040980 h 1800225"/>
                <a:gd name="connsiteX320" fmla="*/ 1634014 w 1800225"/>
                <a:gd name="connsiteY320" fmla="*/ 1049552 h 1800225"/>
                <a:gd name="connsiteX321" fmla="*/ 1642586 w 1800225"/>
                <a:gd name="connsiteY321" fmla="*/ 1014310 h 1800225"/>
                <a:gd name="connsiteX322" fmla="*/ 1590199 w 1800225"/>
                <a:gd name="connsiteY322" fmla="*/ 928585 h 1800225"/>
                <a:gd name="connsiteX323" fmla="*/ 1653064 w 1800225"/>
                <a:gd name="connsiteY323" fmla="*/ 928585 h 1800225"/>
                <a:gd name="connsiteX324" fmla="*/ 1653064 w 1800225"/>
                <a:gd name="connsiteY324" fmla="*/ 928585 h 1800225"/>
                <a:gd name="connsiteX325" fmla="*/ 1694021 w 1800225"/>
                <a:gd name="connsiteY325" fmla="*/ 994307 h 1800225"/>
                <a:gd name="connsiteX326" fmla="*/ 1729264 w 1800225"/>
                <a:gd name="connsiteY326" fmla="*/ 1002880 h 1800225"/>
                <a:gd name="connsiteX327" fmla="*/ 1737836 w 1800225"/>
                <a:gd name="connsiteY327" fmla="*/ 967637 h 1800225"/>
                <a:gd name="connsiteX328" fmla="*/ 1714024 w 1800225"/>
                <a:gd name="connsiteY328" fmla="*/ 928585 h 1800225"/>
                <a:gd name="connsiteX329" fmla="*/ 1714024 w 1800225"/>
                <a:gd name="connsiteY329" fmla="*/ 928585 h 1800225"/>
                <a:gd name="connsiteX330" fmla="*/ 1774031 w 1800225"/>
                <a:gd name="connsiteY330" fmla="*/ 928585 h 1800225"/>
                <a:gd name="connsiteX331" fmla="*/ 1798796 w 1800225"/>
                <a:gd name="connsiteY331" fmla="*/ 902867 h 1800225"/>
                <a:gd name="connsiteX332" fmla="*/ 1773079 w 1800225"/>
                <a:gd name="connsiteY332" fmla="*/ 877150 h 1800225"/>
                <a:gd name="connsiteX333" fmla="*/ 1722596 w 1800225"/>
                <a:gd name="connsiteY333" fmla="*/ 878102 h 1800225"/>
                <a:gd name="connsiteX334" fmla="*/ 1722596 w 1800225"/>
                <a:gd name="connsiteY334" fmla="*/ 878102 h 1800225"/>
                <a:gd name="connsiteX335" fmla="*/ 1738789 w 1800225"/>
                <a:gd name="connsiteY335" fmla="*/ 853337 h 1800225"/>
                <a:gd name="connsiteX336" fmla="*/ 1732121 w 1800225"/>
                <a:gd name="connsiteY336" fmla="*/ 818095 h 1800225"/>
                <a:gd name="connsiteX337" fmla="*/ 1708309 w 1800225"/>
                <a:gd name="connsiteY337" fmla="*/ 815237 h 1800225"/>
                <a:gd name="connsiteX338" fmla="*/ 1696879 w 1800225"/>
                <a:gd name="connsiteY338" fmla="*/ 824762 h 1800225"/>
                <a:gd name="connsiteX339" fmla="*/ 1661636 w 1800225"/>
                <a:gd name="connsiteY339" fmla="*/ 877150 h 1800225"/>
                <a:gd name="connsiteX340" fmla="*/ 1661636 w 1800225"/>
                <a:gd name="connsiteY340" fmla="*/ 877150 h 1800225"/>
                <a:gd name="connsiteX341" fmla="*/ 1598771 w 1800225"/>
                <a:gd name="connsiteY341" fmla="*/ 877150 h 1800225"/>
                <a:gd name="connsiteX342" fmla="*/ 1646396 w 1800225"/>
                <a:gd name="connsiteY342" fmla="*/ 806665 h 1800225"/>
                <a:gd name="connsiteX343" fmla="*/ 1639729 w 1800225"/>
                <a:gd name="connsiteY343" fmla="*/ 771422 h 1800225"/>
                <a:gd name="connsiteX344" fmla="*/ 1615916 w 1800225"/>
                <a:gd name="connsiteY344" fmla="*/ 768565 h 1800225"/>
                <a:gd name="connsiteX345" fmla="*/ 1604486 w 1800225"/>
                <a:gd name="connsiteY345" fmla="*/ 778090 h 1800225"/>
                <a:gd name="connsiteX346" fmla="*/ 1537811 w 1800225"/>
                <a:gd name="connsiteY346" fmla="*/ 877150 h 1800225"/>
                <a:gd name="connsiteX347" fmla="*/ 1462564 w 1800225"/>
                <a:gd name="connsiteY347" fmla="*/ 877150 h 1800225"/>
                <a:gd name="connsiteX348" fmla="*/ 1462564 w 1800225"/>
                <a:gd name="connsiteY348" fmla="*/ 877150 h 1800225"/>
                <a:gd name="connsiteX349" fmla="*/ 1545431 w 1800225"/>
                <a:gd name="connsiteY349" fmla="*/ 754277 h 1800225"/>
                <a:gd name="connsiteX350" fmla="*/ 1538764 w 1800225"/>
                <a:gd name="connsiteY350" fmla="*/ 719035 h 1800225"/>
                <a:gd name="connsiteX351" fmla="*/ 1514951 w 1800225"/>
                <a:gd name="connsiteY351" fmla="*/ 716177 h 1800225"/>
                <a:gd name="connsiteX352" fmla="*/ 1503521 w 1800225"/>
                <a:gd name="connsiteY352" fmla="*/ 725702 h 1800225"/>
                <a:gd name="connsiteX353" fmla="*/ 1401604 w 1800225"/>
                <a:gd name="connsiteY353" fmla="*/ 878102 h 1800225"/>
                <a:gd name="connsiteX354" fmla="*/ 1322546 w 1800225"/>
                <a:gd name="connsiteY354" fmla="*/ 877150 h 1800225"/>
                <a:gd name="connsiteX355" fmla="*/ 1443514 w 1800225"/>
                <a:gd name="connsiteY355" fmla="*/ 706652 h 1800225"/>
                <a:gd name="connsiteX356" fmla="*/ 1445419 w 1800225"/>
                <a:gd name="connsiteY356" fmla="*/ 682840 h 1800225"/>
                <a:gd name="connsiteX357" fmla="*/ 1427321 w 1800225"/>
                <a:gd name="connsiteY357" fmla="*/ 667600 h 1800225"/>
                <a:gd name="connsiteX358" fmla="*/ 1221581 w 1800225"/>
                <a:gd name="connsiteY358" fmla="*/ 628547 h 1800225"/>
                <a:gd name="connsiteX359" fmla="*/ 1278731 w 1800225"/>
                <a:gd name="connsiteY359" fmla="*/ 573302 h 1800225"/>
                <a:gd name="connsiteX360" fmla="*/ 1456849 w 1800225"/>
                <a:gd name="connsiteY360" fmla="*/ 611402 h 1800225"/>
                <a:gd name="connsiteX361" fmla="*/ 1487329 w 1800225"/>
                <a:gd name="connsiteY361" fmla="*/ 592352 h 1800225"/>
                <a:gd name="connsiteX362" fmla="*/ 1468279 w 1800225"/>
                <a:gd name="connsiteY362" fmla="*/ 561872 h 1800225"/>
                <a:gd name="connsiteX363" fmla="*/ 1321594 w 1800225"/>
                <a:gd name="connsiteY363" fmla="*/ 532345 h 1800225"/>
                <a:gd name="connsiteX364" fmla="*/ 1374934 w 1800225"/>
                <a:gd name="connsiteY364" fmla="*/ 479957 h 1800225"/>
                <a:gd name="connsiteX365" fmla="*/ 1492091 w 1800225"/>
                <a:gd name="connsiteY365" fmla="*/ 504722 h 1800225"/>
                <a:gd name="connsiteX366" fmla="*/ 1522571 w 1800225"/>
                <a:gd name="connsiteY366" fmla="*/ 485672 h 1800225"/>
                <a:gd name="connsiteX367" fmla="*/ 1503521 w 1800225"/>
                <a:gd name="connsiteY367" fmla="*/ 455192 h 1800225"/>
                <a:gd name="connsiteX368" fmla="*/ 1420654 w 1800225"/>
                <a:gd name="connsiteY368" fmla="*/ 437095 h 1800225"/>
                <a:gd name="connsiteX369" fmla="*/ 1420654 w 1800225"/>
                <a:gd name="connsiteY369" fmla="*/ 437095 h 1800225"/>
                <a:gd name="connsiteX370" fmla="*/ 1466374 w 1800225"/>
                <a:gd name="connsiteY370" fmla="*/ 393280 h 1800225"/>
                <a:gd name="connsiteX371" fmla="*/ 1528286 w 1800225"/>
                <a:gd name="connsiteY371" fmla="*/ 406615 h 1800225"/>
                <a:gd name="connsiteX372" fmla="*/ 1558766 w 1800225"/>
                <a:gd name="connsiteY372" fmla="*/ 387565 h 1800225"/>
                <a:gd name="connsiteX373" fmla="*/ 1539716 w 1800225"/>
                <a:gd name="connsiteY373" fmla="*/ 357085 h 1800225"/>
                <a:gd name="connsiteX374" fmla="*/ 1510189 w 1800225"/>
                <a:gd name="connsiteY374" fmla="*/ 350417 h 1800225"/>
                <a:gd name="connsiteX375" fmla="*/ 1510189 w 1800225"/>
                <a:gd name="connsiteY375" fmla="*/ 350417 h 1800225"/>
                <a:gd name="connsiteX376" fmla="*/ 1546384 w 1800225"/>
                <a:gd name="connsiteY376" fmla="*/ 316127 h 1800225"/>
                <a:gd name="connsiteX377" fmla="*/ 1546384 w 1800225"/>
                <a:gd name="connsiteY377" fmla="*/ 280885 h 1800225"/>
                <a:gd name="connsiteX378" fmla="*/ 1257776 w 1800225"/>
                <a:gd name="connsiteY378" fmla="*/ 879055 h 1800225"/>
                <a:gd name="connsiteX379" fmla="*/ 1110139 w 1800225"/>
                <a:gd name="connsiteY379" fmla="*/ 880007 h 1800225"/>
                <a:gd name="connsiteX380" fmla="*/ 1109186 w 1800225"/>
                <a:gd name="connsiteY380" fmla="*/ 828572 h 1800225"/>
                <a:gd name="connsiteX381" fmla="*/ 1102519 w 1800225"/>
                <a:gd name="connsiteY381" fmla="*/ 811427 h 1800225"/>
                <a:gd name="connsiteX382" fmla="*/ 1068229 w 1800225"/>
                <a:gd name="connsiteY382" fmla="*/ 774280 h 1800225"/>
                <a:gd name="connsiteX383" fmla="*/ 1175861 w 1800225"/>
                <a:gd name="connsiteY383" fmla="*/ 671410 h 1800225"/>
                <a:gd name="connsiteX384" fmla="*/ 1376839 w 1800225"/>
                <a:gd name="connsiteY384" fmla="*/ 710462 h 1800225"/>
                <a:gd name="connsiteX385" fmla="*/ 1258729 w 1800225"/>
                <a:gd name="connsiteY385" fmla="*/ 877150 h 1800225"/>
                <a:gd name="connsiteX386" fmla="*/ 1257776 w 1800225"/>
                <a:gd name="connsiteY386" fmla="*/ 879055 h 1800225"/>
                <a:gd name="connsiteX387" fmla="*/ 1059656 w 1800225"/>
                <a:gd name="connsiteY387" fmla="*/ 879055 h 1800225"/>
                <a:gd name="connsiteX388" fmla="*/ 1060609 w 1800225"/>
                <a:gd name="connsiteY388" fmla="*/ 929537 h 1800225"/>
                <a:gd name="connsiteX389" fmla="*/ 1061561 w 1800225"/>
                <a:gd name="connsiteY389" fmla="*/ 969542 h 1800225"/>
                <a:gd name="connsiteX390" fmla="*/ 1032034 w 1800225"/>
                <a:gd name="connsiteY390" fmla="*/ 997165 h 1800225"/>
                <a:gd name="connsiteX391" fmla="*/ 994886 w 1800225"/>
                <a:gd name="connsiteY391" fmla="*/ 1031455 h 1800225"/>
                <a:gd name="connsiteX392" fmla="*/ 965359 w 1800225"/>
                <a:gd name="connsiteY392" fmla="*/ 1059077 h 1800225"/>
                <a:gd name="connsiteX393" fmla="*/ 925354 w 1800225"/>
                <a:gd name="connsiteY393" fmla="*/ 1060030 h 1800225"/>
                <a:gd name="connsiteX394" fmla="*/ 874871 w 1800225"/>
                <a:gd name="connsiteY394" fmla="*/ 1060982 h 1800225"/>
                <a:gd name="connsiteX395" fmla="*/ 834866 w 1800225"/>
                <a:gd name="connsiteY395" fmla="*/ 1061935 h 1800225"/>
                <a:gd name="connsiteX396" fmla="*/ 807244 w 1800225"/>
                <a:gd name="connsiteY396" fmla="*/ 1032407 h 1800225"/>
                <a:gd name="connsiteX397" fmla="*/ 772954 w 1800225"/>
                <a:gd name="connsiteY397" fmla="*/ 995260 h 1800225"/>
                <a:gd name="connsiteX398" fmla="*/ 745331 w 1800225"/>
                <a:gd name="connsiteY398" fmla="*/ 965732 h 1800225"/>
                <a:gd name="connsiteX399" fmla="*/ 744379 w 1800225"/>
                <a:gd name="connsiteY399" fmla="*/ 925727 h 1800225"/>
                <a:gd name="connsiteX400" fmla="*/ 743426 w 1800225"/>
                <a:gd name="connsiteY400" fmla="*/ 875245 h 1800225"/>
                <a:gd name="connsiteX401" fmla="*/ 742474 w 1800225"/>
                <a:gd name="connsiteY401" fmla="*/ 835240 h 1800225"/>
                <a:gd name="connsiteX402" fmla="*/ 772001 w 1800225"/>
                <a:gd name="connsiteY402" fmla="*/ 807617 h 1800225"/>
                <a:gd name="connsiteX403" fmla="*/ 809149 w 1800225"/>
                <a:gd name="connsiteY403" fmla="*/ 773327 h 1800225"/>
                <a:gd name="connsiteX404" fmla="*/ 838676 w 1800225"/>
                <a:gd name="connsiteY404" fmla="*/ 745705 h 1800225"/>
                <a:gd name="connsiteX405" fmla="*/ 878681 w 1800225"/>
                <a:gd name="connsiteY405" fmla="*/ 744752 h 1800225"/>
                <a:gd name="connsiteX406" fmla="*/ 929164 w 1800225"/>
                <a:gd name="connsiteY406" fmla="*/ 743800 h 1800225"/>
                <a:gd name="connsiteX407" fmla="*/ 969169 w 1800225"/>
                <a:gd name="connsiteY407" fmla="*/ 742847 h 1800225"/>
                <a:gd name="connsiteX408" fmla="*/ 996791 w 1800225"/>
                <a:gd name="connsiteY408" fmla="*/ 772375 h 1800225"/>
                <a:gd name="connsiteX409" fmla="*/ 1031081 w 1800225"/>
                <a:gd name="connsiteY409" fmla="*/ 809522 h 1800225"/>
                <a:gd name="connsiteX410" fmla="*/ 1057751 w 1800225"/>
                <a:gd name="connsiteY410" fmla="*/ 839050 h 1800225"/>
                <a:gd name="connsiteX411" fmla="*/ 1059656 w 1800225"/>
                <a:gd name="connsiteY411" fmla="*/ 879055 h 1800225"/>
                <a:gd name="connsiteX412" fmla="*/ 1178719 w 1800225"/>
                <a:gd name="connsiteY412" fmla="*/ 1150517 h 1800225"/>
                <a:gd name="connsiteX413" fmla="*/ 1066324 w 1800225"/>
                <a:gd name="connsiteY413" fmla="*/ 1033360 h 1800225"/>
                <a:gd name="connsiteX414" fmla="*/ 1103471 w 1800225"/>
                <a:gd name="connsiteY414" fmla="*/ 999070 h 1800225"/>
                <a:gd name="connsiteX415" fmla="*/ 1112044 w 1800225"/>
                <a:gd name="connsiteY415" fmla="*/ 980020 h 1800225"/>
                <a:gd name="connsiteX416" fmla="*/ 1111091 w 1800225"/>
                <a:gd name="connsiteY416" fmla="*/ 929537 h 1800225"/>
                <a:gd name="connsiteX417" fmla="*/ 1272064 w 1800225"/>
                <a:gd name="connsiteY417" fmla="*/ 928585 h 1800225"/>
                <a:gd name="connsiteX418" fmla="*/ 1384459 w 1800225"/>
                <a:gd name="connsiteY418" fmla="*/ 1107655 h 1800225"/>
                <a:gd name="connsiteX419" fmla="*/ 1178719 w 1800225"/>
                <a:gd name="connsiteY419" fmla="*/ 1150517 h 1800225"/>
                <a:gd name="connsiteX420" fmla="*/ 926306 w 1800225"/>
                <a:gd name="connsiteY420" fmla="*/ 1260055 h 1800225"/>
                <a:gd name="connsiteX421" fmla="*/ 925354 w 1800225"/>
                <a:gd name="connsiteY421" fmla="*/ 1111465 h 1800225"/>
                <a:gd name="connsiteX422" fmla="*/ 975836 w 1800225"/>
                <a:gd name="connsiteY422" fmla="*/ 1110513 h 1800225"/>
                <a:gd name="connsiteX423" fmla="*/ 992981 w 1800225"/>
                <a:gd name="connsiteY423" fmla="*/ 1103845 h 1800225"/>
                <a:gd name="connsiteX424" fmla="*/ 1030129 w 1800225"/>
                <a:gd name="connsiteY424" fmla="*/ 1069555 h 1800225"/>
                <a:gd name="connsiteX425" fmla="*/ 1132999 w 1800225"/>
                <a:gd name="connsiteY425" fmla="*/ 1177188 h 1800225"/>
                <a:gd name="connsiteX426" fmla="*/ 1093946 w 1800225"/>
                <a:gd name="connsiteY426" fmla="*/ 1378165 h 1800225"/>
                <a:gd name="connsiteX427" fmla="*/ 926306 w 1800225"/>
                <a:gd name="connsiteY427" fmla="*/ 1260055 h 1800225"/>
                <a:gd name="connsiteX428" fmla="*/ 652939 w 1800225"/>
                <a:gd name="connsiteY428" fmla="*/ 1179092 h 1800225"/>
                <a:gd name="connsiteX429" fmla="*/ 769144 w 1800225"/>
                <a:gd name="connsiteY429" fmla="*/ 1067650 h 1800225"/>
                <a:gd name="connsiteX430" fmla="*/ 803434 w 1800225"/>
                <a:gd name="connsiteY430" fmla="*/ 1104797 h 1800225"/>
                <a:gd name="connsiteX431" fmla="*/ 822484 w 1800225"/>
                <a:gd name="connsiteY431" fmla="*/ 1112417 h 1800225"/>
                <a:gd name="connsiteX432" fmla="*/ 872966 w 1800225"/>
                <a:gd name="connsiteY432" fmla="*/ 1111465 h 1800225"/>
                <a:gd name="connsiteX433" fmla="*/ 872966 w 1800225"/>
                <a:gd name="connsiteY433" fmla="*/ 1274342 h 1800225"/>
                <a:gd name="connsiteX434" fmla="*/ 694849 w 1800225"/>
                <a:gd name="connsiteY434" fmla="*/ 1386738 h 1800225"/>
                <a:gd name="connsiteX435" fmla="*/ 652939 w 1800225"/>
                <a:gd name="connsiteY435" fmla="*/ 1179092 h 1800225"/>
                <a:gd name="connsiteX436" fmla="*/ 545306 w 1800225"/>
                <a:gd name="connsiteY436" fmla="*/ 926680 h 1800225"/>
                <a:gd name="connsiteX437" fmla="*/ 693896 w 1800225"/>
                <a:gd name="connsiteY437" fmla="*/ 925727 h 1800225"/>
                <a:gd name="connsiteX438" fmla="*/ 694849 w 1800225"/>
                <a:gd name="connsiteY438" fmla="*/ 976210 h 1800225"/>
                <a:gd name="connsiteX439" fmla="*/ 701516 w 1800225"/>
                <a:gd name="connsiteY439" fmla="*/ 993355 h 1800225"/>
                <a:gd name="connsiteX440" fmla="*/ 735806 w 1800225"/>
                <a:gd name="connsiteY440" fmla="*/ 1030502 h 1800225"/>
                <a:gd name="connsiteX441" fmla="*/ 628174 w 1800225"/>
                <a:gd name="connsiteY441" fmla="*/ 1132420 h 1800225"/>
                <a:gd name="connsiteX442" fmla="*/ 627221 w 1800225"/>
                <a:gd name="connsiteY442" fmla="*/ 1131467 h 1800225"/>
                <a:gd name="connsiteX443" fmla="*/ 426244 w 1800225"/>
                <a:gd name="connsiteY443" fmla="*/ 1093367 h 1800225"/>
                <a:gd name="connsiteX444" fmla="*/ 545306 w 1800225"/>
                <a:gd name="connsiteY444" fmla="*/ 926680 h 1800225"/>
                <a:gd name="connsiteX445" fmla="*/ 626269 w 1800225"/>
                <a:gd name="connsiteY445" fmla="*/ 654265 h 1800225"/>
                <a:gd name="connsiteX446" fmla="*/ 737711 w 1800225"/>
                <a:gd name="connsiteY446" fmla="*/ 770470 h 1800225"/>
                <a:gd name="connsiteX447" fmla="*/ 700564 w 1800225"/>
                <a:gd name="connsiteY447" fmla="*/ 804760 h 1800225"/>
                <a:gd name="connsiteX448" fmla="*/ 691991 w 1800225"/>
                <a:gd name="connsiteY448" fmla="*/ 823810 h 1800225"/>
                <a:gd name="connsiteX449" fmla="*/ 692944 w 1800225"/>
                <a:gd name="connsiteY449" fmla="*/ 875245 h 1800225"/>
                <a:gd name="connsiteX450" fmla="*/ 531971 w 1800225"/>
                <a:gd name="connsiteY450" fmla="*/ 876197 h 1800225"/>
                <a:gd name="connsiteX451" fmla="*/ 418624 w 1800225"/>
                <a:gd name="connsiteY451" fmla="*/ 697127 h 1800225"/>
                <a:gd name="connsiteX452" fmla="*/ 626269 w 1800225"/>
                <a:gd name="connsiteY452" fmla="*/ 654265 h 1800225"/>
                <a:gd name="connsiteX453" fmla="*/ 877729 w 1800225"/>
                <a:gd name="connsiteY453" fmla="*/ 545680 h 1800225"/>
                <a:gd name="connsiteX454" fmla="*/ 877729 w 1800225"/>
                <a:gd name="connsiteY454" fmla="*/ 695222 h 1800225"/>
                <a:gd name="connsiteX455" fmla="*/ 827246 w 1800225"/>
                <a:gd name="connsiteY455" fmla="*/ 696175 h 1800225"/>
                <a:gd name="connsiteX456" fmla="*/ 817721 w 1800225"/>
                <a:gd name="connsiteY456" fmla="*/ 698080 h 1800225"/>
                <a:gd name="connsiteX457" fmla="*/ 810101 w 1800225"/>
                <a:gd name="connsiteY457" fmla="*/ 703795 h 1800225"/>
                <a:gd name="connsiteX458" fmla="*/ 773906 w 1800225"/>
                <a:gd name="connsiteY458" fmla="*/ 738085 h 1800225"/>
                <a:gd name="connsiteX459" fmla="*/ 671989 w 1800225"/>
                <a:gd name="connsiteY459" fmla="*/ 629500 h 1800225"/>
                <a:gd name="connsiteX460" fmla="*/ 711041 w 1800225"/>
                <a:gd name="connsiteY460" fmla="*/ 428522 h 1800225"/>
                <a:gd name="connsiteX461" fmla="*/ 877729 w 1800225"/>
                <a:gd name="connsiteY461" fmla="*/ 545680 h 1800225"/>
                <a:gd name="connsiteX462" fmla="*/ 1151096 w 1800225"/>
                <a:gd name="connsiteY462" fmla="*/ 626642 h 1800225"/>
                <a:gd name="connsiteX463" fmla="*/ 1034891 w 1800225"/>
                <a:gd name="connsiteY463" fmla="*/ 738085 h 1800225"/>
                <a:gd name="connsiteX464" fmla="*/ 999649 w 1800225"/>
                <a:gd name="connsiteY464" fmla="*/ 699985 h 1800225"/>
                <a:gd name="connsiteX465" fmla="*/ 980599 w 1800225"/>
                <a:gd name="connsiteY465" fmla="*/ 692365 h 1800225"/>
                <a:gd name="connsiteX466" fmla="*/ 929164 w 1800225"/>
                <a:gd name="connsiteY466" fmla="*/ 693317 h 1800225"/>
                <a:gd name="connsiteX467" fmla="*/ 928211 w 1800225"/>
                <a:gd name="connsiteY467" fmla="*/ 532345 h 1800225"/>
                <a:gd name="connsiteX468" fmla="*/ 1107281 w 1800225"/>
                <a:gd name="connsiteY468" fmla="*/ 419950 h 1800225"/>
                <a:gd name="connsiteX469" fmla="*/ 1151096 w 1800225"/>
                <a:gd name="connsiteY469" fmla="*/ 626642 h 180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</a:cxnLst>
              <a:rect l="l" t="t" r="r" b="b"/>
              <a:pathLst>
                <a:path w="1800225" h="1800225">
                  <a:moveTo>
                    <a:pt x="1546384" y="280885"/>
                  </a:moveTo>
                  <a:cubicBezTo>
                    <a:pt x="1536859" y="270407"/>
                    <a:pt x="1520666" y="270407"/>
                    <a:pt x="1511141" y="279932"/>
                  </a:cubicBezTo>
                  <a:lnTo>
                    <a:pt x="1467326" y="320890"/>
                  </a:lnTo>
                  <a:lnTo>
                    <a:pt x="1457801" y="275170"/>
                  </a:lnTo>
                  <a:cubicBezTo>
                    <a:pt x="1454944" y="261835"/>
                    <a:pt x="1441609" y="253262"/>
                    <a:pt x="1427321" y="256120"/>
                  </a:cubicBezTo>
                  <a:cubicBezTo>
                    <a:pt x="1426369" y="256120"/>
                    <a:pt x="1424464" y="257072"/>
                    <a:pt x="1423511" y="257072"/>
                  </a:cubicBezTo>
                  <a:cubicBezTo>
                    <a:pt x="1412081" y="261835"/>
                    <a:pt x="1405414" y="273265"/>
                    <a:pt x="1408271" y="285647"/>
                  </a:cubicBezTo>
                  <a:lnTo>
                    <a:pt x="1424464" y="361847"/>
                  </a:lnTo>
                  <a:lnTo>
                    <a:pt x="1424464" y="361847"/>
                  </a:lnTo>
                  <a:lnTo>
                    <a:pt x="1378744" y="405662"/>
                  </a:lnTo>
                  <a:lnTo>
                    <a:pt x="1378744" y="405662"/>
                  </a:lnTo>
                  <a:lnTo>
                    <a:pt x="1356836" y="306602"/>
                  </a:lnTo>
                  <a:cubicBezTo>
                    <a:pt x="1353979" y="293267"/>
                    <a:pt x="1340644" y="284695"/>
                    <a:pt x="1326356" y="287552"/>
                  </a:cubicBezTo>
                  <a:cubicBezTo>
                    <a:pt x="1324451" y="287552"/>
                    <a:pt x="1323499" y="288505"/>
                    <a:pt x="1322546" y="288505"/>
                  </a:cubicBezTo>
                  <a:cubicBezTo>
                    <a:pt x="1311116" y="293267"/>
                    <a:pt x="1304449" y="304697"/>
                    <a:pt x="1307306" y="317080"/>
                  </a:cubicBezTo>
                  <a:lnTo>
                    <a:pt x="1335881" y="445667"/>
                  </a:lnTo>
                  <a:lnTo>
                    <a:pt x="1335881" y="445667"/>
                  </a:lnTo>
                  <a:lnTo>
                    <a:pt x="1291114" y="488530"/>
                  </a:lnTo>
                  <a:lnTo>
                    <a:pt x="1291114" y="488530"/>
                  </a:lnTo>
                  <a:lnTo>
                    <a:pt x="1261586" y="353275"/>
                  </a:lnTo>
                  <a:cubicBezTo>
                    <a:pt x="1258729" y="339940"/>
                    <a:pt x="1245394" y="331367"/>
                    <a:pt x="1231106" y="334225"/>
                  </a:cubicBezTo>
                  <a:cubicBezTo>
                    <a:pt x="1230154" y="334225"/>
                    <a:pt x="1228249" y="335177"/>
                    <a:pt x="1227296" y="335177"/>
                  </a:cubicBezTo>
                  <a:cubicBezTo>
                    <a:pt x="1215866" y="339940"/>
                    <a:pt x="1209199" y="352322"/>
                    <a:pt x="1212056" y="363752"/>
                  </a:cubicBezTo>
                  <a:lnTo>
                    <a:pt x="1248251" y="529487"/>
                  </a:lnTo>
                  <a:lnTo>
                    <a:pt x="1193959" y="581875"/>
                  </a:lnTo>
                  <a:lnTo>
                    <a:pt x="1150144" y="372325"/>
                  </a:lnTo>
                  <a:cubicBezTo>
                    <a:pt x="1148239" y="364705"/>
                    <a:pt x="1142524" y="358037"/>
                    <a:pt x="1134904" y="354227"/>
                  </a:cubicBezTo>
                  <a:cubicBezTo>
                    <a:pt x="1127284" y="351370"/>
                    <a:pt x="1118711" y="352322"/>
                    <a:pt x="1111091" y="356132"/>
                  </a:cubicBezTo>
                  <a:lnTo>
                    <a:pt x="929164" y="471385"/>
                  </a:lnTo>
                  <a:lnTo>
                    <a:pt x="928211" y="396137"/>
                  </a:lnTo>
                  <a:lnTo>
                    <a:pt x="1072991" y="307555"/>
                  </a:lnTo>
                  <a:cubicBezTo>
                    <a:pt x="1084421" y="299935"/>
                    <a:pt x="1088231" y="284695"/>
                    <a:pt x="1081564" y="272312"/>
                  </a:cubicBezTo>
                  <a:cubicBezTo>
                    <a:pt x="1073944" y="259930"/>
                    <a:pt x="1058704" y="256120"/>
                    <a:pt x="1046321" y="263740"/>
                  </a:cubicBezTo>
                  <a:lnTo>
                    <a:pt x="929164" y="336130"/>
                  </a:lnTo>
                  <a:lnTo>
                    <a:pt x="929164" y="273265"/>
                  </a:lnTo>
                  <a:lnTo>
                    <a:pt x="1041559" y="203732"/>
                  </a:lnTo>
                  <a:cubicBezTo>
                    <a:pt x="1053941" y="196112"/>
                    <a:pt x="1056799" y="180872"/>
                    <a:pt x="1050131" y="168490"/>
                  </a:cubicBezTo>
                  <a:cubicBezTo>
                    <a:pt x="1042511" y="156107"/>
                    <a:pt x="1027271" y="152297"/>
                    <a:pt x="1014889" y="159917"/>
                  </a:cubicBezTo>
                  <a:lnTo>
                    <a:pt x="929164" y="212305"/>
                  </a:lnTo>
                  <a:lnTo>
                    <a:pt x="929164" y="149440"/>
                  </a:lnTo>
                  <a:lnTo>
                    <a:pt x="929164" y="148487"/>
                  </a:lnTo>
                  <a:lnTo>
                    <a:pt x="994886" y="107530"/>
                  </a:lnTo>
                  <a:cubicBezTo>
                    <a:pt x="1006316" y="99910"/>
                    <a:pt x="1010126" y="84670"/>
                    <a:pt x="1003459" y="72287"/>
                  </a:cubicBezTo>
                  <a:cubicBezTo>
                    <a:pt x="995839" y="59905"/>
                    <a:pt x="980599" y="56095"/>
                    <a:pt x="968216" y="63715"/>
                  </a:cubicBezTo>
                  <a:lnTo>
                    <a:pt x="929164" y="88480"/>
                  </a:lnTo>
                  <a:lnTo>
                    <a:pt x="929164" y="88480"/>
                  </a:lnTo>
                  <a:lnTo>
                    <a:pt x="929164" y="28472"/>
                  </a:lnTo>
                  <a:cubicBezTo>
                    <a:pt x="927259" y="17995"/>
                    <a:pt x="915829" y="7517"/>
                    <a:pt x="902494" y="7517"/>
                  </a:cubicBezTo>
                  <a:cubicBezTo>
                    <a:pt x="898684" y="6565"/>
                    <a:pt x="895826" y="7517"/>
                    <a:pt x="892969" y="9422"/>
                  </a:cubicBezTo>
                  <a:cubicBezTo>
                    <a:pt x="883444" y="13232"/>
                    <a:pt x="877729" y="21805"/>
                    <a:pt x="876776" y="32282"/>
                  </a:cubicBezTo>
                  <a:lnTo>
                    <a:pt x="876776" y="82765"/>
                  </a:lnTo>
                  <a:lnTo>
                    <a:pt x="852011" y="66572"/>
                  </a:lnTo>
                  <a:cubicBezTo>
                    <a:pt x="845344" y="61810"/>
                    <a:pt x="836771" y="60857"/>
                    <a:pt x="829151" y="64667"/>
                  </a:cubicBezTo>
                  <a:cubicBezTo>
                    <a:pt x="824389" y="66572"/>
                    <a:pt x="820579" y="69430"/>
                    <a:pt x="817721" y="74192"/>
                  </a:cubicBezTo>
                  <a:cubicBezTo>
                    <a:pt x="810101" y="85622"/>
                    <a:pt x="812959" y="101815"/>
                    <a:pt x="824389" y="109435"/>
                  </a:cubicBezTo>
                  <a:lnTo>
                    <a:pt x="877729" y="144677"/>
                  </a:lnTo>
                  <a:lnTo>
                    <a:pt x="876776" y="206590"/>
                  </a:lnTo>
                  <a:lnTo>
                    <a:pt x="807244" y="159917"/>
                  </a:lnTo>
                  <a:cubicBezTo>
                    <a:pt x="799624" y="155155"/>
                    <a:pt x="791051" y="154202"/>
                    <a:pt x="783431" y="157060"/>
                  </a:cubicBezTo>
                  <a:cubicBezTo>
                    <a:pt x="778669" y="158965"/>
                    <a:pt x="774859" y="161822"/>
                    <a:pt x="772001" y="166585"/>
                  </a:cubicBezTo>
                  <a:cubicBezTo>
                    <a:pt x="764381" y="178015"/>
                    <a:pt x="767239" y="194207"/>
                    <a:pt x="778669" y="201827"/>
                  </a:cubicBezTo>
                  <a:lnTo>
                    <a:pt x="877729" y="268502"/>
                  </a:lnTo>
                  <a:lnTo>
                    <a:pt x="877729" y="268502"/>
                  </a:lnTo>
                  <a:lnTo>
                    <a:pt x="877729" y="343750"/>
                  </a:lnTo>
                  <a:lnTo>
                    <a:pt x="754856" y="260882"/>
                  </a:lnTo>
                  <a:cubicBezTo>
                    <a:pt x="747236" y="256120"/>
                    <a:pt x="738664" y="255167"/>
                    <a:pt x="731044" y="258025"/>
                  </a:cubicBezTo>
                  <a:cubicBezTo>
                    <a:pt x="726281" y="259930"/>
                    <a:pt x="722471" y="262787"/>
                    <a:pt x="719614" y="267550"/>
                  </a:cubicBezTo>
                  <a:cubicBezTo>
                    <a:pt x="711994" y="278980"/>
                    <a:pt x="714851" y="295172"/>
                    <a:pt x="726281" y="302792"/>
                  </a:cubicBezTo>
                  <a:lnTo>
                    <a:pt x="878681" y="404710"/>
                  </a:lnTo>
                  <a:lnTo>
                    <a:pt x="878681" y="483767"/>
                  </a:lnTo>
                  <a:lnTo>
                    <a:pt x="707231" y="363752"/>
                  </a:lnTo>
                  <a:cubicBezTo>
                    <a:pt x="699611" y="358990"/>
                    <a:pt x="691039" y="358037"/>
                    <a:pt x="683419" y="361847"/>
                  </a:cubicBezTo>
                  <a:cubicBezTo>
                    <a:pt x="675799" y="364705"/>
                    <a:pt x="670084" y="371372"/>
                    <a:pt x="668179" y="379945"/>
                  </a:cubicBezTo>
                  <a:lnTo>
                    <a:pt x="628174" y="584732"/>
                  </a:lnTo>
                  <a:lnTo>
                    <a:pt x="573881" y="528535"/>
                  </a:lnTo>
                  <a:lnTo>
                    <a:pt x="611981" y="349465"/>
                  </a:lnTo>
                  <a:cubicBezTo>
                    <a:pt x="614839" y="336130"/>
                    <a:pt x="606266" y="322795"/>
                    <a:pt x="592931" y="318985"/>
                  </a:cubicBezTo>
                  <a:cubicBezTo>
                    <a:pt x="588169" y="318032"/>
                    <a:pt x="582454" y="318032"/>
                    <a:pt x="577691" y="319937"/>
                  </a:cubicBezTo>
                  <a:cubicBezTo>
                    <a:pt x="570071" y="322795"/>
                    <a:pt x="564356" y="329462"/>
                    <a:pt x="562451" y="338035"/>
                  </a:cubicBezTo>
                  <a:lnTo>
                    <a:pt x="531019" y="482815"/>
                  </a:lnTo>
                  <a:lnTo>
                    <a:pt x="478631" y="428522"/>
                  </a:lnTo>
                  <a:lnTo>
                    <a:pt x="478631" y="428522"/>
                  </a:lnTo>
                  <a:lnTo>
                    <a:pt x="504349" y="312317"/>
                  </a:lnTo>
                  <a:cubicBezTo>
                    <a:pt x="507206" y="298982"/>
                    <a:pt x="498634" y="285647"/>
                    <a:pt x="485299" y="281837"/>
                  </a:cubicBezTo>
                  <a:cubicBezTo>
                    <a:pt x="480536" y="280885"/>
                    <a:pt x="474821" y="280885"/>
                    <a:pt x="470059" y="282790"/>
                  </a:cubicBezTo>
                  <a:cubicBezTo>
                    <a:pt x="462439" y="285647"/>
                    <a:pt x="456724" y="292315"/>
                    <a:pt x="454819" y="300887"/>
                  </a:cubicBezTo>
                  <a:lnTo>
                    <a:pt x="437674" y="382802"/>
                  </a:lnTo>
                  <a:lnTo>
                    <a:pt x="393859" y="338987"/>
                  </a:lnTo>
                  <a:lnTo>
                    <a:pt x="407194" y="276122"/>
                  </a:lnTo>
                  <a:cubicBezTo>
                    <a:pt x="410051" y="262787"/>
                    <a:pt x="401479" y="249452"/>
                    <a:pt x="388144" y="245642"/>
                  </a:cubicBezTo>
                  <a:cubicBezTo>
                    <a:pt x="383381" y="244690"/>
                    <a:pt x="377666" y="244690"/>
                    <a:pt x="373856" y="246595"/>
                  </a:cubicBezTo>
                  <a:cubicBezTo>
                    <a:pt x="366236" y="249452"/>
                    <a:pt x="360521" y="256120"/>
                    <a:pt x="358616" y="264692"/>
                  </a:cubicBezTo>
                  <a:lnTo>
                    <a:pt x="352901" y="293267"/>
                  </a:lnTo>
                  <a:lnTo>
                    <a:pt x="317659" y="257072"/>
                  </a:lnTo>
                  <a:cubicBezTo>
                    <a:pt x="310039" y="250405"/>
                    <a:pt x="299561" y="247547"/>
                    <a:pt x="290036" y="251357"/>
                  </a:cubicBezTo>
                  <a:cubicBezTo>
                    <a:pt x="287179" y="252310"/>
                    <a:pt x="284321" y="253262"/>
                    <a:pt x="282416" y="257072"/>
                  </a:cubicBezTo>
                  <a:cubicBezTo>
                    <a:pt x="271939" y="266597"/>
                    <a:pt x="271939" y="281837"/>
                    <a:pt x="281464" y="292315"/>
                  </a:cubicBezTo>
                  <a:lnTo>
                    <a:pt x="323374" y="335177"/>
                  </a:lnTo>
                  <a:lnTo>
                    <a:pt x="323374" y="335177"/>
                  </a:lnTo>
                  <a:lnTo>
                    <a:pt x="277654" y="344702"/>
                  </a:lnTo>
                  <a:cubicBezTo>
                    <a:pt x="264319" y="347560"/>
                    <a:pt x="255746" y="360895"/>
                    <a:pt x="258604" y="375182"/>
                  </a:cubicBezTo>
                  <a:cubicBezTo>
                    <a:pt x="261461" y="388517"/>
                    <a:pt x="274796" y="397090"/>
                    <a:pt x="289084" y="394232"/>
                  </a:cubicBezTo>
                  <a:lnTo>
                    <a:pt x="364331" y="378040"/>
                  </a:lnTo>
                  <a:lnTo>
                    <a:pt x="364331" y="378040"/>
                  </a:lnTo>
                  <a:lnTo>
                    <a:pt x="407194" y="423760"/>
                  </a:lnTo>
                  <a:lnTo>
                    <a:pt x="309086" y="444715"/>
                  </a:lnTo>
                  <a:cubicBezTo>
                    <a:pt x="295751" y="447572"/>
                    <a:pt x="287179" y="460907"/>
                    <a:pt x="290036" y="475195"/>
                  </a:cubicBezTo>
                  <a:cubicBezTo>
                    <a:pt x="292894" y="488530"/>
                    <a:pt x="306229" y="497102"/>
                    <a:pt x="320516" y="494245"/>
                  </a:cubicBezTo>
                  <a:lnTo>
                    <a:pt x="449104" y="465670"/>
                  </a:lnTo>
                  <a:lnTo>
                    <a:pt x="491966" y="511390"/>
                  </a:lnTo>
                  <a:lnTo>
                    <a:pt x="356711" y="540917"/>
                  </a:lnTo>
                  <a:cubicBezTo>
                    <a:pt x="343376" y="543775"/>
                    <a:pt x="334804" y="557110"/>
                    <a:pt x="337661" y="571397"/>
                  </a:cubicBezTo>
                  <a:cubicBezTo>
                    <a:pt x="340519" y="584732"/>
                    <a:pt x="353854" y="593305"/>
                    <a:pt x="368141" y="590447"/>
                  </a:cubicBezTo>
                  <a:lnTo>
                    <a:pt x="533876" y="554252"/>
                  </a:lnTo>
                  <a:lnTo>
                    <a:pt x="585311" y="608545"/>
                  </a:lnTo>
                  <a:lnTo>
                    <a:pt x="371951" y="655217"/>
                  </a:lnTo>
                  <a:cubicBezTo>
                    <a:pt x="364331" y="657122"/>
                    <a:pt x="357664" y="661885"/>
                    <a:pt x="353854" y="670457"/>
                  </a:cubicBezTo>
                  <a:cubicBezTo>
                    <a:pt x="351949" y="678077"/>
                    <a:pt x="351949" y="686650"/>
                    <a:pt x="355759" y="693317"/>
                  </a:cubicBezTo>
                  <a:lnTo>
                    <a:pt x="471964" y="876197"/>
                  </a:lnTo>
                  <a:lnTo>
                    <a:pt x="395764" y="876197"/>
                  </a:lnTo>
                  <a:lnTo>
                    <a:pt x="307181" y="731417"/>
                  </a:lnTo>
                  <a:cubicBezTo>
                    <a:pt x="300514" y="720940"/>
                    <a:pt x="287179" y="717130"/>
                    <a:pt x="275749" y="720940"/>
                  </a:cubicBezTo>
                  <a:cubicBezTo>
                    <a:pt x="274796" y="721892"/>
                    <a:pt x="272891" y="721892"/>
                    <a:pt x="271939" y="722845"/>
                  </a:cubicBezTo>
                  <a:cubicBezTo>
                    <a:pt x="260509" y="730465"/>
                    <a:pt x="256699" y="745705"/>
                    <a:pt x="263366" y="758087"/>
                  </a:cubicBezTo>
                  <a:lnTo>
                    <a:pt x="335756" y="876197"/>
                  </a:lnTo>
                  <a:lnTo>
                    <a:pt x="335756" y="876197"/>
                  </a:lnTo>
                  <a:lnTo>
                    <a:pt x="273844" y="876197"/>
                  </a:lnTo>
                  <a:lnTo>
                    <a:pt x="272891" y="876197"/>
                  </a:lnTo>
                  <a:lnTo>
                    <a:pt x="203359" y="763802"/>
                  </a:lnTo>
                  <a:cubicBezTo>
                    <a:pt x="196691" y="753325"/>
                    <a:pt x="183356" y="749515"/>
                    <a:pt x="171926" y="753325"/>
                  </a:cubicBezTo>
                  <a:cubicBezTo>
                    <a:pt x="170974" y="754277"/>
                    <a:pt x="169069" y="754277"/>
                    <a:pt x="168116" y="755230"/>
                  </a:cubicBezTo>
                  <a:cubicBezTo>
                    <a:pt x="155734" y="762850"/>
                    <a:pt x="152876" y="778090"/>
                    <a:pt x="159544" y="790472"/>
                  </a:cubicBezTo>
                  <a:lnTo>
                    <a:pt x="212884" y="876197"/>
                  </a:lnTo>
                  <a:lnTo>
                    <a:pt x="212884" y="876197"/>
                  </a:lnTo>
                  <a:lnTo>
                    <a:pt x="150019" y="876197"/>
                  </a:lnTo>
                  <a:lnTo>
                    <a:pt x="150019" y="876197"/>
                  </a:lnTo>
                  <a:lnTo>
                    <a:pt x="109061" y="809522"/>
                  </a:lnTo>
                  <a:cubicBezTo>
                    <a:pt x="102394" y="799045"/>
                    <a:pt x="89059" y="794282"/>
                    <a:pt x="77629" y="799045"/>
                  </a:cubicBezTo>
                  <a:cubicBezTo>
                    <a:pt x="76676" y="799997"/>
                    <a:pt x="74771" y="799997"/>
                    <a:pt x="73819" y="800950"/>
                  </a:cubicBezTo>
                  <a:cubicBezTo>
                    <a:pt x="62389" y="808570"/>
                    <a:pt x="58579" y="823810"/>
                    <a:pt x="65246" y="836192"/>
                  </a:cubicBezTo>
                  <a:lnTo>
                    <a:pt x="90011" y="876197"/>
                  </a:lnTo>
                  <a:lnTo>
                    <a:pt x="30004" y="877150"/>
                  </a:lnTo>
                  <a:cubicBezTo>
                    <a:pt x="18574" y="876197"/>
                    <a:pt x="7144" y="888580"/>
                    <a:pt x="7144" y="902867"/>
                  </a:cubicBezTo>
                  <a:cubicBezTo>
                    <a:pt x="7144" y="916202"/>
                    <a:pt x="18574" y="927632"/>
                    <a:pt x="32861" y="927632"/>
                  </a:cubicBezTo>
                  <a:lnTo>
                    <a:pt x="82391" y="926680"/>
                  </a:lnTo>
                  <a:lnTo>
                    <a:pt x="83344" y="926680"/>
                  </a:lnTo>
                  <a:lnTo>
                    <a:pt x="67151" y="951445"/>
                  </a:lnTo>
                  <a:cubicBezTo>
                    <a:pt x="59531" y="962875"/>
                    <a:pt x="62389" y="979067"/>
                    <a:pt x="73819" y="986687"/>
                  </a:cubicBezTo>
                  <a:cubicBezTo>
                    <a:pt x="85249" y="994307"/>
                    <a:pt x="101441" y="991450"/>
                    <a:pt x="109061" y="980020"/>
                  </a:cubicBezTo>
                  <a:lnTo>
                    <a:pt x="144304" y="927632"/>
                  </a:lnTo>
                  <a:lnTo>
                    <a:pt x="207169" y="927632"/>
                  </a:lnTo>
                  <a:lnTo>
                    <a:pt x="207169" y="927632"/>
                  </a:lnTo>
                  <a:lnTo>
                    <a:pt x="159544" y="998117"/>
                  </a:lnTo>
                  <a:cubicBezTo>
                    <a:pt x="151924" y="1009547"/>
                    <a:pt x="154781" y="1025740"/>
                    <a:pt x="166211" y="1033360"/>
                  </a:cubicBezTo>
                  <a:cubicBezTo>
                    <a:pt x="177641" y="1040980"/>
                    <a:pt x="193834" y="1038122"/>
                    <a:pt x="201454" y="1026692"/>
                  </a:cubicBezTo>
                  <a:lnTo>
                    <a:pt x="268129" y="927632"/>
                  </a:lnTo>
                  <a:lnTo>
                    <a:pt x="342424" y="928585"/>
                  </a:lnTo>
                  <a:lnTo>
                    <a:pt x="260509" y="1051457"/>
                  </a:lnTo>
                  <a:cubicBezTo>
                    <a:pt x="252889" y="1062888"/>
                    <a:pt x="255746" y="1079080"/>
                    <a:pt x="267176" y="1086700"/>
                  </a:cubicBezTo>
                  <a:cubicBezTo>
                    <a:pt x="278606" y="1094320"/>
                    <a:pt x="294799" y="1091463"/>
                    <a:pt x="302419" y="1080032"/>
                  </a:cubicBezTo>
                  <a:lnTo>
                    <a:pt x="404336" y="928585"/>
                  </a:lnTo>
                  <a:lnTo>
                    <a:pt x="483394" y="928585"/>
                  </a:lnTo>
                  <a:lnTo>
                    <a:pt x="362426" y="1100035"/>
                  </a:lnTo>
                  <a:cubicBezTo>
                    <a:pt x="357664" y="1106702"/>
                    <a:pt x="356711" y="1115275"/>
                    <a:pt x="360521" y="1123847"/>
                  </a:cubicBezTo>
                  <a:cubicBezTo>
                    <a:pt x="363379" y="1131467"/>
                    <a:pt x="370046" y="1137182"/>
                    <a:pt x="378619" y="1139088"/>
                  </a:cubicBezTo>
                  <a:lnTo>
                    <a:pt x="584359" y="1177188"/>
                  </a:lnTo>
                  <a:lnTo>
                    <a:pt x="528161" y="1232433"/>
                  </a:lnTo>
                  <a:lnTo>
                    <a:pt x="349091" y="1193380"/>
                  </a:lnTo>
                  <a:cubicBezTo>
                    <a:pt x="344329" y="1192427"/>
                    <a:pt x="338614" y="1192427"/>
                    <a:pt x="334804" y="1194332"/>
                  </a:cubicBezTo>
                  <a:cubicBezTo>
                    <a:pt x="327184" y="1197190"/>
                    <a:pt x="321469" y="1203857"/>
                    <a:pt x="319564" y="1212430"/>
                  </a:cubicBezTo>
                  <a:cubicBezTo>
                    <a:pt x="316706" y="1225765"/>
                    <a:pt x="325279" y="1240052"/>
                    <a:pt x="338614" y="1242910"/>
                  </a:cubicBezTo>
                  <a:lnTo>
                    <a:pt x="483394" y="1274342"/>
                  </a:lnTo>
                  <a:lnTo>
                    <a:pt x="483394" y="1274342"/>
                  </a:lnTo>
                  <a:lnTo>
                    <a:pt x="429101" y="1326730"/>
                  </a:lnTo>
                  <a:lnTo>
                    <a:pt x="311944" y="1300060"/>
                  </a:lnTo>
                  <a:cubicBezTo>
                    <a:pt x="307181" y="1299108"/>
                    <a:pt x="301466" y="1299108"/>
                    <a:pt x="296704" y="1301013"/>
                  </a:cubicBezTo>
                  <a:cubicBezTo>
                    <a:pt x="289084" y="1303870"/>
                    <a:pt x="283369" y="1310538"/>
                    <a:pt x="281464" y="1319110"/>
                  </a:cubicBezTo>
                  <a:cubicBezTo>
                    <a:pt x="278606" y="1332445"/>
                    <a:pt x="287179" y="1345780"/>
                    <a:pt x="300514" y="1349590"/>
                  </a:cubicBezTo>
                  <a:lnTo>
                    <a:pt x="383381" y="1367688"/>
                  </a:lnTo>
                  <a:lnTo>
                    <a:pt x="337661" y="1411502"/>
                  </a:lnTo>
                  <a:lnTo>
                    <a:pt x="337661" y="1411502"/>
                  </a:lnTo>
                  <a:lnTo>
                    <a:pt x="275749" y="1398167"/>
                  </a:lnTo>
                  <a:cubicBezTo>
                    <a:pt x="270986" y="1397215"/>
                    <a:pt x="265271" y="1397215"/>
                    <a:pt x="261461" y="1399120"/>
                  </a:cubicBezTo>
                  <a:cubicBezTo>
                    <a:pt x="253841" y="1401977"/>
                    <a:pt x="248126" y="1408645"/>
                    <a:pt x="246221" y="1417217"/>
                  </a:cubicBezTo>
                  <a:cubicBezTo>
                    <a:pt x="243364" y="1430552"/>
                    <a:pt x="251936" y="1443888"/>
                    <a:pt x="265271" y="1447697"/>
                  </a:cubicBezTo>
                  <a:lnTo>
                    <a:pt x="293846" y="1454365"/>
                  </a:lnTo>
                  <a:lnTo>
                    <a:pt x="293846" y="1454365"/>
                  </a:lnTo>
                  <a:lnTo>
                    <a:pt x="257651" y="1488655"/>
                  </a:lnTo>
                  <a:cubicBezTo>
                    <a:pt x="247174" y="1498180"/>
                    <a:pt x="247174" y="1514372"/>
                    <a:pt x="256699" y="1524850"/>
                  </a:cubicBezTo>
                  <a:cubicBezTo>
                    <a:pt x="266224" y="1535327"/>
                    <a:pt x="282416" y="1535327"/>
                    <a:pt x="291941" y="1525802"/>
                  </a:cubicBezTo>
                  <a:lnTo>
                    <a:pt x="334804" y="1483892"/>
                  </a:lnTo>
                  <a:lnTo>
                    <a:pt x="334804" y="1483892"/>
                  </a:lnTo>
                  <a:lnTo>
                    <a:pt x="344329" y="1528660"/>
                  </a:lnTo>
                  <a:cubicBezTo>
                    <a:pt x="347186" y="1541995"/>
                    <a:pt x="360521" y="1550567"/>
                    <a:pt x="374809" y="1547710"/>
                  </a:cubicBezTo>
                  <a:cubicBezTo>
                    <a:pt x="388144" y="1544852"/>
                    <a:pt x="396716" y="1531517"/>
                    <a:pt x="393859" y="1517230"/>
                  </a:cubicBezTo>
                  <a:lnTo>
                    <a:pt x="377666" y="1441983"/>
                  </a:lnTo>
                  <a:lnTo>
                    <a:pt x="377666" y="1441983"/>
                  </a:lnTo>
                  <a:lnTo>
                    <a:pt x="423386" y="1398167"/>
                  </a:lnTo>
                  <a:lnTo>
                    <a:pt x="444341" y="1496275"/>
                  </a:lnTo>
                  <a:cubicBezTo>
                    <a:pt x="447199" y="1509610"/>
                    <a:pt x="460534" y="1518183"/>
                    <a:pt x="474821" y="1515325"/>
                  </a:cubicBezTo>
                  <a:cubicBezTo>
                    <a:pt x="488156" y="1512467"/>
                    <a:pt x="496729" y="1499133"/>
                    <a:pt x="493871" y="1484845"/>
                  </a:cubicBezTo>
                  <a:lnTo>
                    <a:pt x="466249" y="1356258"/>
                  </a:lnTo>
                  <a:lnTo>
                    <a:pt x="467201" y="1356258"/>
                  </a:lnTo>
                  <a:lnTo>
                    <a:pt x="511969" y="1313395"/>
                  </a:lnTo>
                  <a:lnTo>
                    <a:pt x="541496" y="1447697"/>
                  </a:lnTo>
                  <a:cubicBezTo>
                    <a:pt x="544354" y="1461033"/>
                    <a:pt x="557689" y="1469605"/>
                    <a:pt x="571976" y="1466747"/>
                  </a:cubicBezTo>
                  <a:cubicBezTo>
                    <a:pt x="585311" y="1463890"/>
                    <a:pt x="593884" y="1450555"/>
                    <a:pt x="591026" y="1436267"/>
                  </a:cubicBezTo>
                  <a:lnTo>
                    <a:pt x="554831" y="1270533"/>
                  </a:lnTo>
                  <a:lnTo>
                    <a:pt x="608171" y="1218145"/>
                  </a:lnTo>
                  <a:lnTo>
                    <a:pt x="651986" y="1429600"/>
                  </a:lnTo>
                  <a:cubicBezTo>
                    <a:pt x="653891" y="1437220"/>
                    <a:pt x="659606" y="1443888"/>
                    <a:pt x="667226" y="1447697"/>
                  </a:cubicBezTo>
                  <a:cubicBezTo>
                    <a:pt x="674846" y="1450555"/>
                    <a:pt x="683419" y="1450555"/>
                    <a:pt x="691039" y="1445792"/>
                  </a:cubicBezTo>
                  <a:lnTo>
                    <a:pt x="874871" y="1330540"/>
                  </a:lnTo>
                  <a:lnTo>
                    <a:pt x="874871" y="1405788"/>
                  </a:lnTo>
                  <a:lnTo>
                    <a:pt x="874871" y="1405788"/>
                  </a:lnTo>
                  <a:lnTo>
                    <a:pt x="731044" y="1497227"/>
                  </a:lnTo>
                  <a:cubicBezTo>
                    <a:pt x="719614" y="1504847"/>
                    <a:pt x="715804" y="1520088"/>
                    <a:pt x="722471" y="1532470"/>
                  </a:cubicBezTo>
                  <a:cubicBezTo>
                    <a:pt x="730091" y="1543900"/>
                    <a:pt x="745331" y="1547710"/>
                    <a:pt x="757714" y="1541042"/>
                  </a:cubicBezTo>
                  <a:lnTo>
                    <a:pt x="875824" y="1468652"/>
                  </a:lnTo>
                  <a:lnTo>
                    <a:pt x="875824" y="1468652"/>
                  </a:lnTo>
                  <a:lnTo>
                    <a:pt x="875824" y="1530565"/>
                  </a:lnTo>
                  <a:lnTo>
                    <a:pt x="875824" y="1530565"/>
                  </a:lnTo>
                  <a:lnTo>
                    <a:pt x="763429" y="1600097"/>
                  </a:lnTo>
                  <a:cubicBezTo>
                    <a:pt x="751999" y="1607717"/>
                    <a:pt x="748189" y="1622958"/>
                    <a:pt x="754856" y="1635340"/>
                  </a:cubicBezTo>
                  <a:cubicBezTo>
                    <a:pt x="762476" y="1647722"/>
                    <a:pt x="777716" y="1650580"/>
                    <a:pt x="790099" y="1643913"/>
                  </a:cubicBezTo>
                  <a:lnTo>
                    <a:pt x="875824" y="1590572"/>
                  </a:lnTo>
                  <a:lnTo>
                    <a:pt x="875824" y="1591525"/>
                  </a:lnTo>
                  <a:lnTo>
                    <a:pt x="875824" y="1654390"/>
                  </a:lnTo>
                  <a:lnTo>
                    <a:pt x="809149" y="1695347"/>
                  </a:lnTo>
                  <a:cubicBezTo>
                    <a:pt x="796766" y="1702967"/>
                    <a:pt x="793909" y="1718208"/>
                    <a:pt x="800576" y="1730590"/>
                  </a:cubicBezTo>
                  <a:cubicBezTo>
                    <a:pt x="808196" y="1742020"/>
                    <a:pt x="823436" y="1745830"/>
                    <a:pt x="835819" y="1739163"/>
                  </a:cubicBezTo>
                  <a:lnTo>
                    <a:pt x="875824" y="1714397"/>
                  </a:lnTo>
                  <a:lnTo>
                    <a:pt x="875824" y="1715350"/>
                  </a:lnTo>
                  <a:lnTo>
                    <a:pt x="875824" y="1774405"/>
                  </a:lnTo>
                  <a:cubicBezTo>
                    <a:pt x="875824" y="1788692"/>
                    <a:pt x="887254" y="1800122"/>
                    <a:pt x="901541" y="1800122"/>
                  </a:cubicBezTo>
                  <a:cubicBezTo>
                    <a:pt x="914876" y="1800122"/>
                    <a:pt x="926306" y="1788692"/>
                    <a:pt x="926306" y="1774405"/>
                  </a:cubicBezTo>
                  <a:lnTo>
                    <a:pt x="927259" y="1723922"/>
                  </a:lnTo>
                  <a:lnTo>
                    <a:pt x="927259" y="1723922"/>
                  </a:lnTo>
                  <a:lnTo>
                    <a:pt x="951071" y="1740115"/>
                  </a:lnTo>
                  <a:cubicBezTo>
                    <a:pt x="962501" y="1747735"/>
                    <a:pt x="978694" y="1744877"/>
                    <a:pt x="986314" y="1733447"/>
                  </a:cubicBezTo>
                  <a:cubicBezTo>
                    <a:pt x="993934" y="1722017"/>
                    <a:pt x="991076" y="1705825"/>
                    <a:pt x="979646" y="1698205"/>
                  </a:cubicBezTo>
                  <a:lnTo>
                    <a:pt x="926306" y="1662010"/>
                  </a:lnTo>
                  <a:lnTo>
                    <a:pt x="926306" y="1662010"/>
                  </a:lnTo>
                  <a:lnTo>
                    <a:pt x="926306" y="1600097"/>
                  </a:lnTo>
                  <a:lnTo>
                    <a:pt x="926306" y="1599145"/>
                  </a:lnTo>
                  <a:lnTo>
                    <a:pt x="926306" y="1599145"/>
                  </a:lnTo>
                  <a:lnTo>
                    <a:pt x="997744" y="1646770"/>
                  </a:lnTo>
                  <a:cubicBezTo>
                    <a:pt x="1009174" y="1654390"/>
                    <a:pt x="1025366" y="1651533"/>
                    <a:pt x="1032986" y="1640102"/>
                  </a:cubicBezTo>
                  <a:cubicBezTo>
                    <a:pt x="1040606" y="1628672"/>
                    <a:pt x="1037749" y="1612480"/>
                    <a:pt x="1026319" y="1604860"/>
                  </a:cubicBezTo>
                  <a:lnTo>
                    <a:pt x="927259" y="1538185"/>
                  </a:lnTo>
                  <a:lnTo>
                    <a:pt x="927259" y="1538185"/>
                  </a:lnTo>
                  <a:lnTo>
                    <a:pt x="928211" y="1463890"/>
                  </a:lnTo>
                  <a:lnTo>
                    <a:pt x="928211" y="1463890"/>
                  </a:lnTo>
                  <a:lnTo>
                    <a:pt x="1051084" y="1546758"/>
                  </a:lnTo>
                  <a:cubicBezTo>
                    <a:pt x="1062514" y="1554377"/>
                    <a:pt x="1078706" y="1551520"/>
                    <a:pt x="1086326" y="1540090"/>
                  </a:cubicBezTo>
                  <a:cubicBezTo>
                    <a:pt x="1093946" y="1528660"/>
                    <a:pt x="1091089" y="1512467"/>
                    <a:pt x="1079659" y="1504847"/>
                  </a:cubicBezTo>
                  <a:lnTo>
                    <a:pt x="927259" y="1402930"/>
                  </a:lnTo>
                  <a:lnTo>
                    <a:pt x="927259" y="1402930"/>
                  </a:lnTo>
                  <a:lnTo>
                    <a:pt x="927259" y="1323872"/>
                  </a:lnTo>
                  <a:lnTo>
                    <a:pt x="1097756" y="1443888"/>
                  </a:lnTo>
                  <a:cubicBezTo>
                    <a:pt x="1111091" y="1453413"/>
                    <a:pt x="1133951" y="1444840"/>
                    <a:pt x="1136809" y="1427695"/>
                  </a:cubicBezTo>
                  <a:lnTo>
                    <a:pt x="1176814" y="1222907"/>
                  </a:lnTo>
                  <a:lnTo>
                    <a:pt x="1231106" y="1279105"/>
                  </a:lnTo>
                  <a:lnTo>
                    <a:pt x="1231106" y="1279105"/>
                  </a:lnTo>
                  <a:lnTo>
                    <a:pt x="1192054" y="1458175"/>
                  </a:lnTo>
                  <a:cubicBezTo>
                    <a:pt x="1189196" y="1471510"/>
                    <a:pt x="1197769" y="1484845"/>
                    <a:pt x="1211104" y="1487702"/>
                  </a:cubicBezTo>
                  <a:cubicBezTo>
                    <a:pt x="1224439" y="1490560"/>
                    <a:pt x="1237774" y="1481988"/>
                    <a:pt x="1241584" y="1468652"/>
                  </a:cubicBezTo>
                  <a:lnTo>
                    <a:pt x="1273016" y="1323872"/>
                  </a:lnTo>
                  <a:lnTo>
                    <a:pt x="1273016" y="1323872"/>
                  </a:lnTo>
                  <a:lnTo>
                    <a:pt x="1325404" y="1377213"/>
                  </a:lnTo>
                  <a:lnTo>
                    <a:pt x="1325404" y="1377213"/>
                  </a:lnTo>
                  <a:lnTo>
                    <a:pt x="1300639" y="1494370"/>
                  </a:lnTo>
                  <a:cubicBezTo>
                    <a:pt x="1297781" y="1507705"/>
                    <a:pt x="1306354" y="1521040"/>
                    <a:pt x="1319689" y="1524850"/>
                  </a:cubicBezTo>
                  <a:cubicBezTo>
                    <a:pt x="1333024" y="1527708"/>
                    <a:pt x="1346359" y="1519135"/>
                    <a:pt x="1350169" y="1505800"/>
                  </a:cubicBezTo>
                  <a:lnTo>
                    <a:pt x="1368266" y="1421980"/>
                  </a:lnTo>
                  <a:lnTo>
                    <a:pt x="1368266" y="1421980"/>
                  </a:lnTo>
                  <a:lnTo>
                    <a:pt x="1368266" y="1422933"/>
                  </a:lnTo>
                  <a:lnTo>
                    <a:pt x="1411129" y="1467700"/>
                  </a:lnTo>
                  <a:lnTo>
                    <a:pt x="1411129" y="1467700"/>
                  </a:lnTo>
                  <a:lnTo>
                    <a:pt x="1397794" y="1530565"/>
                  </a:lnTo>
                  <a:cubicBezTo>
                    <a:pt x="1394936" y="1543900"/>
                    <a:pt x="1403509" y="1558188"/>
                    <a:pt x="1416844" y="1561045"/>
                  </a:cubicBezTo>
                  <a:cubicBezTo>
                    <a:pt x="1430179" y="1563902"/>
                    <a:pt x="1443514" y="1555330"/>
                    <a:pt x="1447324" y="1541995"/>
                  </a:cubicBezTo>
                  <a:lnTo>
                    <a:pt x="1453039" y="1513420"/>
                  </a:lnTo>
                  <a:lnTo>
                    <a:pt x="1453039" y="1513420"/>
                  </a:lnTo>
                  <a:lnTo>
                    <a:pt x="1488281" y="1549615"/>
                  </a:lnTo>
                  <a:cubicBezTo>
                    <a:pt x="1497806" y="1560092"/>
                    <a:pt x="1513999" y="1560092"/>
                    <a:pt x="1523524" y="1550567"/>
                  </a:cubicBezTo>
                  <a:cubicBezTo>
                    <a:pt x="1534001" y="1541042"/>
                    <a:pt x="1534001" y="1524850"/>
                    <a:pt x="1524476" y="1514372"/>
                  </a:cubicBezTo>
                  <a:lnTo>
                    <a:pt x="1483519" y="1472463"/>
                  </a:lnTo>
                  <a:lnTo>
                    <a:pt x="1482566" y="1471510"/>
                  </a:lnTo>
                  <a:lnTo>
                    <a:pt x="1528286" y="1461985"/>
                  </a:lnTo>
                  <a:cubicBezTo>
                    <a:pt x="1541621" y="1459127"/>
                    <a:pt x="1550194" y="1445792"/>
                    <a:pt x="1547336" y="1431505"/>
                  </a:cubicBezTo>
                  <a:cubicBezTo>
                    <a:pt x="1544479" y="1418170"/>
                    <a:pt x="1531144" y="1409597"/>
                    <a:pt x="1516856" y="1412455"/>
                  </a:cubicBezTo>
                  <a:lnTo>
                    <a:pt x="1440656" y="1428647"/>
                  </a:lnTo>
                  <a:lnTo>
                    <a:pt x="1397794" y="1379117"/>
                  </a:lnTo>
                  <a:lnTo>
                    <a:pt x="1397794" y="1379117"/>
                  </a:lnTo>
                  <a:lnTo>
                    <a:pt x="1495901" y="1358163"/>
                  </a:lnTo>
                  <a:cubicBezTo>
                    <a:pt x="1509236" y="1355305"/>
                    <a:pt x="1517809" y="1341970"/>
                    <a:pt x="1514951" y="1327683"/>
                  </a:cubicBezTo>
                  <a:cubicBezTo>
                    <a:pt x="1512094" y="1314347"/>
                    <a:pt x="1498759" y="1305775"/>
                    <a:pt x="1484471" y="1308633"/>
                  </a:cubicBezTo>
                  <a:lnTo>
                    <a:pt x="1355884" y="1336255"/>
                  </a:lnTo>
                  <a:lnTo>
                    <a:pt x="1355884" y="1336255"/>
                  </a:lnTo>
                  <a:lnTo>
                    <a:pt x="1313021" y="1291488"/>
                  </a:lnTo>
                  <a:lnTo>
                    <a:pt x="1313021" y="1291488"/>
                  </a:lnTo>
                  <a:lnTo>
                    <a:pt x="1448276" y="1261960"/>
                  </a:lnTo>
                  <a:cubicBezTo>
                    <a:pt x="1461611" y="1259102"/>
                    <a:pt x="1470184" y="1245767"/>
                    <a:pt x="1467326" y="1231480"/>
                  </a:cubicBezTo>
                  <a:cubicBezTo>
                    <a:pt x="1464469" y="1218145"/>
                    <a:pt x="1451134" y="1209572"/>
                    <a:pt x="1436846" y="1212430"/>
                  </a:cubicBezTo>
                  <a:lnTo>
                    <a:pt x="1271111" y="1248625"/>
                  </a:lnTo>
                  <a:lnTo>
                    <a:pt x="1271111" y="1248625"/>
                  </a:lnTo>
                  <a:lnTo>
                    <a:pt x="1218724" y="1194332"/>
                  </a:lnTo>
                  <a:lnTo>
                    <a:pt x="1431131" y="1150517"/>
                  </a:lnTo>
                  <a:cubicBezTo>
                    <a:pt x="1439704" y="1149565"/>
                    <a:pt x="1445419" y="1143850"/>
                    <a:pt x="1449229" y="1135277"/>
                  </a:cubicBezTo>
                  <a:cubicBezTo>
                    <a:pt x="1451134" y="1127657"/>
                    <a:pt x="1451134" y="1119085"/>
                    <a:pt x="1447324" y="1112417"/>
                  </a:cubicBezTo>
                  <a:lnTo>
                    <a:pt x="1332071" y="929537"/>
                  </a:lnTo>
                  <a:lnTo>
                    <a:pt x="1407319" y="929537"/>
                  </a:lnTo>
                  <a:lnTo>
                    <a:pt x="1495901" y="1073365"/>
                  </a:lnTo>
                  <a:cubicBezTo>
                    <a:pt x="1503521" y="1084795"/>
                    <a:pt x="1519714" y="1088605"/>
                    <a:pt x="1531144" y="1081938"/>
                  </a:cubicBezTo>
                  <a:cubicBezTo>
                    <a:pt x="1542574" y="1074317"/>
                    <a:pt x="1546384" y="1059077"/>
                    <a:pt x="1539716" y="1046695"/>
                  </a:cubicBezTo>
                  <a:lnTo>
                    <a:pt x="1467326" y="929537"/>
                  </a:lnTo>
                  <a:lnTo>
                    <a:pt x="1529239" y="929537"/>
                  </a:lnTo>
                  <a:lnTo>
                    <a:pt x="1530191" y="929537"/>
                  </a:lnTo>
                  <a:lnTo>
                    <a:pt x="1598771" y="1040980"/>
                  </a:lnTo>
                  <a:cubicBezTo>
                    <a:pt x="1606391" y="1052410"/>
                    <a:pt x="1622584" y="1056220"/>
                    <a:pt x="1634014" y="1049552"/>
                  </a:cubicBezTo>
                  <a:cubicBezTo>
                    <a:pt x="1645444" y="1041932"/>
                    <a:pt x="1649254" y="1026692"/>
                    <a:pt x="1642586" y="1014310"/>
                  </a:cubicBezTo>
                  <a:lnTo>
                    <a:pt x="1590199" y="928585"/>
                  </a:lnTo>
                  <a:lnTo>
                    <a:pt x="1653064" y="928585"/>
                  </a:lnTo>
                  <a:lnTo>
                    <a:pt x="1653064" y="928585"/>
                  </a:lnTo>
                  <a:lnTo>
                    <a:pt x="1694021" y="994307"/>
                  </a:lnTo>
                  <a:cubicBezTo>
                    <a:pt x="1701641" y="1005737"/>
                    <a:pt x="1717834" y="1009547"/>
                    <a:pt x="1729264" y="1002880"/>
                  </a:cubicBezTo>
                  <a:cubicBezTo>
                    <a:pt x="1740694" y="995260"/>
                    <a:pt x="1744504" y="980020"/>
                    <a:pt x="1737836" y="967637"/>
                  </a:cubicBezTo>
                  <a:lnTo>
                    <a:pt x="1714024" y="928585"/>
                  </a:lnTo>
                  <a:lnTo>
                    <a:pt x="1714024" y="928585"/>
                  </a:lnTo>
                  <a:lnTo>
                    <a:pt x="1774031" y="928585"/>
                  </a:lnTo>
                  <a:cubicBezTo>
                    <a:pt x="1787366" y="928585"/>
                    <a:pt x="1798796" y="917155"/>
                    <a:pt x="1798796" y="902867"/>
                  </a:cubicBezTo>
                  <a:cubicBezTo>
                    <a:pt x="1798796" y="888580"/>
                    <a:pt x="1787366" y="877150"/>
                    <a:pt x="1773079" y="877150"/>
                  </a:cubicBezTo>
                  <a:lnTo>
                    <a:pt x="1722596" y="878102"/>
                  </a:lnTo>
                  <a:lnTo>
                    <a:pt x="1722596" y="878102"/>
                  </a:lnTo>
                  <a:lnTo>
                    <a:pt x="1738789" y="853337"/>
                  </a:lnTo>
                  <a:cubicBezTo>
                    <a:pt x="1746409" y="841907"/>
                    <a:pt x="1743551" y="825715"/>
                    <a:pt x="1732121" y="818095"/>
                  </a:cubicBezTo>
                  <a:cubicBezTo>
                    <a:pt x="1724501" y="813332"/>
                    <a:pt x="1715929" y="812380"/>
                    <a:pt x="1708309" y="815237"/>
                  </a:cubicBezTo>
                  <a:cubicBezTo>
                    <a:pt x="1703546" y="817142"/>
                    <a:pt x="1699736" y="820000"/>
                    <a:pt x="1696879" y="824762"/>
                  </a:cubicBezTo>
                  <a:lnTo>
                    <a:pt x="1661636" y="877150"/>
                  </a:lnTo>
                  <a:lnTo>
                    <a:pt x="1661636" y="877150"/>
                  </a:lnTo>
                  <a:lnTo>
                    <a:pt x="1598771" y="877150"/>
                  </a:lnTo>
                  <a:lnTo>
                    <a:pt x="1646396" y="806665"/>
                  </a:lnTo>
                  <a:cubicBezTo>
                    <a:pt x="1654016" y="795235"/>
                    <a:pt x="1651159" y="779042"/>
                    <a:pt x="1639729" y="771422"/>
                  </a:cubicBezTo>
                  <a:cubicBezTo>
                    <a:pt x="1632109" y="766660"/>
                    <a:pt x="1623536" y="765707"/>
                    <a:pt x="1615916" y="768565"/>
                  </a:cubicBezTo>
                  <a:cubicBezTo>
                    <a:pt x="1611154" y="770470"/>
                    <a:pt x="1607344" y="773327"/>
                    <a:pt x="1604486" y="778090"/>
                  </a:cubicBezTo>
                  <a:lnTo>
                    <a:pt x="1537811" y="877150"/>
                  </a:lnTo>
                  <a:lnTo>
                    <a:pt x="1462564" y="877150"/>
                  </a:lnTo>
                  <a:lnTo>
                    <a:pt x="1462564" y="877150"/>
                  </a:lnTo>
                  <a:lnTo>
                    <a:pt x="1545431" y="754277"/>
                  </a:lnTo>
                  <a:cubicBezTo>
                    <a:pt x="1553051" y="742847"/>
                    <a:pt x="1550194" y="726655"/>
                    <a:pt x="1538764" y="719035"/>
                  </a:cubicBezTo>
                  <a:cubicBezTo>
                    <a:pt x="1531144" y="714272"/>
                    <a:pt x="1522571" y="713320"/>
                    <a:pt x="1514951" y="716177"/>
                  </a:cubicBezTo>
                  <a:cubicBezTo>
                    <a:pt x="1510189" y="718082"/>
                    <a:pt x="1506379" y="720940"/>
                    <a:pt x="1503521" y="725702"/>
                  </a:cubicBezTo>
                  <a:lnTo>
                    <a:pt x="1401604" y="878102"/>
                  </a:lnTo>
                  <a:lnTo>
                    <a:pt x="1322546" y="877150"/>
                  </a:lnTo>
                  <a:lnTo>
                    <a:pt x="1443514" y="706652"/>
                  </a:lnTo>
                  <a:cubicBezTo>
                    <a:pt x="1448276" y="699032"/>
                    <a:pt x="1449229" y="690460"/>
                    <a:pt x="1445419" y="682840"/>
                  </a:cubicBezTo>
                  <a:cubicBezTo>
                    <a:pt x="1441609" y="674267"/>
                    <a:pt x="1434941" y="668552"/>
                    <a:pt x="1427321" y="667600"/>
                  </a:cubicBezTo>
                  <a:lnTo>
                    <a:pt x="1221581" y="628547"/>
                  </a:lnTo>
                  <a:lnTo>
                    <a:pt x="1278731" y="573302"/>
                  </a:lnTo>
                  <a:lnTo>
                    <a:pt x="1456849" y="611402"/>
                  </a:lnTo>
                  <a:cubicBezTo>
                    <a:pt x="1470184" y="614260"/>
                    <a:pt x="1483519" y="605687"/>
                    <a:pt x="1487329" y="592352"/>
                  </a:cubicBezTo>
                  <a:cubicBezTo>
                    <a:pt x="1490186" y="579017"/>
                    <a:pt x="1481614" y="565682"/>
                    <a:pt x="1468279" y="561872"/>
                  </a:cubicBezTo>
                  <a:lnTo>
                    <a:pt x="1321594" y="532345"/>
                  </a:lnTo>
                  <a:lnTo>
                    <a:pt x="1374934" y="479957"/>
                  </a:lnTo>
                  <a:lnTo>
                    <a:pt x="1492091" y="504722"/>
                  </a:lnTo>
                  <a:cubicBezTo>
                    <a:pt x="1505426" y="507580"/>
                    <a:pt x="1518761" y="499007"/>
                    <a:pt x="1522571" y="485672"/>
                  </a:cubicBezTo>
                  <a:cubicBezTo>
                    <a:pt x="1525429" y="472337"/>
                    <a:pt x="1516856" y="459002"/>
                    <a:pt x="1503521" y="455192"/>
                  </a:cubicBezTo>
                  <a:lnTo>
                    <a:pt x="1420654" y="437095"/>
                  </a:lnTo>
                  <a:lnTo>
                    <a:pt x="1420654" y="437095"/>
                  </a:lnTo>
                  <a:lnTo>
                    <a:pt x="1466374" y="393280"/>
                  </a:lnTo>
                  <a:lnTo>
                    <a:pt x="1528286" y="406615"/>
                  </a:lnTo>
                  <a:cubicBezTo>
                    <a:pt x="1541621" y="409472"/>
                    <a:pt x="1554956" y="400900"/>
                    <a:pt x="1558766" y="387565"/>
                  </a:cubicBezTo>
                  <a:cubicBezTo>
                    <a:pt x="1561624" y="374230"/>
                    <a:pt x="1553051" y="360895"/>
                    <a:pt x="1539716" y="357085"/>
                  </a:cubicBezTo>
                  <a:lnTo>
                    <a:pt x="1510189" y="350417"/>
                  </a:lnTo>
                  <a:lnTo>
                    <a:pt x="1510189" y="350417"/>
                  </a:lnTo>
                  <a:lnTo>
                    <a:pt x="1546384" y="316127"/>
                  </a:lnTo>
                  <a:cubicBezTo>
                    <a:pt x="1555909" y="307555"/>
                    <a:pt x="1555909" y="290410"/>
                    <a:pt x="1546384" y="280885"/>
                  </a:cubicBezTo>
                  <a:close/>
                  <a:moveTo>
                    <a:pt x="1257776" y="879055"/>
                  </a:moveTo>
                  <a:lnTo>
                    <a:pt x="1110139" y="880007"/>
                  </a:lnTo>
                  <a:lnTo>
                    <a:pt x="1109186" y="828572"/>
                  </a:lnTo>
                  <a:cubicBezTo>
                    <a:pt x="1109186" y="821905"/>
                    <a:pt x="1106329" y="815237"/>
                    <a:pt x="1102519" y="811427"/>
                  </a:cubicBezTo>
                  <a:lnTo>
                    <a:pt x="1068229" y="774280"/>
                  </a:lnTo>
                  <a:lnTo>
                    <a:pt x="1175861" y="671410"/>
                  </a:lnTo>
                  <a:lnTo>
                    <a:pt x="1376839" y="710462"/>
                  </a:lnTo>
                  <a:lnTo>
                    <a:pt x="1258729" y="877150"/>
                  </a:lnTo>
                  <a:lnTo>
                    <a:pt x="1257776" y="879055"/>
                  </a:lnTo>
                  <a:close/>
                  <a:moveTo>
                    <a:pt x="1059656" y="879055"/>
                  </a:moveTo>
                  <a:lnTo>
                    <a:pt x="1060609" y="929537"/>
                  </a:lnTo>
                  <a:lnTo>
                    <a:pt x="1061561" y="969542"/>
                  </a:lnTo>
                  <a:lnTo>
                    <a:pt x="1032034" y="997165"/>
                  </a:lnTo>
                  <a:lnTo>
                    <a:pt x="994886" y="1031455"/>
                  </a:lnTo>
                  <a:lnTo>
                    <a:pt x="965359" y="1059077"/>
                  </a:lnTo>
                  <a:lnTo>
                    <a:pt x="925354" y="1060030"/>
                  </a:lnTo>
                  <a:lnTo>
                    <a:pt x="874871" y="1060982"/>
                  </a:lnTo>
                  <a:lnTo>
                    <a:pt x="834866" y="1061935"/>
                  </a:lnTo>
                  <a:lnTo>
                    <a:pt x="807244" y="1032407"/>
                  </a:lnTo>
                  <a:lnTo>
                    <a:pt x="772954" y="995260"/>
                  </a:lnTo>
                  <a:lnTo>
                    <a:pt x="745331" y="965732"/>
                  </a:lnTo>
                  <a:lnTo>
                    <a:pt x="744379" y="925727"/>
                  </a:lnTo>
                  <a:lnTo>
                    <a:pt x="743426" y="875245"/>
                  </a:lnTo>
                  <a:lnTo>
                    <a:pt x="742474" y="835240"/>
                  </a:lnTo>
                  <a:lnTo>
                    <a:pt x="772001" y="807617"/>
                  </a:lnTo>
                  <a:lnTo>
                    <a:pt x="809149" y="773327"/>
                  </a:lnTo>
                  <a:lnTo>
                    <a:pt x="838676" y="745705"/>
                  </a:lnTo>
                  <a:lnTo>
                    <a:pt x="878681" y="744752"/>
                  </a:lnTo>
                  <a:lnTo>
                    <a:pt x="929164" y="743800"/>
                  </a:lnTo>
                  <a:lnTo>
                    <a:pt x="969169" y="742847"/>
                  </a:lnTo>
                  <a:lnTo>
                    <a:pt x="996791" y="772375"/>
                  </a:lnTo>
                  <a:lnTo>
                    <a:pt x="1031081" y="809522"/>
                  </a:lnTo>
                  <a:lnTo>
                    <a:pt x="1057751" y="839050"/>
                  </a:lnTo>
                  <a:lnTo>
                    <a:pt x="1059656" y="879055"/>
                  </a:lnTo>
                  <a:close/>
                  <a:moveTo>
                    <a:pt x="1178719" y="1150517"/>
                  </a:moveTo>
                  <a:lnTo>
                    <a:pt x="1066324" y="1033360"/>
                  </a:lnTo>
                  <a:lnTo>
                    <a:pt x="1103471" y="999070"/>
                  </a:lnTo>
                  <a:cubicBezTo>
                    <a:pt x="1109186" y="994307"/>
                    <a:pt x="1112044" y="987640"/>
                    <a:pt x="1112044" y="980020"/>
                  </a:cubicBezTo>
                  <a:lnTo>
                    <a:pt x="1111091" y="929537"/>
                  </a:lnTo>
                  <a:lnTo>
                    <a:pt x="1272064" y="928585"/>
                  </a:lnTo>
                  <a:lnTo>
                    <a:pt x="1384459" y="1107655"/>
                  </a:lnTo>
                  <a:lnTo>
                    <a:pt x="1178719" y="1150517"/>
                  </a:lnTo>
                  <a:close/>
                  <a:moveTo>
                    <a:pt x="926306" y="1260055"/>
                  </a:moveTo>
                  <a:lnTo>
                    <a:pt x="925354" y="1111465"/>
                  </a:lnTo>
                  <a:lnTo>
                    <a:pt x="975836" y="1110513"/>
                  </a:lnTo>
                  <a:cubicBezTo>
                    <a:pt x="982504" y="1110513"/>
                    <a:pt x="988219" y="1107655"/>
                    <a:pt x="992981" y="1103845"/>
                  </a:cubicBezTo>
                  <a:lnTo>
                    <a:pt x="1030129" y="1069555"/>
                  </a:lnTo>
                  <a:lnTo>
                    <a:pt x="1132999" y="1177188"/>
                  </a:lnTo>
                  <a:lnTo>
                    <a:pt x="1093946" y="1378165"/>
                  </a:lnTo>
                  <a:lnTo>
                    <a:pt x="926306" y="1260055"/>
                  </a:lnTo>
                  <a:close/>
                  <a:moveTo>
                    <a:pt x="652939" y="1179092"/>
                  </a:moveTo>
                  <a:lnTo>
                    <a:pt x="769144" y="1067650"/>
                  </a:lnTo>
                  <a:lnTo>
                    <a:pt x="803434" y="1104797"/>
                  </a:lnTo>
                  <a:cubicBezTo>
                    <a:pt x="809149" y="1110513"/>
                    <a:pt x="815816" y="1113370"/>
                    <a:pt x="822484" y="1112417"/>
                  </a:cubicBezTo>
                  <a:lnTo>
                    <a:pt x="872966" y="1111465"/>
                  </a:lnTo>
                  <a:lnTo>
                    <a:pt x="872966" y="1274342"/>
                  </a:lnTo>
                  <a:lnTo>
                    <a:pt x="694849" y="1386738"/>
                  </a:lnTo>
                  <a:lnTo>
                    <a:pt x="652939" y="1179092"/>
                  </a:lnTo>
                  <a:close/>
                  <a:moveTo>
                    <a:pt x="545306" y="926680"/>
                  </a:moveTo>
                  <a:lnTo>
                    <a:pt x="693896" y="925727"/>
                  </a:lnTo>
                  <a:lnTo>
                    <a:pt x="694849" y="976210"/>
                  </a:lnTo>
                  <a:cubicBezTo>
                    <a:pt x="694849" y="981925"/>
                    <a:pt x="697706" y="988592"/>
                    <a:pt x="701516" y="993355"/>
                  </a:cubicBezTo>
                  <a:lnTo>
                    <a:pt x="735806" y="1030502"/>
                  </a:lnTo>
                  <a:lnTo>
                    <a:pt x="628174" y="1132420"/>
                  </a:lnTo>
                  <a:lnTo>
                    <a:pt x="627221" y="1131467"/>
                  </a:lnTo>
                  <a:lnTo>
                    <a:pt x="426244" y="1093367"/>
                  </a:lnTo>
                  <a:lnTo>
                    <a:pt x="545306" y="926680"/>
                  </a:lnTo>
                  <a:close/>
                  <a:moveTo>
                    <a:pt x="626269" y="654265"/>
                  </a:moveTo>
                  <a:lnTo>
                    <a:pt x="737711" y="770470"/>
                  </a:lnTo>
                  <a:lnTo>
                    <a:pt x="700564" y="804760"/>
                  </a:lnTo>
                  <a:cubicBezTo>
                    <a:pt x="694849" y="809522"/>
                    <a:pt x="691991" y="817142"/>
                    <a:pt x="691991" y="823810"/>
                  </a:cubicBezTo>
                  <a:lnTo>
                    <a:pt x="692944" y="875245"/>
                  </a:lnTo>
                  <a:lnTo>
                    <a:pt x="531971" y="876197"/>
                  </a:lnTo>
                  <a:lnTo>
                    <a:pt x="418624" y="697127"/>
                  </a:lnTo>
                  <a:lnTo>
                    <a:pt x="626269" y="654265"/>
                  </a:lnTo>
                  <a:close/>
                  <a:moveTo>
                    <a:pt x="877729" y="545680"/>
                  </a:moveTo>
                  <a:lnTo>
                    <a:pt x="877729" y="695222"/>
                  </a:lnTo>
                  <a:lnTo>
                    <a:pt x="827246" y="696175"/>
                  </a:lnTo>
                  <a:cubicBezTo>
                    <a:pt x="824389" y="696175"/>
                    <a:pt x="820579" y="696175"/>
                    <a:pt x="817721" y="698080"/>
                  </a:cubicBezTo>
                  <a:cubicBezTo>
                    <a:pt x="814864" y="699032"/>
                    <a:pt x="812959" y="700937"/>
                    <a:pt x="810101" y="703795"/>
                  </a:cubicBezTo>
                  <a:lnTo>
                    <a:pt x="773906" y="738085"/>
                  </a:lnTo>
                  <a:lnTo>
                    <a:pt x="671989" y="629500"/>
                  </a:lnTo>
                  <a:lnTo>
                    <a:pt x="711041" y="428522"/>
                  </a:lnTo>
                  <a:lnTo>
                    <a:pt x="877729" y="545680"/>
                  </a:lnTo>
                  <a:close/>
                  <a:moveTo>
                    <a:pt x="1151096" y="626642"/>
                  </a:moveTo>
                  <a:lnTo>
                    <a:pt x="1034891" y="738085"/>
                  </a:lnTo>
                  <a:lnTo>
                    <a:pt x="999649" y="699985"/>
                  </a:lnTo>
                  <a:cubicBezTo>
                    <a:pt x="994886" y="695222"/>
                    <a:pt x="987266" y="691412"/>
                    <a:pt x="980599" y="692365"/>
                  </a:cubicBezTo>
                  <a:lnTo>
                    <a:pt x="929164" y="693317"/>
                  </a:lnTo>
                  <a:lnTo>
                    <a:pt x="928211" y="532345"/>
                  </a:lnTo>
                  <a:lnTo>
                    <a:pt x="1107281" y="419950"/>
                  </a:lnTo>
                  <a:lnTo>
                    <a:pt x="1151096" y="626642"/>
                  </a:lnTo>
                  <a:close/>
                </a:path>
              </a:pathLst>
            </a:custGeom>
            <a:solidFill>
              <a:schemeClr val="bg1">
                <a:alpha val="28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87755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2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+mn-ea"/>
                <a:cs typeface="+mn-cs"/>
              </a:endParaRPr>
            </a:p>
          </p:txBody>
        </p:sp>
        <p:sp>
          <p:nvSpPr>
            <p:cNvPr id="25" name="Graphic 12">
              <a:extLst>
                <a:ext uri="{FF2B5EF4-FFF2-40B4-BE49-F238E27FC236}">
                  <a16:creationId xmlns:a16="http://schemas.microsoft.com/office/drawing/2014/main" id="{D0C7AA9A-3CFA-4C8E-9787-866593CA22E8}"/>
                </a:ext>
              </a:extLst>
            </p:cNvPr>
            <p:cNvSpPr/>
            <p:nvPr userDrawn="1"/>
          </p:nvSpPr>
          <p:spPr>
            <a:xfrm rot="1218983">
              <a:off x="2959360" y="5331359"/>
              <a:ext cx="492062" cy="492062"/>
            </a:xfrm>
            <a:custGeom>
              <a:avLst/>
              <a:gdLst>
                <a:gd name="connsiteX0" fmla="*/ 1546384 w 1800225"/>
                <a:gd name="connsiteY0" fmla="*/ 280885 h 1800225"/>
                <a:gd name="connsiteX1" fmla="*/ 1511141 w 1800225"/>
                <a:gd name="connsiteY1" fmla="*/ 279932 h 1800225"/>
                <a:gd name="connsiteX2" fmla="*/ 1467326 w 1800225"/>
                <a:gd name="connsiteY2" fmla="*/ 320890 h 1800225"/>
                <a:gd name="connsiteX3" fmla="*/ 1457801 w 1800225"/>
                <a:gd name="connsiteY3" fmla="*/ 275170 h 1800225"/>
                <a:gd name="connsiteX4" fmla="*/ 1427321 w 1800225"/>
                <a:gd name="connsiteY4" fmla="*/ 256120 h 1800225"/>
                <a:gd name="connsiteX5" fmla="*/ 1423511 w 1800225"/>
                <a:gd name="connsiteY5" fmla="*/ 257072 h 1800225"/>
                <a:gd name="connsiteX6" fmla="*/ 1408271 w 1800225"/>
                <a:gd name="connsiteY6" fmla="*/ 285647 h 1800225"/>
                <a:gd name="connsiteX7" fmla="*/ 1424464 w 1800225"/>
                <a:gd name="connsiteY7" fmla="*/ 361847 h 1800225"/>
                <a:gd name="connsiteX8" fmla="*/ 1424464 w 1800225"/>
                <a:gd name="connsiteY8" fmla="*/ 361847 h 1800225"/>
                <a:gd name="connsiteX9" fmla="*/ 1378744 w 1800225"/>
                <a:gd name="connsiteY9" fmla="*/ 405662 h 1800225"/>
                <a:gd name="connsiteX10" fmla="*/ 1378744 w 1800225"/>
                <a:gd name="connsiteY10" fmla="*/ 405662 h 1800225"/>
                <a:gd name="connsiteX11" fmla="*/ 1356836 w 1800225"/>
                <a:gd name="connsiteY11" fmla="*/ 306602 h 1800225"/>
                <a:gd name="connsiteX12" fmla="*/ 1326356 w 1800225"/>
                <a:gd name="connsiteY12" fmla="*/ 287552 h 1800225"/>
                <a:gd name="connsiteX13" fmla="*/ 1322546 w 1800225"/>
                <a:gd name="connsiteY13" fmla="*/ 288505 h 1800225"/>
                <a:gd name="connsiteX14" fmla="*/ 1307306 w 1800225"/>
                <a:gd name="connsiteY14" fmla="*/ 317080 h 1800225"/>
                <a:gd name="connsiteX15" fmla="*/ 1335881 w 1800225"/>
                <a:gd name="connsiteY15" fmla="*/ 445667 h 1800225"/>
                <a:gd name="connsiteX16" fmla="*/ 1335881 w 1800225"/>
                <a:gd name="connsiteY16" fmla="*/ 445667 h 1800225"/>
                <a:gd name="connsiteX17" fmla="*/ 1291114 w 1800225"/>
                <a:gd name="connsiteY17" fmla="*/ 488530 h 1800225"/>
                <a:gd name="connsiteX18" fmla="*/ 1291114 w 1800225"/>
                <a:gd name="connsiteY18" fmla="*/ 488530 h 1800225"/>
                <a:gd name="connsiteX19" fmla="*/ 1261586 w 1800225"/>
                <a:gd name="connsiteY19" fmla="*/ 353275 h 1800225"/>
                <a:gd name="connsiteX20" fmla="*/ 1231106 w 1800225"/>
                <a:gd name="connsiteY20" fmla="*/ 334225 h 1800225"/>
                <a:gd name="connsiteX21" fmla="*/ 1227296 w 1800225"/>
                <a:gd name="connsiteY21" fmla="*/ 335177 h 1800225"/>
                <a:gd name="connsiteX22" fmla="*/ 1212056 w 1800225"/>
                <a:gd name="connsiteY22" fmla="*/ 363752 h 1800225"/>
                <a:gd name="connsiteX23" fmla="*/ 1248251 w 1800225"/>
                <a:gd name="connsiteY23" fmla="*/ 529487 h 1800225"/>
                <a:gd name="connsiteX24" fmla="*/ 1193959 w 1800225"/>
                <a:gd name="connsiteY24" fmla="*/ 581875 h 1800225"/>
                <a:gd name="connsiteX25" fmla="*/ 1150144 w 1800225"/>
                <a:gd name="connsiteY25" fmla="*/ 372325 h 1800225"/>
                <a:gd name="connsiteX26" fmla="*/ 1134904 w 1800225"/>
                <a:gd name="connsiteY26" fmla="*/ 354227 h 1800225"/>
                <a:gd name="connsiteX27" fmla="*/ 1111091 w 1800225"/>
                <a:gd name="connsiteY27" fmla="*/ 356132 h 1800225"/>
                <a:gd name="connsiteX28" fmla="*/ 929164 w 1800225"/>
                <a:gd name="connsiteY28" fmla="*/ 471385 h 1800225"/>
                <a:gd name="connsiteX29" fmla="*/ 928211 w 1800225"/>
                <a:gd name="connsiteY29" fmla="*/ 396137 h 1800225"/>
                <a:gd name="connsiteX30" fmla="*/ 1072991 w 1800225"/>
                <a:gd name="connsiteY30" fmla="*/ 307555 h 1800225"/>
                <a:gd name="connsiteX31" fmla="*/ 1081564 w 1800225"/>
                <a:gd name="connsiteY31" fmla="*/ 272312 h 1800225"/>
                <a:gd name="connsiteX32" fmla="*/ 1046321 w 1800225"/>
                <a:gd name="connsiteY32" fmla="*/ 263740 h 1800225"/>
                <a:gd name="connsiteX33" fmla="*/ 929164 w 1800225"/>
                <a:gd name="connsiteY33" fmla="*/ 336130 h 1800225"/>
                <a:gd name="connsiteX34" fmla="*/ 929164 w 1800225"/>
                <a:gd name="connsiteY34" fmla="*/ 273265 h 1800225"/>
                <a:gd name="connsiteX35" fmla="*/ 1041559 w 1800225"/>
                <a:gd name="connsiteY35" fmla="*/ 203732 h 1800225"/>
                <a:gd name="connsiteX36" fmla="*/ 1050131 w 1800225"/>
                <a:gd name="connsiteY36" fmla="*/ 168490 h 1800225"/>
                <a:gd name="connsiteX37" fmla="*/ 1014889 w 1800225"/>
                <a:gd name="connsiteY37" fmla="*/ 159917 h 1800225"/>
                <a:gd name="connsiteX38" fmla="*/ 929164 w 1800225"/>
                <a:gd name="connsiteY38" fmla="*/ 212305 h 1800225"/>
                <a:gd name="connsiteX39" fmla="*/ 929164 w 1800225"/>
                <a:gd name="connsiteY39" fmla="*/ 149440 h 1800225"/>
                <a:gd name="connsiteX40" fmla="*/ 929164 w 1800225"/>
                <a:gd name="connsiteY40" fmla="*/ 148487 h 1800225"/>
                <a:gd name="connsiteX41" fmla="*/ 994886 w 1800225"/>
                <a:gd name="connsiteY41" fmla="*/ 107530 h 1800225"/>
                <a:gd name="connsiteX42" fmla="*/ 1003459 w 1800225"/>
                <a:gd name="connsiteY42" fmla="*/ 72287 h 1800225"/>
                <a:gd name="connsiteX43" fmla="*/ 968216 w 1800225"/>
                <a:gd name="connsiteY43" fmla="*/ 63715 h 1800225"/>
                <a:gd name="connsiteX44" fmla="*/ 929164 w 1800225"/>
                <a:gd name="connsiteY44" fmla="*/ 88480 h 1800225"/>
                <a:gd name="connsiteX45" fmla="*/ 929164 w 1800225"/>
                <a:gd name="connsiteY45" fmla="*/ 88480 h 1800225"/>
                <a:gd name="connsiteX46" fmla="*/ 929164 w 1800225"/>
                <a:gd name="connsiteY46" fmla="*/ 28472 h 1800225"/>
                <a:gd name="connsiteX47" fmla="*/ 902494 w 1800225"/>
                <a:gd name="connsiteY47" fmla="*/ 7517 h 1800225"/>
                <a:gd name="connsiteX48" fmla="*/ 892969 w 1800225"/>
                <a:gd name="connsiteY48" fmla="*/ 9422 h 1800225"/>
                <a:gd name="connsiteX49" fmla="*/ 876776 w 1800225"/>
                <a:gd name="connsiteY49" fmla="*/ 32282 h 1800225"/>
                <a:gd name="connsiteX50" fmla="*/ 876776 w 1800225"/>
                <a:gd name="connsiteY50" fmla="*/ 82765 h 1800225"/>
                <a:gd name="connsiteX51" fmla="*/ 852011 w 1800225"/>
                <a:gd name="connsiteY51" fmla="*/ 66572 h 1800225"/>
                <a:gd name="connsiteX52" fmla="*/ 829151 w 1800225"/>
                <a:gd name="connsiteY52" fmla="*/ 64667 h 1800225"/>
                <a:gd name="connsiteX53" fmla="*/ 817721 w 1800225"/>
                <a:gd name="connsiteY53" fmla="*/ 74192 h 1800225"/>
                <a:gd name="connsiteX54" fmla="*/ 824389 w 1800225"/>
                <a:gd name="connsiteY54" fmla="*/ 109435 h 1800225"/>
                <a:gd name="connsiteX55" fmla="*/ 877729 w 1800225"/>
                <a:gd name="connsiteY55" fmla="*/ 144677 h 1800225"/>
                <a:gd name="connsiteX56" fmla="*/ 876776 w 1800225"/>
                <a:gd name="connsiteY56" fmla="*/ 206590 h 1800225"/>
                <a:gd name="connsiteX57" fmla="*/ 807244 w 1800225"/>
                <a:gd name="connsiteY57" fmla="*/ 159917 h 1800225"/>
                <a:gd name="connsiteX58" fmla="*/ 783431 w 1800225"/>
                <a:gd name="connsiteY58" fmla="*/ 157060 h 1800225"/>
                <a:gd name="connsiteX59" fmla="*/ 772001 w 1800225"/>
                <a:gd name="connsiteY59" fmla="*/ 166585 h 1800225"/>
                <a:gd name="connsiteX60" fmla="*/ 778669 w 1800225"/>
                <a:gd name="connsiteY60" fmla="*/ 201827 h 1800225"/>
                <a:gd name="connsiteX61" fmla="*/ 877729 w 1800225"/>
                <a:gd name="connsiteY61" fmla="*/ 268502 h 1800225"/>
                <a:gd name="connsiteX62" fmla="*/ 877729 w 1800225"/>
                <a:gd name="connsiteY62" fmla="*/ 268502 h 1800225"/>
                <a:gd name="connsiteX63" fmla="*/ 877729 w 1800225"/>
                <a:gd name="connsiteY63" fmla="*/ 343750 h 1800225"/>
                <a:gd name="connsiteX64" fmla="*/ 754856 w 1800225"/>
                <a:gd name="connsiteY64" fmla="*/ 260882 h 1800225"/>
                <a:gd name="connsiteX65" fmla="*/ 731044 w 1800225"/>
                <a:gd name="connsiteY65" fmla="*/ 258025 h 1800225"/>
                <a:gd name="connsiteX66" fmla="*/ 719614 w 1800225"/>
                <a:gd name="connsiteY66" fmla="*/ 267550 h 1800225"/>
                <a:gd name="connsiteX67" fmla="*/ 726281 w 1800225"/>
                <a:gd name="connsiteY67" fmla="*/ 302792 h 1800225"/>
                <a:gd name="connsiteX68" fmla="*/ 878681 w 1800225"/>
                <a:gd name="connsiteY68" fmla="*/ 404710 h 1800225"/>
                <a:gd name="connsiteX69" fmla="*/ 878681 w 1800225"/>
                <a:gd name="connsiteY69" fmla="*/ 483767 h 1800225"/>
                <a:gd name="connsiteX70" fmla="*/ 707231 w 1800225"/>
                <a:gd name="connsiteY70" fmla="*/ 363752 h 1800225"/>
                <a:gd name="connsiteX71" fmla="*/ 683419 w 1800225"/>
                <a:gd name="connsiteY71" fmla="*/ 361847 h 1800225"/>
                <a:gd name="connsiteX72" fmla="*/ 668179 w 1800225"/>
                <a:gd name="connsiteY72" fmla="*/ 379945 h 1800225"/>
                <a:gd name="connsiteX73" fmla="*/ 628174 w 1800225"/>
                <a:gd name="connsiteY73" fmla="*/ 584732 h 1800225"/>
                <a:gd name="connsiteX74" fmla="*/ 573881 w 1800225"/>
                <a:gd name="connsiteY74" fmla="*/ 528535 h 1800225"/>
                <a:gd name="connsiteX75" fmla="*/ 611981 w 1800225"/>
                <a:gd name="connsiteY75" fmla="*/ 349465 h 1800225"/>
                <a:gd name="connsiteX76" fmla="*/ 592931 w 1800225"/>
                <a:gd name="connsiteY76" fmla="*/ 318985 h 1800225"/>
                <a:gd name="connsiteX77" fmla="*/ 577691 w 1800225"/>
                <a:gd name="connsiteY77" fmla="*/ 319937 h 1800225"/>
                <a:gd name="connsiteX78" fmla="*/ 562451 w 1800225"/>
                <a:gd name="connsiteY78" fmla="*/ 338035 h 1800225"/>
                <a:gd name="connsiteX79" fmla="*/ 531019 w 1800225"/>
                <a:gd name="connsiteY79" fmla="*/ 482815 h 1800225"/>
                <a:gd name="connsiteX80" fmla="*/ 478631 w 1800225"/>
                <a:gd name="connsiteY80" fmla="*/ 428522 h 1800225"/>
                <a:gd name="connsiteX81" fmla="*/ 478631 w 1800225"/>
                <a:gd name="connsiteY81" fmla="*/ 428522 h 1800225"/>
                <a:gd name="connsiteX82" fmla="*/ 504349 w 1800225"/>
                <a:gd name="connsiteY82" fmla="*/ 312317 h 1800225"/>
                <a:gd name="connsiteX83" fmla="*/ 485299 w 1800225"/>
                <a:gd name="connsiteY83" fmla="*/ 281837 h 1800225"/>
                <a:gd name="connsiteX84" fmla="*/ 470059 w 1800225"/>
                <a:gd name="connsiteY84" fmla="*/ 282790 h 1800225"/>
                <a:gd name="connsiteX85" fmla="*/ 454819 w 1800225"/>
                <a:gd name="connsiteY85" fmla="*/ 300887 h 1800225"/>
                <a:gd name="connsiteX86" fmla="*/ 437674 w 1800225"/>
                <a:gd name="connsiteY86" fmla="*/ 382802 h 1800225"/>
                <a:gd name="connsiteX87" fmla="*/ 393859 w 1800225"/>
                <a:gd name="connsiteY87" fmla="*/ 338987 h 1800225"/>
                <a:gd name="connsiteX88" fmla="*/ 407194 w 1800225"/>
                <a:gd name="connsiteY88" fmla="*/ 276122 h 1800225"/>
                <a:gd name="connsiteX89" fmla="*/ 388144 w 1800225"/>
                <a:gd name="connsiteY89" fmla="*/ 245642 h 1800225"/>
                <a:gd name="connsiteX90" fmla="*/ 373856 w 1800225"/>
                <a:gd name="connsiteY90" fmla="*/ 246595 h 1800225"/>
                <a:gd name="connsiteX91" fmla="*/ 358616 w 1800225"/>
                <a:gd name="connsiteY91" fmla="*/ 264692 h 1800225"/>
                <a:gd name="connsiteX92" fmla="*/ 352901 w 1800225"/>
                <a:gd name="connsiteY92" fmla="*/ 293267 h 1800225"/>
                <a:gd name="connsiteX93" fmla="*/ 317659 w 1800225"/>
                <a:gd name="connsiteY93" fmla="*/ 257072 h 1800225"/>
                <a:gd name="connsiteX94" fmla="*/ 290036 w 1800225"/>
                <a:gd name="connsiteY94" fmla="*/ 251357 h 1800225"/>
                <a:gd name="connsiteX95" fmla="*/ 282416 w 1800225"/>
                <a:gd name="connsiteY95" fmla="*/ 257072 h 1800225"/>
                <a:gd name="connsiteX96" fmla="*/ 281464 w 1800225"/>
                <a:gd name="connsiteY96" fmla="*/ 292315 h 1800225"/>
                <a:gd name="connsiteX97" fmla="*/ 323374 w 1800225"/>
                <a:gd name="connsiteY97" fmla="*/ 335177 h 1800225"/>
                <a:gd name="connsiteX98" fmla="*/ 323374 w 1800225"/>
                <a:gd name="connsiteY98" fmla="*/ 335177 h 1800225"/>
                <a:gd name="connsiteX99" fmla="*/ 277654 w 1800225"/>
                <a:gd name="connsiteY99" fmla="*/ 344702 h 1800225"/>
                <a:gd name="connsiteX100" fmla="*/ 258604 w 1800225"/>
                <a:gd name="connsiteY100" fmla="*/ 375182 h 1800225"/>
                <a:gd name="connsiteX101" fmla="*/ 289084 w 1800225"/>
                <a:gd name="connsiteY101" fmla="*/ 394232 h 1800225"/>
                <a:gd name="connsiteX102" fmla="*/ 364331 w 1800225"/>
                <a:gd name="connsiteY102" fmla="*/ 378040 h 1800225"/>
                <a:gd name="connsiteX103" fmla="*/ 364331 w 1800225"/>
                <a:gd name="connsiteY103" fmla="*/ 378040 h 1800225"/>
                <a:gd name="connsiteX104" fmla="*/ 407194 w 1800225"/>
                <a:gd name="connsiteY104" fmla="*/ 423760 h 1800225"/>
                <a:gd name="connsiteX105" fmla="*/ 309086 w 1800225"/>
                <a:gd name="connsiteY105" fmla="*/ 444715 h 1800225"/>
                <a:gd name="connsiteX106" fmla="*/ 290036 w 1800225"/>
                <a:gd name="connsiteY106" fmla="*/ 475195 h 1800225"/>
                <a:gd name="connsiteX107" fmla="*/ 320516 w 1800225"/>
                <a:gd name="connsiteY107" fmla="*/ 494245 h 1800225"/>
                <a:gd name="connsiteX108" fmla="*/ 449104 w 1800225"/>
                <a:gd name="connsiteY108" fmla="*/ 465670 h 1800225"/>
                <a:gd name="connsiteX109" fmla="*/ 491966 w 1800225"/>
                <a:gd name="connsiteY109" fmla="*/ 511390 h 1800225"/>
                <a:gd name="connsiteX110" fmla="*/ 356711 w 1800225"/>
                <a:gd name="connsiteY110" fmla="*/ 540917 h 1800225"/>
                <a:gd name="connsiteX111" fmla="*/ 337661 w 1800225"/>
                <a:gd name="connsiteY111" fmla="*/ 571397 h 1800225"/>
                <a:gd name="connsiteX112" fmla="*/ 368141 w 1800225"/>
                <a:gd name="connsiteY112" fmla="*/ 590447 h 1800225"/>
                <a:gd name="connsiteX113" fmla="*/ 533876 w 1800225"/>
                <a:gd name="connsiteY113" fmla="*/ 554252 h 1800225"/>
                <a:gd name="connsiteX114" fmla="*/ 585311 w 1800225"/>
                <a:gd name="connsiteY114" fmla="*/ 608545 h 1800225"/>
                <a:gd name="connsiteX115" fmla="*/ 371951 w 1800225"/>
                <a:gd name="connsiteY115" fmla="*/ 655217 h 1800225"/>
                <a:gd name="connsiteX116" fmla="*/ 353854 w 1800225"/>
                <a:gd name="connsiteY116" fmla="*/ 670457 h 1800225"/>
                <a:gd name="connsiteX117" fmla="*/ 355759 w 1800225"/>
                <a:gd name="connsiteY117" fmla="*/ 693317 h 1800225"/>
                <a:gd name="connsiteX118" fmla="*/ 471964 w 1800225"/>
                <a:gd name="connsiteY118" fmla="*/ 876197 h 1800225"/>
                <a:gd name="connsiteX119" fmla="*/ 395764 w 1800225"/>
                <a:gd name="connsiteY119" fmla="*/ 876197 h 1800225"/>
                <a:gd name="connsiteX120" fmla="*/ 307181 w 1800225"/>
                <a:gd name="connsiteY120" fmla="*/ 731417 h 1800225"/>
                <a:gd name="connsiteX121" fmla="*/ 275749 w 1800225"/>
                <a:gd name="connsiteY121" fmla="*/ 720940 h 1800225"/>
                <a:gd name="connsiteX122" fmla="*/ 271939 w 1800225"/>
                <a:gd name="connsiteY122" fmla="*/ 722845 h 1800225"/>
                <a:gd name="connsiteX123" fmla="*/ 263366 w 1800225"/>
                <a:gd name="connsiteY123" fmla="*/ 758087 h 1800225"/>
                <a:gd name="connsiteX124" fmla="*/ 335756 w 1800225"/>
                <a:gd name="connsiteY124" fmla="*/ 876197 h 1800225"/>
                <a:gd name="connsiteX125" fmla="*/ 335756 w 1800225"/>
                <a:gd name="connsiteY125" fmla="*/ 876197 h 1800225"/>
                <a:gd name="connsiteX126" fmla="*/ 273844 w 1800225"/>
                <a:gd name="connsiteY126" fmla="*/ 876197 h 1800225"/>
                <a:gd name="connsiteX127" fmla="*/ 272891 w 1800225"/>
                <a:gd name="connsiteY127" fmla="*/ 876197 h 1800225"/>
                <a:gd name="connsiteX128" fmla="*/ 203359 w 1800225"/>
                <a:gd name="connsiteY128" fmla="*/ 763802 h 1800225"/>
                <a:gd name="connsiteX129" fmla="*/ 171926 w 1800225"/>
                <a:gd name="connsiteY129" fmla="*/ 753325 h 1800225"/>
                <a:gd name="connsiteX130" fmla="*/ 168116 w 1800225"/>
                <a:gd name="connsiteY130" fmla="*/ 755230 h 1800225"/>
                <a:gd name="connsiteX131" fmla="*/ 159544 w 1800225"/>
                <a:gd name="connsiteY131" fmla="*/ 790472 h 1800225"/>
                <a:gd name="connsiteX132" fmla="*/ 212884 w 1800225"/>
                <a:gd name="connsiteY132" fmla="*/ 876197 h 1800225"/>
                <a:gd name="connsiteX133" fmla="*/ 212884 w 1800225"/>
                <a:gd name="connsiteY133" fmla="*/ 876197 h 1800225"/>
                <a:gd name="connsiteX134" fmla="*/ 150019 w 1800225"/>
                <a:gd name="connsiteY134" fmla="*/ 876197 h 1800225"/>
                <a:gd name="connsiteX135" fmla="*/ 150019 w 1800225"/>
                <a:gd name="connsiteY135" fmla="*/ 876197 h 1800225"/>
                <a:gd name="connsiteX136" fmla="*/ 109061 w 1800225"/>
                <a:gd name="connsiteY136" fmla="*/ 809522 h 1800225"/>
                <a:gd name="connsiteX137" fmla="*/ 77629 w 1800225"/>
                <a:gd name="connsiteY137" fmla="*/ 799045 h 1800225"/>
                <a:gd name="connsiteX138" fmla="*/ 73819 w 1800225"/>
                <a:gd name="connsiteY138" fmla="*/ 800950 h 1800225"/>
                <a:gd name="connsiteX139" fmla="*/ 65246 w 1800225"/>
                <a:gd name="connsiteY139" fmla="*/ 836192 h 1800225"/>
                <a:gd name="connsiteX140" fmla="*/ 90011 w 1800225"/>
                <a:gd name="connsiteY140" fmla="*/ 876197 h 1800225"/>
                <a:gd name="connsiteX141" fmla="*/ 30004 w 1800225"/>
                <a:gd name="connsiteY141" fmla="*/ 877150 h 1800225"/>
                <a:gd name="connsiteX142" fmla="*/ 7144 w 1800225"/>
                <a:gd name="connsiteY142" fmla="*/ 902867 h 1800225"/>
                <a:gd name="connsiteX143" fmla="*/ 32861 w 1800225"/>
                <a:gd name="connsiteY143" fmla="*/ 927632 h 1800225"/>
                <a:gd name="connsiteX144" fmla="*/ 82391 w 1800225"/>
                <a:gd name="connsiteY144" fmla="*/ 926680 h 1800225"/>
                <a:gd name="connsiteX145" fmla="*/ 83344 w 1800225"/>
                <a:gd name="connsiteY145" fmla="*/ 926680 h 1800225"/>
                <a:gd name="connsiteX146" fmla="*/ 67151 w 1800225"/>
                <a:gd name="connsiteY146" fmla="*/ 951445 h 1800225"/>
                <a:gd name="connsiteX147" fmla="*/ 73819 w 1800225"/>
                <a:gd name="connsiteY147" fmla="*/ 986687 h 1800225"/>
                <a:gd name="connsiteX148" fmla="*/ 109061 w 1800225"/>
                <a:gd name="connsiteY148" fmla="*/ 980020 h 1800225"/>
                <a:gd name="connsiteX149" fmla="*/ 144304 w 1800225"/>
                <a:gd name="connsiteY149" fmla="*/ 927632 h 1800225"/>
                <a:gd name="connsiteX150" fmla="*/ 207169 w 1800225"/>
                <a:gd name="connsiteY150" fmla="*/ 927632 h 1800225"/>
                <a:gd name="connsiteX151" fmla="*/ 207169 w 1800225"/>
                <a:gd name="connsiteY151" fmla="*/ 927632 h 1800225"/>
                <a:gd name="connsiteX152" fmla="*/ 159544 w 1800225"/>
                <a:gd name="connsiteY152" fmla="*/ 998117 h 1800225"/>
                <a:gd name="connsiteX153" fmla="*/ 166211 w 1800225"/>
                <a:gd name="connsiteY153" fmla="*/ 1033360 h 1800225"/>
                <a:gd name="connsiteX154" fmla="*/ 201454 w 1800225"/>
                <a:gd name="connsiteY154" fmla="*/ 1026692 h 1800225"/>
                <a:gd name="connsiteX155" fmla="*/ 268129 w 1800225"/>
                <a:gd name="connsiteY155" fmla="*/ 927632 h 1800225"/>
                <a:gd name="connsiteX156" fmla="*/ 342424 w 1800225"/>
                <a:gd name="connsiteY156" fmla="*/ 928585 h 1800225"/>
                <a:gd name="connsiteX157" fmla="*/ 260509 w 1800225"/>
                <a:gd name="connsiteY157" fmla="*/ 1051457 h 1800225"/>
                <a:gd name="connsiteX158" fmla="*/ 267176 w 1800225"/>
                <a:gd name="connsiteY158" fmla="*/ 1086700 h 1800225"/>
                <a:gd name="connsiteX159" fmla="*/ 302419 w 1800225"/>
                <a:gd name="connsiteY159" fmla="*/ 1080032 h 1800225"/>
                <a:gd name="connsiteX160" fmla="*/ 404336 w 1800225"/>
                <a:gd name="connsiteY160" fmla="*/ 928585 h 1800225"/>
                <a:gd name="connsiteX161" fmla="*/ 483394 w 1800225"/>
                <a:gd name="connsiteY161" fmla="*/ 928585 h 1800225"/>
                <a:gd name="connsiteX162" fmla="*/ 362426 w 1800225"/>
                <a:gd name="connsiteY162" fmla="*/ 1100035 h 1800225"/>
                <a:gd name="connsiteX163" fmla="*/ 360521 w 1800225"/>
                <a:gd name="connsiteY163" fmla="*/ 1123847 h 1800225"/>
                <a:gd name="connsiteX164" fmla="*/ 378619 w 1800225"/>
                <a:gd name="connsiteY164" fmla="*/ 1139088 h 1800225"/>
                <a:gd name="connsiteX165" fmla="*/ 584359 w 1800225"/>
                <a:gd name="connsiteY165" fmla="*/ 1177188 h 1800225"/>
                <a:gd name="connsiteX166" fmla="*/ 528161 w 1800225"/>
                <a:gd name="connsiteY166" fmla="*/ 1232433 h 1800225"/>
                <a:gd name="connsiteX167" fmla="*/ 349091 w 1800225"/>
                <a:gd name="connsiteY167" fmla="*/ 1193380 h 1800225"/>
                <a:gd name="connsiteX168" fmla="*/ 334804 w 1800225"/>
                <a:gd name="connsiteY168" fmla="*/ 1194332 h 1800225"/>
                <a:gd name="connsiteX169" fmla="*/ 319564 w 1800225"/>
                <a:gd name="connsiteY169" fmla="*/ 1212430 h 1800225"/>
                <a:gd name="connsiteX170" fmla="*/ 338614 w 1800225"/>
                <a:gd name="connsiteY170" fmla="*/ 1242910 h 1800225"/>
                <a:gd name="connsiteX171" fmla="*/ 483394 w 1800225"/>
                <a:gd name="connsiteY171" fmla="*/ 1274342 h 1800225"/>
                <a:gd name="connsiteX172" fmla="*/ 483394 w 1800225"/>
                <a:gd name="connsiteY172" fmla="*/ 1274342 h 1800225"/>
                <a:gd name="connsiteX173" fmla="*/ 429101 w 1800225"/>
                <a:gd name="connsiteY173" fmla="*/ 1326730 h 1800225"/>
                <a:gd name="connsiteX174" fmla="*/ 311944 w 1800225"/>
                <a:gd name="connsiteY174" fmla="*/ 1300060 h 1800225"/>
                <a:gd name="connsiteX175" fmla="*/ 296704 w 1800225"/>
                <a:gd name="connsiteY175" fmla="*/ 1301013 h 1800225"/>
                <a:gd name="connsiteX176" fmla="*/ 281464 w 1800225"/>
                <a:gd name="connsiteY176" fmla="*/ 1319110 h 1800225"/>
                <a:gd name="connsiteX177" fmla="*/ 300514 w 1800225"/>
                <a:gd name="connsiteY177" fmla="*/ 1349590 h 1800225"/>
                <a:gd name="connsiteX178" fmla="*/ 383381 w 1800225"/>
                <a:gd name="connsiteY178" fmla="*/ 1367688 h 1800225"/>
                <a:gd name="connsiteX179" fmla="*/ 337661 w 1800225"/>
                <a:gd name="connsiteY179" fmla="*/ 1411502 h 1800225"/>
                <a:gd name="connsiteX180" fmla="*/ 337661 w 1800225"/>
                <a:gd name="connsiteY180" fmla="*/ 1411502 h 1800225"/>
                <a:gd name="connsiteX181" fmla="*/ 275749 w 1800225"/>
                <a:gd name="connsiteY181" fmla="*/ 1398167 h 1800225"/>
                <a:gd name="connsiteX182" fmla="*/ 261461 w 1800225"/>
                <a:gd name="connsiteY182" fmla="*/ 1399120 h 1800225"/>
                <a:gd name="connsiteX183" fmla="*/ 246221 w 1800225"/>
                <a:gd name="connsiteY183" fmla="*/ 1417217 h 1800225"/>
                <a:gd name="connsiteX184" fmla="*/ 265271 w 1800225"/>
                <a:gd name="connsiteY184" fmla="*/ 1447697 h 1800225"/>
                <a:gd name="connsiteX185" fmla="*/ 293846 w 1800225"/>
                <a:gd name="connsiteY185" fmla="*/ 1454365 h 1800225"/>
                <a:gd name="connsiteX186" fmla="*/ 293846 w 1800225"/>
                <a:gd name="connsiteY186" fmla="*/ 1454365 h 1800225"/>
                <a:gd name="connsiteX187" fmla="*/ 257651 w 1800225"/>
                <a:gd name="connsiteY187" fmla="*/ 1488655 h 1800225"/>
                <a:gd name="connsiteX188" fmla="*/ 256699 w 1800225"/>
                <a:gd name="connsiteY188" fmla="*/ 1524850 h 1800225"/>
                <a:gd name="connsiteX189" fmla="*/ 291941 w 1800225"/>
                <a:gd name="connsiteY189" fmla="*/ 1525802 h 1800225"/>
                <a:gd name="connsiteX190" fmla="*/ 334804 w 1800225"/>
                <a:gd name="connsiteY190" fmla="*/ 1483892 h 1800225"/>
                <a:gd name="connsiteX191" fmla="*/ 334804 w 1800225"/>
                <a:gd name="connsiteY191" fmla="*/ 1483892 h 1800225"/>
                <a:gd name="connsiteX192" fmla="*/ 344329 w 1800225"/>
                <a:gd name="connsiteY192" fmla="*/ 1528660 h 1800225"/>
                <a:gd name="connsiteX193" fmla="*/ 374809 w 1800225"/>
                <a:gd name="connsiteY193" fmla="*/ 1547710 h 1800225"/>
                <a:gd name="connsiteX194" fmla="*/ 393859 w 1800225"/>
                <a:gd name="connsiteY194" fmla="*/ 1517230 h 1800225"/>
                <a:gd name="connsiteX195" fmla="*/ 377666 w 1800225"/>
                <a:gd name="connsiteY195" fmla="*/ 1441983 h 1800225"/>
                <a:gd name="connsiteX196" fmla="*/ 377666 w 1800225"/>
                <a:gd name="connsiteY196" fmla="*/ 1441983 h 1800225"/>
                <a:gd name="connsiteX197" fmla="*/ 423386 w 1800225"/>
                <a:gd name="connsiteY197" fmla="*/ 1398167 h 1800225"/>
                <a:gd name="connsiteX198" fmla="*/ 444341 w 1800225"/>
                <a:gd name="connsiteY198" fmla="*/ 1496275 h 1800225"/>
                <a:gd name="connsiteX199" fmla="*/ 474821 w 1800225"/>
                <a:gd name="connsiteY199" fmla="*/ 1515325 h 1800225"/>
                <a:gd name="connsiteX200" fmla="*/ 493871 w 1800225"/>
                <a:gd name="connsiteY200" fmla="*/ 1484845 h 1800225"/>
                <a:gd name="connsiteX201" fmla="*/ 466249 w 1800225"/>
                <a:gd name="connsiteY201" fmla="*/ 1356258 h 1800225"/>
                <a:gd name="connsiteX202" fmla="*/ 467201 w 1800225"/>
                <a:gd name="connsiteY202" fmla="*/ 1356258 h 1800225"/>
                <a:gd name="connsiteX203" fmla="*/ 511969 w 1800225"/>
                <a:gd name="connsiteY203" fmla="*/ 1313395 h 1800225"/>
                <a:gd name="connsiteX204" fmla="*/ 541496 w 1800225"/>
                <a:gd name="connsiteY204" fmla="*/ 1447697 h 1800225"/>
                <a:gd name="connsiteX205" fmla="*/ 571976 w 1800225"/>
                <a:gd name="connsiteY205" fmla="*/ 1466747 h 1800225"/>
                <a:gd name="connsiteX206" fmla="*/ 591026 w 1800225"/>
                <a:gd name="connsiteY206" fmla="*/ 1436267 h 1800225"/>
                <a:gd name="connsiteX207" fmla="*/ 554831 w 1800225"/>
                <a:gd name="connsiteY207" fmla="*/ 1270533 h 1800225"/>
                <a:gd name="connsiteX208" fmla="*/ 608171 w 1800225"/>
                <a:gd name="connsiteY208" fmla="*/ 1218145 h 1800225"/>
                <a:gd name="connsiteX209" fmla="*/ 651986 w 1800225"/>
                <a:gd name="connsiteY209" fmla="*/ 1429600 h 1800225"/>
                <a:gd name="connsiteX210" fmla="*/ 667226 w 1800225"/>
                <a:gd name="connsiteY210" fmla="*/ 1447697 h 1800225"/>
                <a:gd name="connsiteX211" fmla="*/ 691039 w 1800225"/>
                <a:gd name="connsiteY211" fmla="*/ 1445792 h 1800225"/>
                <a:gd name="connsiteX212" fmla="*/ 874871 w 1800225"/>
                <a:gd name="connsiteY212" fmla="*/ 1330540 h 1800225"/>
                <a:gd name="connsiteX213" fmla="*/ 874871 w 1800225"/>
                <a:gd name="connsiteY213" fmla="*/ 1405788 h 1800225"/>
                <a:gd name="connsiteX214" fmla="*/ 874871 w 1800225"/>
                <a:gd name="connsiteY214" fmla="*/ 1405788 h 1800225"/>
                <a:gd name="connsiteX215" fmla="*/ 731044 w 1800225"/>
                <a:gd name="connsiteY215" fmla="*/ 1497227 h 1800225"/>
                <a:gd name="connsiteX216" fmla="*/ 722471 w 1800225"/>
                <a:gd name="connsiteY216" fmla="*/ 1532470 h 1800225"/>
                <a:gd name="connsiteX217" fmla="*/ 757714 w 1800225"/>
                <a:gd name="connsiteY217" fmla="*/ 1541042 h 1800225"/>
                <a:gd name="connsiteX218" fmla="*/ 875824 w 1800225"/>
                <a:gd name="connsiteY218" fmla="*/ 1468652 h 1800225"/>
                <a:gd name="connsiteX219" fmla="*/ 875824 w 1800225"/>
                <a:gd name="connsiteY219" fmla="*/ 1468652 h 1800225"/>
                <a:gd name="connsiteX220" fmla="*/ 875824 w 1800225"/>
                <a:gd name="connsiteY220" fmla="*/ 1530565 h 1800225"/>
                <a:gd name="connsiteX221" fmla="*/ 875824 w 1800225"/>
                <a:gd name="connsiteY221" fmla="*/ 1530565 h 1800225"/>
                <a:gd name="connsiteX222" fmla="*/ 763429 w 1800225"/>
                <a:gd name="connsiteY222" fmla="*/ 1600097 h 1800225"/>
                <a:gd name="connsiteX223" fmla="*/ 754856 w 1800225"/>
                <a:gd name="connsiteY223" fmla="*/ 1635340 h 1800225"/>
                <a:gd name="connsiteX224" fmla="*/ 790099 w 1800225"/>
                <a:gd name="connsiteY224" fmla="*/ 1643913 h 1800225"/>
                <a:gd name="connsiteX225" fmla="*/ 875824 w 1800225"/>
                <a:gd name="connsiteY225" fmla="*/ 1590572 h 1800225"/>
                <a:gd name="connsiteX226" fmla="*/ 875824 w 1800225"/>
                <a:gd name="connsiteY226" fmla="*/ 1591525 h 1800225"/>
                <a:gd name="connsiteX227" fmla="*/ 875824 w 1800225"/>
                <a:gd name="connsiteY227" fmla="*/ 1654390 h 1800225"/>
                <a:gd name="connsiteX228" fmla="*/ 809149 w 1800225"/>
                <a:gd name="connsiteY228" fmla="*/ 1695347 h 1800225"/>
                <a:gd name="connsiteX229" fmla="*/ 800576 w 1800225"/>
                <a:gd name="connsiteY229" fmla="*/ 1730590 h 1800225"/>
                <a:gd name="connsiteX230" fmla="*/ 835819 w 1800225"/>
                <a:gd name="connsiteY230" fmla="*/ 1739163 h 1800225"/>
                <a:gd name="connsiteX231" fmla="*/ 875824 w 1800225"/>
                <a:gd name="connsiteY231" fmla="*/ 1714397 h 1800225"/>
                <a:gd name="connsiteX232" fmla="*/ 875824 w 1800225"/>
                <a:gd name="connsiteY232" fmla="*/ 1715350 h 1800225"/>
                <a:gd name="connsiteX233" fmla="*/ 875824 w 1800225"/>
                <a:gd name="connsiteY233" fmla="*/ 1774405 h 1800225"/>
                <a:gd name="connsiteX234" fmla="*/ 901541 w 1800225"/>
                <a:gd name="connsiteY234" fmla="*/ 1800122 h 1800225"/>
                <a:gd name="connsiteX235" fmla="*/ 926306 w 1800225"/>
                <a:gd name="connsiteY235" fmla="*/ 1774405 h 1800225"/>
                <a:gd name="connsiteX236" fmla="*/ 927259 w 1800225"/>
                <a:gd name="connsiteY236" fmla="*/ 1723922 h 1800225"/>
                <a:gd name="connsiteX237" fmla="*/ 927259 w 1800225"/>
                <a:gd name="connsiteY237" fmla="*/ 1723922 h 1800225"/>
                <a:gd name="connsiteX238" fmla="*/ 951071 w 1800225"/>
                <a:gd name="connsiteY238" fmla="*/ 1740115 h 1800225"/>
                <a:gd name="connsiteX239" fmla="*/ 986314 w 1800225"/>
                <a:gd name="connsiteY239" fmla="*/ 1733447 h 1800225"/>
                <a:gd name="connsiteX240" fmla="*/ 979646 w 1800225"/>
                <a:gd name="connsiteY240" fmla="*/ 1698205 h 1800225"/>
                <a:gd name="connsiteX241" fmla="*/ 926306 w 1800225"/>
                <a:gd name="connsiteY241" fmla="*/ 1662010 h 1800225"/>
                <a:gd name="connsiteX242" fmla="*/ 926306 w 1800225"/>
                <a:gd name="connsiteY242" fmla="*/ 1662010 h 1800225"/>
                <a:gd name="connsiteX243" fmla="*/ 926306 w 1800225"/>
                <a:gd name="connsiteY243" fmla="*/ 1600097 h 1800225"/>
                <a:gd name="connsiteX244" fmla="*/ 926306 w 1800225"/>
                <a:gd name="connsiteY244" fmla="*/ 1599145 h 1800225"/>
                <a:gd name="connsiteX245" fmla="*/ 926306 w 1800225"/>
                <a:gd name="connsiteY245" fmla="*/ 1599145 h 1800225"/>
                <a:gd name="connsiteX246" fmla="*/ 997744 w 1800225"/>
                <a:gd name="connsiteY246" fmla="*/ 1646770 h 1800225"/>
                <a:gd name="connsiteX247" fmla="*/ 1032986 w 1800225"/>
                <a:gd name="connsiteY247" fmla="*/ 1640102 h 1800225"/>
                <a:gd name="connsiteX248" fmla="*/ 1026319 w 1800225"/>
                <a:gd name="connsiteY248" fmla="*/ 1604860 h 1800225"/>
                <a:gd name="connsiteX249" fmla="*/ 927259 w 1800225"/>
                <a:gd name="connsiteY249" fmla="*/ 1538185 h 1800225"/>
                <a:gd name="connsiteX250" fmla="*/ 927259 w 1800225"/>
                <a:gd name="connsiteY250" fmla="*/ 1538185 h 1800225"/>
                <a:gd name="connsiteX251" fmla="*/ 928211 w 1800225"/>
                <a:gd name="connsiteY251" fmla="*/ 1463890 h 1800225"/>
                <a:gd name="connsiteX252" fmla="*/ 928211 w 1800225"/>
                <a:gd name="connsiteY252" fmla="*/ 1463890 h 1800225"/>
                <a:gd name="connsiteX253" fmla="*/ 1051084 w 1800225"/>
                <a:gd name="connsiteY253" fmla="*/ 1546758 h 1800225"/>
                <a:gd name="connsiteX254" fmla="*/ 1086326 w 1800225"/>
                <a:gd name="connsiteY254" fmla="*/ 1540090 h 1800225"/>
                <a:gd name="connsiteX255" fmla="*/ 1079659 w 1800225"/>
                <a:gd name="connsiteY255" fmla="*/ 1504847 h 1800225"/>
                <a:gd name="connsiteX256" fmla="*/ 927259 w 1800225"/>
                <a:gd name="connsiteY256" fmla="*/ 1402930 h 1800225"/>
                <a:gd name="connsiteX257" fmla="*/ 927259 w 1800225"/>
                <a:gd name="connsiteY257" fmla="*/ 1402930 h 1800225"/>
                <a:gd name="connsiteX258" fmla="*/ 927259 w 1800225"/>
                <a:gd name="connsiteY258" fmla="*/ 1323872 h 1800225"/>
                <a:gd name="connsiteX259" fmla="*/ 1097756 w 1800225"/>
                <a:gd name="connsiteY259" fmla="*/ 1443888 h 1800225"/>
                <a:gd name="connsiteX260" fmla="*/ 1136809 w 1800225"/>
                <a:gd name="connsiteY260" fmla="*/ 1427695 h 1800225"/>
                <a:gd name="connsiteX261" fmla="*/ 1176814 w 1800225"/>
                <a:gd name="connsiteY261" fmla="*/ 1222907 h 1800225"/>
                <a:gd name="connsiteX262" fmla="*/ 1231106 w 1800225"/>
                <a:gd name="connsiteY262" fmla="*/ 1279105 h 1800225"/>
                <a:gd name="connsiteX263" fmla="*/ 1231106 w 1800225"/>
                <a:gd name="connsiteY263" fmla="*/ 1279105 h 1800225"/>
                <a:gd name="connsiteX264" fmla="*/ 1192054 w 1800225"/>
                <a:gd name="connsiteY264" fmla="*/ 1458175 h 1800225"/>
                <a:gd name="connsiteX265" fmla="*/ 1211104 w 1800225"/>
                <a:gd name="connsiteY265" fmla="*/ 1487702 h 1800225"/>
                <a:gd name="connsiteX266" fmla="*/ 1241584 w 1800225"/>
                <a:gd name="connsiteY266" fmla="*/ 1468652 h 1800225"/>
                <a:gd name="connsiteX267" fmla="*/ 1273016 w 1800225"/>
                <a:gd name="connsiteY267" fmla="*/ 1323872 h 1800225"/>
                <a:gd name="connsiteX268" fmla="*/ 1273016 w 1800225"/>
                <a:gd name="connsiteY268" fmla="*/ 1323872 h 1800225"/>
                <a:gd name="connsiteX269" fmla="*/ 1325404 w 1800225"/>
                <a:gd name="connsiteY269" fmla="*/ 1377213 h 1800225"/>
                <a:gd name="connsiteX270" fmla="*/ 1325404 w 1800225"/>
                <a:gd name="connsiteY270" fmla="*/ 1377213 h 1800225"/>
                <a:gd name="connsiteX271" fmla="*/ 1300639 w 1800225"/>
                <a:gd name="connsiteY271" fmla="*/ 1494370 h 1800225"/>
                <a:gd name="connsiteX272" fmla="*/ 1319689 w 1800225"/>
                <a:gd name="connsiteY272" fmla="*/ 1524850 h 1800225"/>
                <a:gd name="connsiteX273" fmla="*/ 1350169 w 1800225"/>
                <a:gd name="connsiteY273" fmla="*/ 1505800 h 1800225"/>
                <a:gd name="connsiteX274" fmla="*/ 1368266 w 1800225"/>
                <a:gd name="connsiteY274" fmla="*/ 1421980 h 1800225"/>
                <a:gd name="connsiteX275" fmla="*/ 1368266 w 1800225"/>
                <a:gd name="connsiteY275" fmla="*/ 1421980 h 1800225"/>
                <a:gd name="connsiteX276" fmla="*/ 1368266 w 1800225"/>
                <a:gd name="connsiteY276" fmla="*/ 1422933 h 1800225"/>
                <a:gd name="connsiteX277" fmla="*/ 1411129 w 1800225"/>
                <a:gd name="connsiteY277" fmla="*/ 1467700 h 1800225"/>
                <a:gd name="connsiteX278" fmla="*/ 1411129 w 1800225"/>
                <a:gd name="connsiteY278" fmla="*/ 1467700 h 1800225"/>
                <a:gd name="connsiteX279" fmla="*/ 1397794 w 1800225"/>
                <a:gd name="connsiteY279" fmla="*/ 1530565 h 1800225"/>
                <a:gd name="connsiteX280" fmla="*/ 1416844 w 1800225"/>
                <a:gd name="connsiteY280" fmla="*/ 1561045 h 1800225"/>
                <a:gd name="connsiteX281" fmla="*/ 1447324 w 1800225"/>
                <a:gd name="connsiteY281" fmla="*/ 1541995 h 1800225"/>
                <a:gd name="connsiteX282" fmla="*/ 1453039 w 1800225"/>
                <a:gd name="connsiteY282" fmla="*/ 1513420 h 1800225"/>
                <a:gd name="connsiteX283" fmla="*/ 1453039 w 1800225"/>
                <a:gd name="connsiteY283" fmla="*/ 1513420 h 1800225"/>
                <a:gd name="connsiteX284" fmla="*/ 1488281 w 1800225"/>
                <a:gd name="connsiteY284" fmla="*/ 1549615 h 1800225"/>
                <a:gd name="connsiteX285" fmla="*/ 1523524 w 1800225"/>
                <a:gd name="connsiteY285" fmla="*/ 1550567 h 1800225"/>
                <a:gd name="connsiteX286" fmla="*/ 1524476 w 1800225"/>
                <a:gd name="connsiteY286" fmla="*/ 1514372 h 1800225"/>
                <a:gd name="connsiteX287" fmla="*/ 1483519 w 1800225"/>
                <a:gd name="connsiteY287" fmla="*/ 1472463 h 1800225"/>
                <a:gd name="connsiteX288" fmla="*/ 1482566 w 1800225"/>
                <a:gd name="connsiteY288" fmla="*/ 1471510 h 1800225"/>
                <a:gd name="connsiteX289" fmla="*/ 1528286 w 1800225"/>
                <a:gd name="connsiteY289" fmla="*/ 1461985 h 1800225"/>
                <a:gd name="connsiteX290" fmla="*/ 1547336 w 1800225"/>
                <a:gd name="connsiteY290" fmla="*/ 1431505 h 1800225"/>
                <a:gd name="connsiteX291" fmla="*/ 1516856 w 1800225"/>
                <a:gd name="connsiteY291" fmla="*/ 1412455 h 1800225"/>
                <a:gd name="connsiteX292" fmla="*/ 1440656 w 1800225"/>
                <a:gd name="connsiteY292" fmla="*/ 1428647 h 1800225"/>
                <a:gd name="connsiteX293" fmla="*/ 1397794 w 1800225"/>
                <a:gd name="connsiteY293" fmla="*/ 1379117 h 1800225"/>
                <a:gd name="connsiteX294" fmla="*/ 1397794 w 1800225"/>
                <a:gd name="connsiteY294" fmla="*/ 1379117 h 1800225"/>
                <a:gd name="connsiteX295" fmla="*/ 1495901 w 1800225"/>
                <a:gd name="connsiteY295" fmla="*/ 1358163 h 1800225"/>
                <a:gd name="connsiteX296" fmla="*/ 1514951 w 1800225"/>
                <a:gd name="connsiteY296" fmla="*/ 1327683 h 1800225"/>
                <a:gd name="connsiteX297" fmla="*/ 1484471 w 1800225"/>
                <a:gd name="connsiteY297" fmla="*/ 1308633 h 1800225"/>
                <a:gd name="connsiteX298" fmla="*/ 1355884 w 1800225"/>
                <a:gd name="connsiteY298" fmla="*/ 1336255 h 1800225"/>
                <a:gd name="connsiteX299" fmla="*/ 1355884 w 1800225"/>
                <a:gd name="connsiteY299" fmla="*/ 1336255 h 1800225"/>
                <a:gd name="connsiteX300" fmla="*/ 1313021 w 1800225"/>
                <a:gd name="connsiteY300" fmla="*/ 1291488 h 1800225"/>
                <a:gd name="connsiteX301" fmla="*/ 1313021 w 1800225"/>
                <a:gd name="connsiteY301" fmla="*/ 1291488 h 1800225"/>
                <a:gd name="connsiteX302" fmla="*/ 1448276 w 1800225"/>
                <a:gd name="connsiteY302" fmla="*/ 1261960 h 1800225"/>
                <a:gd name="connsiteX303" fmla="*/ 1467326 w 1800225"/>
                <a:gd name="connsiteY303" fmla="*/ 1231480 h 1800225"/>
                <a:gd name="connsiteX304" fmla="*/ 1436846 w 1800225"/>
                <a:gd name="connsiteY304" fmla="*/ 1212430 h 1800225"/>
                <a:gd name="connsiteX305" fmla="*/ 1271111 w 1800225"/>
                <a:gd name="connsiteY305" fmla="*/ 1248625 h 1800225"/>
                <a:gd name="connsiteX306" fmla="*/ 1271111 w 1800225"/>
                <a:gd name="connsiteY306" fmla="*/ 1248625 h 1800225"/>
                <a:gd name="connsiteX307" fmla="*/ 1218724 w 1800225"/>
                <a:gd name="connsiteY307" fmla="*/ 1194332 h 1800225"/>
                <a:gd name="connsiteX308" fmla="*/ 1431131 w 1800225"/>
                <a:gd name="connsiteY308" fmla="*/ 1150517 h 1800225"/>
                <a:gd name="connsiteX309" fmla="*/ 1449229 w 1800225"/>
                <a:gd name="connsiteY309" fmla="*/ 1135277 h 1800225"/>
                <a:gd name="connsiteX310" fmla="*/ 1447324 w 1800225"/>
                <a:gd name="connsiteY310" fmla="*/ 1112417 h 1800225"/>
                <a:gd name="connsiteX311" fmla="*/ 1332071 w 1800225"/>
                <a:gd name="connsiteY311" fmla="*/ 929537 h 1800225"/>
                <a:gd name="connsiteX312" fmla="*/ 1407319 w 1800225"/>
                <a:gd name="connsiteY312" fmla="*/ 929537 h 1800225"/>
                <a:gd name="connsiteX313" fmla="*/ 1495901 w 1800225"/>
                <a:gd name="connsiteY313" fmla="*/ 1073365 h 1800225"/>
                <a:gd name="connsiteX314" fmla="*/ 1531144 w 1800225"/>
                <a:gd name="connsiteY314" fmla="*/ 1081938 h 1800225"/>
                <a:gd name="connsiteX315" fmla="*/ 1539716 w 1800225"/>
                <a:gd name="connsiteY315" fmla="*/ 1046695 h 1800225"/>
                <a:gd name="connsiteX316" fmla="*/ 1467326 w 1800225"/>
                <a:gd name="connsiteY316" fmla="*/ 929537 h 1800225"/>
                <a:gd name="connsiteX317" fmla="*/ 1529239 w 1800225"/>
                <a:gd name="connsiteY317" fmla="*/ 929537 h 1800225"/>
                <a:gd name="connsiteX318" fmla="*/ 1530191 w 1800225"/>
                <a:gd name="connsiteY318" fmla="*/ 929537 h 1800225"/>
                <a:gd name="connsiteX319" fmla="*/ 1598771 w 1800225"/>
                <a:gd name="connsiteY319" fmla="*/ 1040980 h 1800225"/>
                <a:gd name="connsiteX320" fmla="*/ 1634014 w 1800225"/>
                <a:gd name="connsiteY320" fmla="*/ 1049552 h 1800225"/>
                <a:gd name="connsiteX321" fmla="*/ 1642586 w 1800225"/>
                <a:gd name="connsiteY321" fmla="*/ 1014310 h 1800225"/>
                <a:gd name="connsiteX322" fmla="*/ 1590199 w 1800225"/>
                <a:gd name="connsiteY322" fmla="*/ 928585 h 1800225"/>
                <a:gd name="connsiteX323" fmla="*/ 1653064 w 1800225"/>
                <a:gd name="connsiteY323" fmla="*/ 928585 h 1800225"/>
                <a:gd name="connsiteX324" fmla="*/ 1653064 w 1800225"/>
                <a:gd name="connsiteY324" fmla="*/ 928585 h 1800225"/>
                <a:gd name="connsiteX325" fmla="*/ 1694021 w 1800225"/>
                <a:gd name="connsiteY325" fmla="*/ 994307 h 1800225"/>
                <a:gd name="connsiteX326" fmla="*/ 1729264 w 1800225"/>
                <a:gd name="connsiteY326" fmla="*/ 1002880 h 1800225"/>
                <a:gd name="connsiteX327" fmla="*/ 1737836 w 1800225"/>
                <a:gd name="connsiteY327" fmla="*/ 967637 h 1800225"/>
                <a:gd name="connsiteX328" fmla="*/ 1714024 w 1800225"/>
                <a:gd name="connsiteY328" fmla="*/ 928585 h 1800225"/>
                <a:gd name="connsiteX329" fmla="*/ 1714024 w 1800225"/>
                <a:gd name="connsiteY329" fmla="*/ 928585 h 1800225"/>
                <a:gd name="connsiteX330" fmla="*/ 1774031 w 1800225"/>
                <a:gd name="connsiteY330" fmla="*/ 928585 h 1800225"/>
                <a:gd name="connsiteX331" fmla="*/ 1798796 w 1800225"/>
                <a:gd name="connsiteY331" fmla="*/ 902867 h 1800225"/>
                <a:gd name="connsiteX332" fmla="*/ 1773079 w 1800225"/>
                <a:gd name="connsiteY332" fmla="*/ 877150 h 1800225"/>
                <a:gd name="connsiteX333" fmla="*/ 1722596 w 1800225"/>
                <a:gd name="connsiteY333" fmla="*/ 878102 h 1800225"/>
                <a:gd name="connsiteX334" fmla="*/ 1722596 w 1800225"/>
                <a:gd name="connsiteY334" fmla="*/ 878102 h 1800225"/>
                <a:gd name="connsiteX335" fmla="*/ 1738789 w 1800225"/>
                <a:gd name="connsiteY335" fmla="*/ 853337 h 1800225"/>
                <a:gd name="connsiteX336" fmla="*/ 1732121 w 1800225"/>
                <a:gd name="connsiteY336" fmla="*/ 818095 h 1800225"/>
                <a:gd name="connsiteX337" fmla="*/ 1708309 w 1800225"/>
                <a:gd name="connsiteY337" fmla="*/ 815237 h 1800225"/>
                <a:gd name="connsiteX338" fmla="*/ 1696879 w 1800225"/>
                <a:gd name="connsiteY338" fmla="*/ 824762 h 1800225"/>
                <a:gd name="connsiteX339" fmla="*/ 1661636 w 1800225"/>
                <a:gd name="connsiteY339" fmla="*/ 877150 h 1800225"/>
                <a:gd name="connsiteX340" fmla="*/ 1661636 w 1800225"/>
                <a:gd name="connsiteY340" fmla="*/ 877150 h 1800225"/>
                <a:gd name="connsiteX341" fmla="*/ 1598771 w 1800225"/>
                <a:gd name="connsiteY341" fmla="*/ 877150 h 1800225"/>
                <a:gd name="connsiteX342" fmla="*/ 1646396 w 1800225"/>
                <a:gd name="connsiteY342" fmla="*/ 806665 h 1800225"/>
                <a:gd name="connsiteX343" fmla="*/ 1639729 w 1800225"/>
                <a:gd name="connsiteY343" fmla="*/ 771422 h 1800225"/>
                <a:gd name="connsiteX344" fmla="*/ 1615916 w 1800225"/>
                <a:gd name="connsiteY344" fmla="*/ 768565 h 1800225"/>
                <a:gd name="connsiteX345" fmla="*/ 1604486 w 1800225"/>
                <a:gd name="connsiteY345" fmla="*/ 778090 h 1800225"/>
                <a:gd name="connsiteX346" fmla="*/ 1537811 w 1800225"/>
                <a:gd name="connsiteY346" fmla="*/ 877150 h 1800225"/>
                <a:gd name="connsiteX347" fmla="*/ 1462564 w 1800225"/>
                <a:gd name="connsiteY347" fmla="*/ 877150 h 1800225"/>
                <a:gd name="connsiteX348" fmla="*/ 1462564 w 1800225"/>
                <a:gd name="connsiteY348" fmla="*/ 877150 h 1800225"/>
                <a:gd name="connsiteX349" fmla="*/ 1545431 w 1800225"/>
                <a:gd name="connsiteY349" fmla="*/ 754277 h 1800225"/>
                <a:gd name="connsiteX350" fmla="*/ 1538764 w 1800225"/>
                <a:gd name="connsiteY350" fmla="*/ 719035 h 1800225"/>
                <a:gd name="connsiteX351" fmla="*/ 1514951 w 1800225"/>
                <a:gd name="connsiteY351" fmla="*/ 716177 h 1800225"/>
                <a:gd name="connsiteX352" fmla="*/ 1503521 w 1800225"/>
                <a:gd name="connsiteY352" fmla="*/ 725702 h 1800225"/>
                <a:gd name="connsiteX353" fmla="*/ 1401604 w 1800225"/>
                <a:gd name="connsiteY353" fmla="*/ 878102 h 1800225"/>
                <a:gd name="connsiteX354" fmla="*/ 1322546 w 1800225"/>
                <a:gd name="connsiteY354" fmla="*/ 877150 h 1800225"/>
                <a:gd name="connsiteX355" fmla="*/ 1443514 w 1800225"/>
                <a:gd name="connsiteY355" fmla="*/ 706652 h 1800225"/>
                <a:gd name="connsiteX356" fmla="*/ 1445419 w 1800225"/>
                <a:gd name="connsiteY356" fmla="*/ 682840 h 1800225"/>
                <a:gd name="connsiteX357" fmla="*/ 1427321 w 1800225"/>
                <a:gd name="connsiteY357" fmla="*/ 667600 h 1800225"/>
                <a:gd name="connsiteX358" fmla="*/ 1221581 w 1800225"/>
                <a:gd name="connsiteY358" fmla="*/ 628547 h 1800225"/>
                <a:gd name="connsiteX359" fmla="*/ 1278731 w 1800225"/>
                <a:gd name="connsiteY359" fmla="*/ 573302 h 1800225"/>
                <a:gd name="connsiteX360" fmla="*/ 1456849 w 1800225"/>
                <a:gd name="connsiteY360" fmla="*/ 611402 h 1800225"/>
                <a:gd name="connsiteX361" fmla="*/ 1487329 w 1800225"/>
                <a:gd name="connsiteY361" fmla="*/ 592352 h 1800225"/>
                <a:gd name="connsiteX362" fmla="*/ 1468279 w 1800225"/>
                <a:gd name="connsiteY362" fmla="*/ 561872 h 1800225"/>
                <a:gd name="connsiteX363" fmla="*/ 1321594 w 1800225"/>
                <a:gd name="connsiteY363" fmla="*/ 532345 h 1800225"/>
                <a:gd name="connsiteX364" fmla="*/ 1374934 w 1800225"/>
                <a:gd name="connsiteY364" fmla="*/ 479957 h 1800225"/>
                <a:gd name="connsiteX365" fmla="*/ 1492091 w 1800225"/>
                <a:gd name="connsiteY365" fmla="*/ 504722 h 1800225"/>
                <a:gd name="connsiteX366" fmla="*/ 1522571 w 1800225"/>
                <a:gd name="connsiteY366" fmla="*/ 485672 h 1800225"/>
                <a:gd name="connsiteX367" fmla="*/ 1503521 w 1800225"/>
                <a:gd name="connsiteY367" fmla="*/ 455192 h 1800225"/>
                <a:gd name="connsiteX368" fmla="*/ 1420654 w 1800225"/>
                <a:gd name="connsiteY368" fmla="*/ 437095 h 1800225"/>
                <a:gd name="connsiteX369" fmla="*/ 1420654 w 1800225"/>
                <a:gd name="connsiteY369" fmla="*/ 437095 h 1800225"/>
                <a:gd name="connsiteX370" fmla="*/ 1466374 w 1800225"/>
                <a:gd name="connsiteY370" fmla="*/ 393280 h 1800225"/>
                <a:gd name="connsiteX371" fmla="*/ 1528286 w 1800225"/>
                <a:gd name="connsiteY371" fmla="*/ 406615 h 1800225"/>
                <a:gd name="connsiteX372" fmla="*/ 1558766 w 1800225"/>
                <a:gd name="connsiteY372" fmla="*/ 387565 h 1800225"/>
                <a:gd name="connsiteX373" fmla="*/ 1539716 w 1800225"/>
                <a:gd name="connsiteY373" fmla="*/ 357085 h 1800225"/>
                <a:gd name="connsiteX374" fmla="*/ 1510189 w 1800225"/>
                <a:gd name="connsiteY374" fmla="*/ 350417 h 1800225"/>
                <a:gd name="connsiteX375" fmla="*/ 1510189 w 1800225"/>
                <a:gd name="connsiteY375" fmla="*/ 350417 h 1800225"/>
                <a:gd name="connsiteX376" fmla="*/ 1546384 w 1800225"/>
                <a:gd name="connsiteY376" fmla="*/ 316127 h 1800225"/>
                <a:gd name="connsiteX377" fmla="*/ 1546384 w 1800225"/>
                <a:gd name="connsiteY377" fmla="*/ 280885 h 1800225"/>
                <a:gd name="connsiteX378" fmla="*/ 1257776 w 1800225"/>
                <a:gd name="connsiteY378" fmla="*/ 879055 h 1800225"/>
                <a:gd name="connsiteX379" fmla="*/ 1110139 w 1800225"/>
                <a:gd name="connsiteY379" fmla="*/ 880007 h 1800225"/>
                <a:gd name="connsiteX380" fmla="*/ 1109186 w 1800225"/>
                <a:gd name="connsiteY380" fmla="*/ 828572 h 1800225"/>
                <a:gd name="connsiteX381" fmla="*/ 1102519 w 1800225"/>
                <a:gd name="connsiteY381" fmla="*/ 811427 h 1800225"/>
                <a:gd name="connsiteX382" fmla="*/ 1068229 w 1800225"/>
                <a:gd name="connsiteY382" fmla="*/ 774280 h 1800225"/>
                <a:gd name="connsiteX383" fmla="*/ 1175861 w 1800225"/>
                <a:gd name="connsiteY383" fmla="*/ 671410 h 1800225"/>
                <a:gd name="connsiteX384" fmla="*/ 1376839 w 1800225"/>
                <a:gd name="connsiteY384" fmla="*/ 710462 h 1800225"/>
                <a:gd name="connsiteX385" fmla="*/ 1258729 w 1800225"/>
                <a:gd name="connsiteY385" fmla="*/ 877150 h 1800225"/>
                <a:gd name="connsiteX386" fmla="*/ 1257776 w 1800225"/>
                <a:gd name="connsiteY386" fmla="*/ 879055 h 1800225"/>
                <a:gd name="connsiteX387" fmla="*/ 1059656 w 1800225"/>
                <a:gd name="connsiteY387" fmla="*/ 879055 h 1800225"/>
                <a:gd name="connsiteX388" fmla="*/ 1060609 w 1800225"/>
                <a:gd name="connsiteY388" fmla="*/ 929537 h 1800225"/>
                <a:gd name="connsiteX389" fmla="*/ 1061561 w 1800225"/>
                <a:gd name="connsiteY389" fmla="*/ 969542 h 1800225"/>
                <a:gd name="connsiteX390" fmla="*/ 1032034 w 1800225"/>
                <a:gd name="connsiteY390" fmla="*/ 997165 h 1800225"/>
                <a:gd name="connsiteX391" fmla="*/ 994886 w 1800225"/>
                <a:gd name="connsiteY391" fmla="*/ 1031455 h 1800225"/>
                <a:gd name="connsiteX392" fmla="*/ 965359 w 1800225"/>
                <a:gd name="connsiteY392" fmla="*/ 1059077 h 1800225"/>
                <a:gd name="connsiteX393" fmla="*/ 925354 w 1800225"/>
                <a:gd name="connsiteY393" fmla="*/ 1060030 h 1800225"/>
                <a:gd name="connsiteX394" fmla="*/ 874871 w 1800225"/>
                <a:gd name="connsiteY394" fmla="*/ 1060982 h 1800225"/>
                <a:gd name="connsiteX395" fmla="*/ 834866 w 1800225"/>
                <a:gd name="connsiteY395" fmla="*/ 1061935 h 1800225"/>
                <a:gd name="connsiteX396" fmla="*/ 807244 w 1800225"/>
                <a:gd name="connsiteY396" fmla="*/ 1032407 h 1800225"/>
                <a:gd name="connsiteX397" fmla="*/ 772954 w 1800225"/>
                <a:gd name="connsiteY397" fmla="*/ 995260 h 1800225"/>
                <a:gd name="connsiteX398" fmla="*/ 745331 w 1800225"/>
                <a:gd name="connsiteY398" fmla="*/ 965732 h 1800225"/>
                <a:gd name="connsiteX399" fmla="*/ 744379 w 1800225"/>
                <a:gd name="connsiteY399" fmla="*/ 925727 h 1800225"/>
                <a:gd name="connsiteX400" fmla="*/ 743426 w 1800225"/>
                <a:gd name="connsiteY400" fmla="*/ 875245 h 1800225"/>
                <a:gd name="connsiteX401" fmla="*/ 742474 w 1800225"/>
                <a:gd name="connsiteY401" fmla="*/ 835240 h 1800225"/>
                <a:gd name="connsiteX402" fmla="*/ 772001 w 1800225"/>
                <a:gd name="connsiteY402" fmla="*/ 807617 h 1800225"/>
                <a:gd name="connsiteX403" fmla="*/ 809149 w 1800225"/>
                <a:gd name="connsiteY403" fmla="*/ 773327 h 1800225"/>
                <a:gd name="connsiteX404" fmla="*/ 838676 w 1800225"/>
                <a:gd name="connsiteY404" fmla="*/ 745705 h 1800225"/>
                <a:gd name="connsiteX405" fmla="*/ 878681 w 1800225"/>
                <a:gd name="connsiteY405" fmla="*/ 744752 h 1800225"/>
                <a:gd name="connsiteX406" fmla="*/ 929164 w 1800225"/>
                <a:gd name="connsiteY406" fmla="*/ 743800 h 1800225"/>
                <a:gd name="connsiteX407" fmla="*/ 969169 w 1800225"/>
                <a:gd name="connsiteY407" fmla="*/ 742847 h 1800225"/>
                <a:gd name="connsiteX408" fmla="*/ 996791 w 1800225"/>
                <a:gd name="connsiteY408" fmla="*/ 772375 h 1800225"/>
                <a:gd name="connsiteX409" fmla="*/ 1031081 w 1800225"/>
                <a:gd name="connsiteY409" fmla="*/ 809522 h 1800225"/>
                <a:gd name="connsiteX410" fmla="*/ 1057751 w 1800225"/>
                <a:gd name="connsiteY410" fmla="*/ 839050 h 1800225"/>
                <a:gd name="connsiteX411" fmla="*/ 1059656 w 1800225"/>
                <a:gd name="connsiteY411" fmla="*/ 879055 h 1800225"/>
                <a:gd name="connsiteX412" fmla="*/ 1178719 w 1800225"/>
                <a:gd name="connsiteY412" fmla="*/ 1150517 h 1800225"/>
                <a:gd name="connsiteX413" fmla="*/ 1066324 w 1800225"/>
                <a:gd name="connsiteY413" fmla="*/ 1033360 h 1800225"/>
                <a:gd name="connsiteX414" fmla="*/ 1103471 w 1800225"/>
                <a:gd name="connsiteY414" fmla="*/ 999070 h 1800225"/>
                <a:gd name="connsiteX415" fmla="*/ 1112044 w 1800225"/>
                <a:gd name="connsiteY415" fmla="*/ 980020 h 1800225"/>
                <a:gd name="connsiteX416" fmla="*/ 1111091 w 1800225"/>
                <a:gd name="connsiteY416" fmla="*/ 929537 h 1800225"/>
                <a:gd name="connsiteX417" fmla="*/ 1272064 w 1800225"/>
                <a:gd name="connsiteY417" fmla="*/ 928585 h 1800225"/>
                <a:gd name="connsiteX418" fmla="*/ 1384459 w 1800225"/>
                <a:gd name="connsiteY418" fmla="*/ 1107655 h 1800225"/>
                <a:gd name="connsiteX419" fmla="*/ 1178719 w 1800225"/>
                <a:gd name="connsiteY419" fmla="*/ 1150517 h 1800225"/>
                <a:gd name="connsiteX420" fmla="*/ 926306 w 1800225"/>
                <a:gd name="connsiteY420" fmla="*/ 1260055 h 1800225"/>
                <a:gd name="connsiteX421" fmla="*/ 925354 w 1800225"/>
                <a:gd name="connsiteY421" fmla="*/ 1111465 h 1800225"/>
                <a:gd name="connsiteX422" fmla="*/ 975836 w 1800225"/>
                <a:gd name="connsiteY422" fmla="*/ 1110513 h 1800225"/>
                <a:gd name="connsiteX423" fmla="*/ 992981 w 1800225"/>
                <a:gd name="connsiteY423" fmla="*/ 1103845 h 1800225"/>
                <a:gd name="connsiteX424" fmla="*/ 1030129 w 1800225"/>
                <a:gd name="connsiteY424" fmla="*/ 1069555 h 1800225"/>
                <a:gd name="connsiteX425" fmla="*/ 1132999 w 1800225"/>
                <a:gd name="connsiteY425" fmla="*/ 1177188 h 1800225"/>
                <a:gd name="connsiteX426" fmla="*/ 1093946 w 1800225"/>
                <a:gd name="connsiteY426" fmla="*/ 1378165 h 1800225"/>
                <a:gd name="connsiteX427" fmla="*/ 926306 w 1800225"/>
                <a:gd name="connsiteY427" fmla="*/ 1260055 h 1800225"/>
                <a:gd name="connsiteX428" fmla="*/ 652939 w 1800225"/>
                <a:gd name="connsiteY428" fmla="*/ 1179092 h 1800225"/>
                <a:gd name="connsiteX429" fmla="*/ 769144 w 1800225"/>
                <a:gd name="connsiteY429" fmla="*/ 1067650 h 1800225"/>
                <a:gd name="connsiteX430" fmla="*/ 803434 w 1800225"/>
                <a:gd name="connsiteY430" fmla="*/ 1104797 h 1800225"/>
                <a:gd name="connsiteX431" fmla="*/ 822484 w 1800225"/>
                <a:gd name="connsiteY431" fmla="*/ 1112417 h 1800225"/>
                <a:gd name="connsiteX432" fmla="*/ 872966 w 1800225"/>
                <a:gd name="connsiteY432" fmla="*/ 1111465 h 1800225"/>
                <a:gd name="connsiteX433" fmla="*/ 872966 w 1800225"/>
                <a:gd name="connsiteY433" fmla="*/ 1274342 h 1800225"/>
                <a:gd name="connsiteX434" fmla="*/ 694849 w 1800225"/>
                <a:gd name="connsiteY434" fmla="*/ 1386738 h 1800225"/>
                <a:gd name="connsiteX435" fmla="*/ 652939 w 1800225"/>
                <a:gd name="connsiteY435" fmla="*/ 1179092 h 1800225"/>
                <a:gd name="connsiteX436" fmla="*/ 545306 w 1800225"/>
                <a:gd name="connsiteY436" fmla="*/ 926680 h 1800225"/>
                <a:gd name="connsiteX437" fmla="*/ 693896 w 1800225"/>
                <a:gd name="connsiteY437" fmla="*/ 925727 h 1800225"/>
                <a:gd name="connsiteX438" fmla="*/ 694849 w 1800225"/>
                <a:gd name="connsiteY438" fmla="*/ 976210 h 1800225"/>
                <a:gd name="connsiteX439" fmla="*/ 701516 w 1800225"/>
                <a:gd name="connsiteY439" fmla="*/ 993355 h 1800225"/>
                <a:gd name="connsiteX440" fmla="*/ 735806 w 1800225"/>
                <a:gd name="connsiteY440" fmla="*/ 1030502 h 1800225"/>
                <a:gd name="connsiteX441" fmla="*/ 628174 w 1800225"/>
                <a:gd name="connsiteY441" fmla="*/ 1132420 h 1800225"/>
                <a:gd name="connsiteX442" fmla="*/ 627221 w 1800225"/>
                <a:gd name="connsiteY442" fmla="*/ 1131467 h 1800225"/>
                <a:gd name="connsiteX443" fmla="*/ 426244 w 1800225"/>
                <a:gd name="connsiteY443" fmla="*/ 1093367 h 1800225"/>
                <a:gd name="connsiteX444" fmla="*/ 545306 w 1800225"/>
                <a:gd name="connsiteY444" fmla="*/ 926680 h 1800225"/>
                <a:gd name="connsiteX445" fmla="*/ 626269 w 1800225"/>
                <a:gd name="connsiteY445" fmla="*/ 654265 h 1800225"/>
                <a:gd name="connsiteX446" fmla="*/ 737711 w 1800225"/>
                <a:gd name="connsiteY446" fmla="*/ 770470 h 1800225"/>
                <a:gd name="connsiteX447" fmla="*/ 700564 w 1800225"/>
                <a:gd name="connsiteY447" fmla="*/ 804760 h 1800225"/>
                <a:gd name="connsiteX448" fmla="*/ 691991 w 1800225"/>
                <a:gd name="connsiteY448" fmla="*/ 823810 h 1800225"/>
                <a:gd name="connsiteX449" fmla="*/ 692944 w 1800225"/>
                <a:gd name="connsiteY449" fmla="*/ 875245 h 1800225"/>
                <a:gd name="connsiteX450" fmla="*/ 531971 w 1800225"/>
                <a:gd name="connsiteY450" fmla="*/ 876197 h 1800225"/>
                <a:gd name="connsiteX451" fmla="*/ 418624 w 1800225"/>
                <a:gd name="connsiteY451" fmla="*/ 697127 h 1800225"/>
                <a:gd name="connsiteX452" fmla="*/ 626269 w 1800225"/>
                <a:gd name="connsiteY452" fmla="*/ 654265 h 1800225"/>
                <a:gd name="connsiteX453" fmla="*/ 877729 w 1800225"/>
                <a:gd name="connsiteY453" fmla="*/ 545680 h 1800225"/>
                <a:gd name="connsiteX454" fmla="*/ 877729 w 1800225"/>
                <a:gd name="connsiteY454" fmla="*/ 695222 h 1800225"/>
                <a:gd name="connsiteX455" fmla="*/ 827246 w 1800225"/>
                <a:gd name="connsiteY455" fmla="*/ 696175 h 1800225"/>
                <a:gd name="connsiteX456" fmla="*/ 817721 w 1800225"/>
                <a:gd name="connsiteY456" fmla="*/ 698080 h 1800225"/>
                <a:gd name="connsiteX457" fmla="*/ 810101 w 1800225"/>
                <a:gd name="connsiteY457" fmla="*/ 703795 h 1800225"/>
                <a:gd name="connsiteX458" fmla="*/ 773906 w 1800225"/>
                <a:gd name="connsiteY458" fmla="*/ 738085 h 1800225"/>
                <a:gd name="connsiteX459" fmla="*/ 671989 w 1800225"/>
                <a:gd name="connsiteY459" fmla="*/ 629500 h 1800225"/>
                <a:gd name="connsiteX460" fmla="*/ 711041 w 1800225"/>
                <a:gd name="connsiteY460" fmla="*/ 428522 h 1800225"/>
                <a:gd name="connsiteX461" fmla="*/ 877729 w 1800225"/>
                <a:gd name="connsiteY461" fmla="*/ 545680 h 1800225"/>
                <a:gd name="connsiteX462" fmla="*/ 1151096 w 1800225"/>
                <a:gd name="connsiteY462" fmla="*/ 626642 h 1800225"/>
                <a:gd name="connsiteX463" fmla="*/ 1034891 w 1800225"/>
                <a:gd name="connsiteY463" fmla="*/ 738085 h 1800225"/>
                <a:gd name="connsiteX464" fmla="*/ 999649 w 1800225"/>
                <a:gd name="connsiteY464" fmla="*/ 699985 h 1800225"/>
                <a:gd name="connsiteX465" fmla="*/ 980599 w 1800225"/>
                <a:gd name="connsiteY465" fmla="*/ 692365 h 1800225"/>
                <a:gd name="connsiteX466" fmla="*/ 929164 w 1800225"/>
                <a:gd name="connsiteY466" fmla="*/ 693317 h 1800225"/>
                <a:gd name="connsiteX467" fmla="*/ 928211 w 1800225"/>
                <a:gd name="connsiteY467" fmla="*/ 532345 h 1800225"/>
                <a:gd name="connsiteX468" fmla="*/ 1107281 w 1800225"/>
                <a:gd name="connsiteY468" fmla="*/ 419950 h 1800225"/>
                <a:gd name="connsiteX469" fmla="*/ 1151096 w 1800225"/>
                <a:gd name="connsiteY469" fmla="*/ 626642 h 180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</a:cxnLst>
              <a:rect l="l" t="t" r="r" b="b"/>
              <a:pathLst>
                <a:path w="1800225" h="1800225">
                  <a:moveTo>
                    <a:pt x="1546384" y="280885"/>
                  </a:moveTo>
                  <a:cubicBezTo>
                    <a:pt x="1536859" y="270407"/>
                    <a:pt x="1520666" y="270407"/>
                    <a:pt x="1511141" y="279932"/>
                  </a:cubicBezTo>
                  <a:lnTo>
                    <a:pt x="1467326" y="320890"/>
                  </a:lnTo>
                  <a:lnTo>
                    <a:pt x="1457801" y="275170"/>
                  </a:lnTo>
                  <a:cubicBezTo>
                    <a:pt x="1454944" y="261835"/>
                    <a:pt x="1441609" y="253262"/>
                    <a:pt x="1427321" y="256120"/>
                  </a:cubicBezTo>
                  <a:cubicBezTo>
                    <a:pt x="1426369" y="256120"/>
                    <a:pt x="1424464" y="257072"/>
                    <a:pt x="1423511" y="257072"/>
                  </a:cubicBezTo>
                  <a:cubicBezTo>
                    <a:pt x="1412081" y="261835"/>
                    <a:pt x="1405414" y="273265"/>
                    <a:pt x="1408271" y="285647"/>
                  </a:cubicBezTo>
                  <a:lnTo>
                    <a:pt x="1424464" y="361847"/>
                  </a:lnTo>
                  <a:lnTo>
                    <a:pt x="1424464" y="361847"/>
                  </a:lnTo>
                  <a:lnTo>
                    <a:pt x="1378744" y="405662"/>
                  </a:lnTo>
                  <a:lnTo>
                    <a:pt x="1378744" y="405662"/>
                  </a:lnTo>
                  <a:lnTo>
                    <a:pt x="1356836" y="306602"/>
                  </a:lnTo>
                  <a:cubicBezTo>
                    <a:pt x="1353979" y="293267"/>
                    <a:pt x="1340644" y="284695"/>
                    <a:pt x="1326356" y="287552"/>
                  </a:cubicBezTo>
                  <a:cubicBezTo>
                    <a:pt x="1324451" y="287552"/>
                    <a:pt x="1323499" y="288505"/>
                    <a:pt x="1322546" y="288505"/>
                  </a:cubicBezTo>
                  <a:cubicBezTo>
                    <a:pt x="1311116" y="293267"/>
                    <a:pt x="1304449" y="304697"/>
                    <a:pt x="1307306" y="317080"/>
                  </a:cubicBezTo>
                  <a:lnTo>
                    <a:pt x="1335881" y="445667"/>
                  </a:lnTo>
                  <a:lnTo>
                    <a:pt x="1335881" y="445667"/>
                  </a:lnTo>
                  <a:lnTo>
                    <a:pt x="1291114" y="488530"/>
                  </a:lnTo>
                  <a:lnTo>
                    <a:pt x="1291114" y="488530"/>
                  </a:lnTo>
                  <a:lnTo>
                    <a:pt x="1261586" y="353275"/>
                  </a:lnTo>
                  <a:cubicBezTo>
                    <a:pt x="1258729" y="339940"/>
                    <a:pt x="1245394" y="331367"/>
                    <a:pt x="1231106" y="334225"/>
                  </a:cubicBezTo>
                  <a:cubicBezTo>
                    <a:pt x="1230154" y="334225"/>
                    <a:pt x="1228249" y="335177"/>
                    <a:pt x="1227296" y="335177"/>
                  </a:cubicBezTo>
                  <a:cubicBezTo>
                    <a:pt x="1215866" y="339940"/>
                    <a:pt x="1209199" y="352322"/>
                    <a:pt x="1212056" y="363752"/>
                  </a:cubicBezTo>
                  <a:lnTo>
                    <a:pt x="1248251" y="529487"/>
                  </a:lnTo>
                  <a:lnTo>
                    <a:pt x="1193959" y="581875"/>
                  </a:lnTo>
                  <a:lnTo>
                    <a:pt x="1150144" y="372325"/>
                  </a:lnTo>
                  <a:cubicBezTo>
                    <a:pt x="1148239" y="364705"/>
                    <a:pt x="1142524" y="358037"/>
                    <a:pt x="1134904" y="354227"/>
                  </a:cubicBezTo>
                  <a:cubicBezTo>
                    <a:pt x="1127284" y="351370"/>
                    <a:pt x="1118711" y="352322"/>
                    <a:pt x="1111091" y="356132"/>
                  </a:cubicBezTo>
                  <a:lnTo>
                    <a:pt x="929164" y="471385"/>
                  </a:lnTo>
                  <a:lnTo>
                    <a:pt x="928211" y="396137"/>
                  </a:lnTo>
                  <a:lnTo>
                    <a:pt x="1072991" y="307555"/>
                  </a:lnTo>
                  <a:cubicBezTo>
                    <a:pt x="1084421" y="299935"/>
                    <a:pt x="1088231" y="284695"/>
                    <a:pt x="1081564" y="272312"/>
                  </a:cubicBezTo>
                  <a:cubicBezTo>
                    <a:pt x="1073944" y="259930"/>
                    <a:pt x="1058704" y="256120"/>
                    <a:pt x="1046321" y="263740"/>
                  </a:cubicBezTo>
                  <a:lnTo>
                    <a:pt x="929164" y="336130"/>
                  </a:lnTo>
                  <a:lnTo>
                    <a:pt x="929164" y="273265"/>
                  </a:lnTo>
                  <a:lnTo>
                    <a:pt x="1041559" y="203732"/>
                  </a:lnTo>
                  <a:cubicBezTo>
                    <a:pt x="1053941" y="196112"/>
                    <a:pt x="1056799" y="180872"/>
                    <a:pt x="1050131" y="168490"/>
                  </a:cubicBezTo>
                  <a:cubicBezTo>
                    <a:pt x="1042511" y="156107"/>
                    <a:pt x="1027271" y="152297"/>
                    <a:pt x="1014889" y="159917"/>
                  </a:cubicBezTo>
                  <a:lnTo>
                    <a:pt x="929164" y="212305"/>
                  </a:lnTo>
                  <a:lnTo>
                    <a:pt x="929164" y="149440"/>
                  </a:lnTo>
                  <a:lnTo>
                    <a:pt x="929164" y="148487"/>
                  </a:lnTo>
                  <a:lnTo>
                    <a:pt x="994886" y="107530"/>
                  </a:lnTo>
                  <a:cubicBezTo>
                    <a:pt x="1006316" y="99910"/>
                    <a:pt x="1010126" y="84670"/>
                    <a:pt x="1003459" y="72287"/>
                  </a:cubicBezTo>
                  <a:cubicBezTo>
                    <a:pt x="995839" y="59905"/>
                    <a:pt x="980599" y="56095"/>
                    <a:pt x="968216" y="63715"/>
                  </a:cubicBezTo>
                  <a:lnTo>
                    <a:pt x="929164" y="88480"/>
                  </a:lnTo>
                  <a:lnTo>
                    <a:pt x="929164" y="88480"/>
                  </a:lnTo>
                  <a:lnTo>
                    <a:pt x="929164" y="28472"/>
                  </a:lnTo>
                  <a:cubicBezTo>
                    <a:pt x="927259" y="17995"/>
                    <a:pt x="915829" y="7517"/>
                    <a:pt x="902494" y="7517"/>
                  </a:cubicBezTo>
                  <a:cubicBezTo>
                    <a:pt x="898684" y="6565"/>
                    <a:pt x="895826" y="7517"/>
                    <a:pt x="892969" y="9422"/>
                  </a:cubicBezTo>
                  <a:cubicBezTo>
                    <a:pt x="883444" y="13232"/>
                    <a:pt x="877729" y="21805"/>
                    <a:pt x="876776" y="32282"/>
                  </a:cubicBezTo>
                  <a:lnTo>
                    <a:pt x="876776" y="82765"/>
                  </a:lnTo>
                  <a:lnTo>
                    <a:pt x="852011" y="66572"/>
                  </a:lnTo>
                  <a:cubicBezTo>
                    <a:pt x="845344" y="61810"/>
                    <a:pt x="836771" y="60857"/>
                    <a:pt x="829151" y="64667"/>
                  </a:cubicBezTo>
                  <a:cubicBezTo>
                    <a:pt x="824389" y="66572"/>
                    <a:pt x="820579" y="69430"/>
                    <a:pt x="817721" y="74192"/>
                  </a:cubicBezTo>
                  <a:cubicBezTo>
                    <a:pt x="810101" y="85622"/>
                    <a:pt x="812959" y="101815"/>
                    <a:pt x="824389" y="109435"/>
                  </a:cubicBezTo>
                  <a:lnTo>
                    <a:pt x="877729" y="144677"/>
                  </a:lnTo>
                  <a:lnTo>
                    <a:pt x="876776" y="206590"/>
                  </a:lnTo>
                  <a:lnTo>
                    <a:pt x="807244" y="159917"/>
                  </a:lnTo>
                  <a:cubicBezTo>
                    <a:pt x="799624" y="155155"/>
                    <a:pt x="791051" y="154202"/>
                    <a:pt x="783431" y="157060"/>
                  </a:cubicBezTo>
                  <a:cubicBezTo>
                    <a:pt x="778669" y="158965"/>
                    <a:pt x="774859" y="161822"/>
                    <a:pt x="772001" y="166585"/>
                  </a:cubicBezTo>
                  <a:cubicBezTo>
                    <a:pt x="764381" y="178015"/>
                    <a:pt x="767239" y="194207"/>
                    <a:pt x="778669" y="201827"/>
                  </a:cubicBezTo>
                  <a:lnTo>
                    <a:pt x="877729" y="268502"/>
                  </a:lnTo>
                  <a:lnTo>
                    <a:pt x="877729" y="268502"/>
                  </a:lnTo>
                  <a:lnTo>
                    <a:pt x="877729" y="343750"/>
                  </a:lnTo>
                  <a:lnTo>
                    <a:pt x="754856" y="260882"/>
                  </a:lnTo>
                  <a:cubicBezTo>
                    <a:pt x="747236" y="256120"/>
                    <a:pt x="738664" y="255167"/>
                    <a:pt x="731044" y="258025"/>
                  </a:cubicBezTo>
                  <a:cubicBezTo>
                    <a:pt x="726281" y="259930"/>
                    <a:pt x="722471" y="262787"/>
                    <a:pt x="719614" y="267550"/>
                  </a:cubicBezTo>
                  <a:cubicBezTo>
                    <a:pt x="711994" y="278980"/>
                    <a:pt x="714851" y="295172"/>
                    <a:pt x="726281" y="302792"/>
                  </a:cubicBezTo>
                  <a:lnTo>
                    <a:pt x="878681" y="404710"/>
                  </a:lnTo>
                  <a:lnTo>
                    <a:pt x="878681" y="483767"/>
                  </a:lnTo>
                  <a:lnTo>
                    <a:pt x="707231" y="363752"/>
                  </a:lnTo>
                  <a:cubicBezTo>
                    <a:pt x="699611" y="358990"/>
                    <a:pt x="691039" y="358037"/>
                    <a:pt x="683419" y="361847"/>
                  </a:cubicBezTo>
                  <a:cubicBezTo>
                    <a:pt x="675799" y="364705"/>
                    <a:pt x="670084" y="371372"/>
                    <a:pt x="668179" y="379945"/>
                  </a:cubicBezTo>
                  <a:lnTo>
                    <a:pt x="628174" y="584732"/>
                  </a:lnTo>
                  <a:lnTo>
                    <a:pt x="573881" y="528535"/>
                  </a:lnTo>
                  <a:lnTo>
                    <a:pt x="611981" y="349465"/>
                  </a:lnTo>
                  <a:cubicBezTo>
                    <a:pt x="614839" y="336130"/>
                    <a:pt x="606266" y="322795"/>
                    <a:pt x="592931" y="318985"/>
                  </a:cubicBezTo>
                  <a:cubicBezTo>
                    <a:pt x="588169" y="318032"/>
                    <a:pt x="582454" y="318032"/>
                    <a:pt x="577691" y="319937"/>
                  </a:cubicBezTo>
                  <a:cubicBezTo>
                    <a:pt x="570071" y="322795"/>
                    <a:pt x="564356" y="329462"/>
                    <a:pt x="562451" y="338035"/>
                  </a:cubicBezTo>
                  <a:lnTo>
                    <a:pt x="531019" y="482815"/>
                  </a:lnTo>
                  <a:lnTo>
                    <a:pt x="478631" y="428522"/>
                  </a:lnTo>
                  <a:lnTo>
                    <a:pt x="478631" y="428522"/>
                  </a:lnTo>
                  <a:lnTo>
                    <a:pt x="504349" y="312317"/>
                  </a:lnTo>
                  <a:cubicBezTo>
                    <a:pt x="507206" y="298982"/>
                    <a:pt x="498634" y="285647"/>
                    <a:pt x="485299" y="281837"/>
                  </a:cubicBezTo>
                  <a:cubicBezTo>
                    <a:pt x="480536" y="280885"/>
                    <a:pt x="474821" y="280885"/>
                    <a:pt x="470059" y="282790"/>
                  </a:cubicBezTo>
                  <a:cubicBezTo>
                    <a:pt x="462439" y="285647"/>
                    <a:pt x="456724" y="292315"/>
                    <a:pt x="454819" y="300887"/>
                  </a:cubicBezTo>
                  <a:lnTo>
                    <a:pt x="437674" y="382802"/>
                  </a:lnTo>
                  <a:lnTo>
                    <a:pt x="393859" y="338987"/>
                  </a:lnTo>
                  <a:lnTo>
                    <a:pt x="407194" y="276122"/>
                  </a:lnTo>
                  <a:cubicBezTo>
                    <a:pt x="410051" y="262787"/>
                    <a:pt x="401479" y="249452"/>
                    <a:pt x="388144" y="245642"/>
                  </a:cubicBezTo>
                  <a:cubicBezTo>
                    <a:pt x="383381" y="244690"/>
                    <a:pt x="377666" y="244690"/>
                    <a:pt x="373856" y="246595"/>
                  </a:cubicBezTo>
                  <a:cubicBezTo>
                    <a:pt x="366236" y="249452"/>
                    <a:pt x="360521" y="256120"/>
                    <a:pt x="358616" y="264692"/>
                  </a:cubicBezTo>
                  <a:lnTo>
                    <a:pt x="352901" y="293267"/>
                  </a:lnTo>
                  <a:lnTo>
                    <a:pt x="317659" y="257072"/>
                  </a:lnTo>
                  <a:cubicBezTo>
                    <a:pt x="310039" y="250405"/>
                    <a:pt x="299561" y="247547"/>
                    <a:pt x="290036" y="251357"/>
                  </a:cubicBezTo>
                  <a:cubicBezTo>
                    <a:pt x="287179" y="252310"/>
                    <a:pt x="284321" y="253262"/>
                    <a:pt x="282416" y="257072"/>
                  </a:cubicBezTo>
                  <a:cubicBezTo>
                    <a:pt x="271939" y="266597"/>
                    <a:pt x="271939" y="281837"/>
                    <a:pt x="281464" y="292315"/>
                  </a:cubicBezTo>
                  <a:lnTo>
                    <a:pt x="323374" y="335177"/>
                  </a:lnTo>
                  <a:lnTo>
                    <a:pt x="323374" y="335177"/>
                  </a:lnTo>
                  <a:lnTo>
                    <a:pt x="277654" y="344702"/>
                  </a:lnTo>
                  <a:cubicBezTo>
                    <a:pt x="264319" y="347560"/>
                    <a:pt x="255746" y="360895"/>
                    <a:pt x="258604" y="375182"/>
                  </a:cubicBezTo>
                  <a:cubicBezTo>
                    <a:pt x="261461" y="388517"/>
                    <a:pt x="274796" y="397090"/>
                    <a:pt x="289084" y="394232"/>
                  </a:cubicBezTo>
                  <a:lnTo>
                    <a:pt x="364331" y="378040"/>
                  </a:lnTo>
                  <a:lnTo>
                    <a:pt x="364331" y="378040"/>
                  </a:lnTo>
                  <a:lnTo>
                    <a:pt x="407194" y="423760"/>
                  </a:lnTo>
                  <a:lnTo>
                    <a:pt x="309086" y="444715"/>
                  </a:lnTo>
                  <a:cubicBezTo>
                    <a:pt x="295751" y="447572"/>
                    <a:pt x="287179" y="460907"/>
                    <a:pt x="290036" y="475195"/>
                  </a:cubicBezTo>
                  <a:cubicBezTo>
                    <a:pt x="292894" y="488530"/>
                    <a:pt x="306229" y="497102"/>
                    <a:pt x="320516" y="494245"/>
                  </a:cubicBezTo>
                  <a:lnTo>
                    <a:pt x="449104" y="465670"/>
                  </a:lnTo>
                  <a:lnTo>
                    <a:pt x="491966" y="511390"/>
                  </a:lnTo>
                  <a:lnTo>
                    <a:pt x="356711" y="540917"/>
                  </a:lnTo>
                  <a:cubicBezTo>
                    <a:pt x="343376" y="543775"/>
                    <a:pt x="334804" y="557110"/>
                    <a:pt x="337661" y="571397"/>
                  </a:cubicBezTo>
                  <a:cubicBezTo>
                    <a:pt x="340519" y="584732"/>
                    <a:pt x="353854" y="593305"/>
                    <a:pt x="368141" y="590447"/>
                  </a:cubicBezTo>
                  <a:lnTo>
                    <a:pt x="533876" y="554252"/>
                  </a:lnTo>
                  <a:lnTo>
                    <a:pt x="585311" y="608545"/>
                  </a:lnTo>
                  <a:lnTo>
                    <a:pt x="371951" y="655217"/>
                  </a:lnTo>
                  <a:cubicBezTo>
                    <a:pt x="364331" y="657122"/>
                    <a:pt x="357664" y="661885"/>
                    <a:pt x="353854" y="670457"/>
                  </a:cubicBezTo>
                  <a:cubicBezTo>
                    <a:pt x="351949" y="678077"/>
                    <a:pt x="351949" y="686650"/>
                    <a:pt x="355759" y="693317"/>
                  </a:cubicBezTo>
                  <a:lnTo>
                    <a:pt x="471964" y="876197"/>
                  </a:lnTo>
                  <a:lnTo>
                    <a:pt x="395764" y="876197"/>
                  </a:lnTo>
                  <a:lnTo>
                    <a:pt x="307181" y="731417"/>
                  </a:lnTo>
                  <a:cubicBezTo>
                    <a:pt x="300514" y="720940"/>
                    <a:pt x="287179" y="717130"/>
                    <a:pt x="275749" y="720940"/>
                  </a:cubicBezTo>
                  <a:cubicBezTo>
                    <a:pt x="274796" y="721892"/>
                    <a:pt x="272891" y="721892"/>
                    <a:pt x="271939" y="722845"/>
                  </a:cubicBezTo>
                  <a:cubicBezTo>
                    <a:pt x="260509" y="730465"/>
                    <a:pt x="256699" y="745705"/>
                    <a:pt x="263366" y="758087"/>
                  </a:cubicBezTo>
                  <a:lnTo>
                    <a:pt x="335756" y="876197"/>
                  </a:lnTo>
                  <a:lnTo>
                    <a:pt x="335756" y="876197"/>
                  </a:lnTo>
                  <a:lnTo>
                    <a:pt x="273844" y="876197"/>
                  </a:lnTo>
                  <a:lnTo>
                    <a:pt x="272891" y="876197"/>
                  </a:lnTo>
                  <a:lnTo>
                    <a:pt x="203359" y="763802"/>
                  </a:lnTo>
                  <a:cubicBezTo>
                    <a:pt x="196691" y="753325"/>
                    <a:pt x="183356" y="749515"/>
                    <a:pt x="171926" y="753325"/>
                  </a:cubicBezTo>
                  <a:cubicBezTo>
                    <a:pt x="170974" y="754277"/>
                    <a:pt x="169069" y="754277"/>
                    <a:pt x="168116" y="755230"/>
                  </a:cubicBezTo>
                  <a:cubicBezTo>
                    <a:pt x="155734" y="762850"/>
                    <a:pt x="152876" y="778090"/>
                    <a:pt x="159544" y="790472"/>
                  </a:cubicBezTo>
                  <a:lnTo>
                    <a:pt x="212884" y="876197"/>
                  </a:lnTo>
                  <a:lnTo>
                    <a:pt x="212884" y="876197"/>
                  </a:lnTo>
                  <a:lnTo>
                    <a:pt x="150019" y="876197"/>
                  </a:lnTo>
                  <a:lnTo>
                    <a:pt x="150019" y="876197"/>
                  </a:lnTo>
                  <a:lnTo>
                    <a:pt x="109061" y="809522"/>
                  </a:lnTo>
                  <a:cubicBezTo>
                    <a:pt x="102394" y="799045"/>
                    <a:pt x="89059" y="794282"/>
                    <a:pt x="77629" y="799045"/>
                  </a:cubicBezTo>
                  <a:cubicBezTo>
                    <a:pt x="76676" y="799997"/>
                    <a:pt x="74771" y="799997"/>
                    <a:pt x="73819" y="800950"/>
                  </a:cubicBezTo>
                  <a:cubicBezTo>
                    <a:pt x="62389" y="808570"/>
                    <a:pt x="58579" y="823810"/>
                    <a:pt x="65246" y="836192"/>
                  </a:cubicBezTo>
                  <a:lnTo>
                    <a:pt x="90011" y="876197"/>
                  </a:lnTo>
                  <a:lnTo>
                    <a:pt x="30004" y="877150"/>
                  </a:lnTo>
                  <a:cubicBezTo>
                    <a:pt x="18574" y="876197"/>
                    <a:pt x="7144" y="888580"/>
                    <a:pt x="7144" y="902867"/>
                  </a:cubicBezTo>
                  <a:cubicBezTo>
                    <a:pt x="7144" y="916202"/>
                    <a:pt x="18574" y="927632"/>
                    <a:pt x="32861" y="927632"/>
                  </a:cubicBezTo>
                  <a:lnTo>
                    <a:pt x="82391" y="926680"/>
                  </a:lnTo>
                  <a:lnTo>
                    <a:pt x="83344" y="926680"/>
                  </a:lnTo>
                  <a:lnTo>
                    <a:pt x="67151" y="951445"/>
                  </a:lnTo>
                  <a:cubicBezTo>
                    <a:pt x="59531" y="962875"/>
                    <a:pt x="62389" y="979067"/>
                    <a:pt x="73819" y="986687"/>
                  </a:cubicBezTo>
                  <a:cubicBezTo>
                    <a:pt x="85249" y="994307"/>
                    <a:pt x="101441" y="991450"/>
                    <a:pt x="109061" y="980020"/>
                  </a:cubicBezTo>
                  <a:lnTo>
                    <a:pt x="144304" y="927632"/>
                  </a:lnTo>
                  <a:lnTo>
                    <a:pt x="207169" y="927632"/>
                  </a:lnTo>
                  <a:lnTo>
                    <a:pt x="207169" y="927632"/>
                  </a:lnTo>
                  <a:lnTo>
                    <a:pt x="159544" y="998117"/>
                  </a:lnTo>
                  <a:cubicBezTo>
                    <a:pt x="151924" y="1009547"/>
                    <a:pt x="154781" y="1025740"/>
                    <a:pt x="166211" y="1033360"/>
                  </a:cubicBezTo>
                  <a:cubicBezTo>
                    <a:pt x="177641" y="1040980"/>
                    <a:pt x="193834" y="1038122"/>
                    <a:pt x="201454" y="1026692"/>
                  </a:cubicBezTo>
                  <a:lnTo>
                    <a:pt x="268129" y="927632"/>
                  </a:lnTo>
                  <a:lnTo>
                    <a:pt x="342424" y="928585"/>
                  </a:lnTo>
                  <a:lnTo>
                    <a:pt x="260509" y="1051457"/>
                  </a:lnTo>
                  <a:cubicBezTo>
                    <a:pt x="252889" y="1062888"/>
                    <a:pt x="255746" y="1079080"/>
                    <a:pt x="267176" y="1086700"/>
                  </a:cubicBezTo>
                  <a:cubicBezTo>
                    <a:pt x="278606" y="1094320"/>
                    <a:pt x="294799" y="1091463"/>
                    <a:pt x="302419" y="1080032"/>
                  </a:cubicBezTo>
                  <a:lnTo>
                    <a:pt x="404336" y="928585"/>
                  </a:lnTo>
                  <a:lnTo>
                    <a:pt x="483394" y="928585"/>
                  </a:lnTo>
                  <a:lnTo>
                    <a:pt x="362426" y="1100035"/>
                  </a:lnTo>
                  <a:cubicBezTo>
                    <a:pt x="357664" y="1106702"/>
                    <a:pt x="356711" y="1115275"/>
                    <a:pt x="360521" y="1123847"/>
                  </a:cubicBezTo>
                  <a:cubicBezTo>
                    <a:pt x="363379" y="1131467"/>
                    <a:pt x="370046" y="1137182"/>
                    <a:pt x="378619" y="1139088"/>
                  </a:cubicBezTo>
                  <a:lnTo>
                    <a:pt x="584359" y="1177188"/>
                  </a:lnTo>
                  <a:lnTo>
                    <a:pt x="528161" y="1232433"/>
                  </a:lnTo>
                  <a:lnTo>
                    <a:pt x="349091" y="1193380"/>
                  </a:lnTo>
                  <a:cubicBezTo>
                    <a:pt x="344329" y="1192427"/>
                    <a:pt x="338614" y="1192427"/>
                    <a:pt x="334804" y="1194332"/>
                  </a:cubicBezTo>
                  <a:cubicBezTo>
                    <a:pt x="327184" y="1197190"/>
                    <a:pt x="321469" y="1203857"/>
                    <a:pt x="319564" y="1212430"/>
                  </a:cubicBezTo>
                  <a:cubicBezTo>
                    <a:pt x="316706" y="1225765"/>
                    <a:pt x="325279" y="1240052"/>
                    <a:pt x="338614" y="1242910"/>
                  </a:cubicBezTo>
                  <a:lnTo>
                    <a:pt x="483394" y="1274342"/>
                  </a:lnTo>
                  <a:lnTo>
                    <a:pt x="483394" y="1274342"/>
                  </a:lnTo>
                  <a:lnTo>
                    <a:pt x="429101" y="1326730"/>
                  </a:lnTo>
                  <a:lnTo>
                    <a:pt x="311944" y="1300060"/>
                  </a:lnTo>
                  <a:cubicBezTo>
                    <a:pt x="307181" y="1299108"/>
                    <a:pt x="301466" y="1299108"/>
                    <a:pt x="296704" y="1301013"/>
                  </a:cubicBezTo>
                  <a:cubicBezTo>
                    <a:pt x="289084" y="1303870"/>
                    <a:pt x="283369" y="1310538"/>
                    <a:pt x="281464" y="1319110"/>
                  </a:cubicBezTo>
                  <a:cubicBezTo>
                    <a:pt x="278606" y="1332445"/>
                    <a:pt x="287179" y="1345780"/>
                    <a:pt x="300514" y="1349590"/>
                  </a:cubicBezTo>
                  <a:lnTo>
                    <a:pt x="383381" y="1367688"/>
                  </a:lnTo>
                  <a:lnTo>
                    <a:pt x="337661" y="1411502"/>
                  </a:lnTo>
                  <a:lnTo>
                    <a:pt x="337661" y="1411502"/>
                  </a:lnTo>
                  <a:lnTo>
                    <a:pt x="275749" y="1398167"/>
                  </a:lnTo>
                  <a:cubicBezTo>
                    <a:pt x="270986" y="1397215"/>
                    <a:pt x="265271" y="1397215"/>
                    <a:pt x="261461" y="1399120"/>
                  </a:cubicBezTo>
                  <a:cubicBezTo>
                    <a:pt x="253841" y="1401977"/>
                    <a:pt x="248126" y="1408645"/>
                    <a:pt x="246221" y="1417217"/>
                  </a:cubicBezTo>
                  <a:cubicBezTo>
                    <a:pt x="243364" y="1430552"/>
                    <a:pt x="251936" y="1443888"/>
                    <a:pt x="265271" y="1447697"/>
                  </a:cubicBezTo>
                  <a:lnTo>
                    <a:pt x="293846" y="1454365"/>
                  </a:lnTo>
                  <a:lnTo>
                    <a:pt x="293846" y="1454365"/>
                  </a:lnTo>
                  <a:lnTo>
                    <a:pt x="257651" y="1488655"/>
                  </a:lnTo>
                  <a:cubicBezTo>
                    <a:pt x="247174" y="1498180"/>
                    <a:pt x="247174" y="1514372"/>
                    <a:pt x="256699" y="1524850"/>
                  </a:cubicBezTo>
                  <a:cubicBezTo>
                    <a:pt x="266224" y="1535327"/>
                    <a:pt x="282416" y="1535327"/>
                    <a:pt x="291941" y="1525802"/>
                  </a:cubicBezTo>
                  <a:lnTo>
                    <a:pt x="334804" y="1483892"/>
                  </a:lnTo>
                  <a:lnTo>
                    <a:pt x="334804" y="1483892"/>
                  </a:lnTo>
                  <a:lnTo>
                    <a:pt x="344329" y="1528660"/>
                  </a:lnTo>
                  <a:cubicBezTo>
                    <a:pt x="347186" y="1541995"/>
                    <a:pt x="360521" y="1550567"/>
                    <a:pt x="374809" y="1547710"/>
                  </a:cubicBezTo>
                  <a:cubicBezTo>
                    <a:pt x="388144" y="1544852"/>
                    <a:pt x="396716" y="1531517"/>
                    <a:pt x="393859" y="1517230"/>
                  </a:cubicBezTo>
                  <a:lnTo>
                    <a:pt x="377666" y="1441983"/>
                  </a:lnTo>
                  <a:lnTo>
                    <a:pt x="377666" y="1441983"/>
                  </a:lnTo>
                  <a:lnTo>
                    <a:pt x="423386" y="1398167"/>
                  </a:lnTo>
                  <a:lnTo>
                    <a:pt x="444341" y="1496275"/>
                  </a:lnTo>
                  <a:cubicBezTo>
                    <a:pt x="447199" y="1509610"/>
                    <a:pt x="460534" y="1518183"/>
                    <a:pt x="474821" y="1515325"/>
                  </a:cubicBezTo>
                  <a:cubicBezTo>
                    <a:pt x="488156" y="1512467"/>
                    <a:pt x="496729" y="1499133"/>
                    <a:pt x="493871" y="1484845"/>
                  </a:cubicBezTo>
                  <a:lnTo>
                    <a:pt x="466249" y="1356258"/>
                  </a:lnTo>
                  <a:lnTo>
                    <a:pt x="467201" y="1356258"/>
                  </a:lnTo>
                  <a:lnTo>
                    <a:pt x="511969" y="1313395"/>
                  </a:lnTo>
                  <a:lnTo>
                    <a:pt x="541496" y="1447697"/>
                  </a:lnTo>
                  <a:cubicBezTo>
                    <a:pt x="544354" y="1461033"/>
                    <a:pt x="557689" y="1469605"/>
                    <a:pt x="571976" y="1466747"/>
                  </a:cubicBezTo>
                  <a:cubicBezTo>
                    <a:pt x="585311" y="1463890"/>
                    <a:pt x="593884" y="1450555"/>
                    <a:pt x="591026" y="1436267"/>
                  </a:cubicBezTo>
                  <a:lnTo>
                    <a:pt x="554831" y="1270533"/>
                  </a:lnTo>
                  <a:lnTo>
                    <a:pt x="608171" y="1218145"/>
                  </a:lnTo>
                  <a:lnTo>
                    <a:pt x="651986" y="1429600"/>
                  </a:lnTo>
                  <a:cubicBezTo>
                    <a:pt x="653891" y="1437220"/>
                    <a:pt x="659606" y="1443888"/>
                    <a:pt x="667226" y="1447697"/>
                  </a:cubicBezTo>
                  <a:cubicBezTo>
                    <a:pt x="674846" y="1450555"/>
                    <a:pt x="683419" y="1450555"/>
                    <a:pt x="691039" y="1445792"/>
                  </a:cubicBezTo>
                  <a:lnTo>
                    <a:pt x="874871" y="1330540"/>
                  </a:lnTo>
                  <a:lnTo>
                    <a:pt x="874871" y="1405788"/>
                  </a:lnTo>
                  <a:lnTo>
                    <a:pt x="874871" y="1405788"/>
                  </a:lnTo>
                  <a:lnTo>
                    <a:pt x="731044" y="1497227"/>
                  </a:lnTo>
                  <a:cubicBezTo>
                    <a:pt x="719614" y="1504847"/>
                    <a:pt x="715804" y="1520088"/>
                    <a:pt x="722471" y="1532470"/>
                  </a:cubicBezTo>
                  <a:cubicBezTo>
                    <a:pt x="730091" y="1543900"/>
                    <a:pt x="745331" y="1547710"/>
                    <a:pt x="757714" y="1541042"/>
                  </a:cubicBezTo>
                  <a:lnTo>
                    <a:pt x="875824" y="1468652"/>
                  </a:lnTo>
                  <a:lnTo>
                    <a:pt x="875824" y="1468652"/>
                  </a:lnTo>
                  <a:lnTo>
                    <a:pt x="875824" y="1530565"/>
                  </a:lnTo>
                  <a:lnTo>
                    <a:pt x="875824" y="1530565"/>
                  </a:lnTo>
                  <a:lnTo>
                    <a:pt x="763429" y="1600097"/>
                  </a:lnTo>
                  <a:cubicBezTo>
                    <a:pt x="751999" y="1607717"/>
                    <a:pt x="748189" y="1622958"/>
                    <a:pt x="754856" y="1635340"/>
                  </a:cubicBezTo>
                  <a:cubicBezTo>
                    <a:pt x="762476" y="1647722"/>
                    <a:pt x="777716" y="1650580"/>
                    <a:pt x="790099" y="1643913"/>
                  </a:cubicBezTo>
                  <a:lnTo>
                    <a:pt x="875824" y="1590572"/>
                  </a:lnTo>
                  <a:lnTo>
                    <a:pt x="875824" y="1591525"/>
                  </a:lnTo>
                  <a:lnTo>
                    <a:pt x="875824" y="1654390"/>
                  </a:lnTo>
                  <a:lnTo>
                    <a:pt x="809149" y="1695347"/>
                  </a:lnTo>
                  <a:cubicBezTo>
                    <a:pt x="796766" y="1702967"/>
                    <a:pt x="793909" y="1718208"/>
                    <a:pt x="800576" y="1730590"/>
                  </a:cubicBezTo>
                  <a:cubicBezTo>
                    <a:pt x="808196" y="1742020"/>
                    <a:pt x="823436" y="1745830"/>
                    <a:pt x="835819" y="1739163"/>
                  </a:cubicBezTo>
                  <a:lnTo>
                    <a:pt x="875824" y="1714397"/>
                  </a:lnTo>
                  <a:lnTo>
                    <a:pt x="875824" y="1715350"/>
                  </a:lnTo>
                  <a:lnTo>
                    <a:pt x="875824" y="1774405"/>
                  </a:lnTo>
                  <a:cubicBezTo>
                    <a:pt x="875824" y="1788692"/>
                    <a:pt x="887254" y="1800122"/>
                    <a:pt x="901541" y="1800122"/>
                  </a:cubicBezTo>
                  <a:cubicBezTo>
                    <a:pt x="914876" y="1800122"/>
                    <a:pt x="926306" y="1788692"/>
                    <a:pt x="926306" y="1774405"/>
                  </a:cubicBezTo>
                  <a:lnTo>
                    <a:pt x="927259" y="1723922"/>
                  </a:lnTo>
                  <a:lnTo>
                    <a:pt x="927259" y="1723922"/>
                  </a:lnTo>
                  <a:lnTo>
                    <a:pt x="951071" y="1740115"/>
                  </a:lnTo>
                  <a:cubicBezTo>
                    <a:pt x="962501" y="1747735"/>
                    <a:pt x="978694" y="1744877"/>
                    <a:pt x="986314" y="1733447"/>
                  </a:cubicBezTo>
                  <a:cubicBezTo>
                    <a:pt x="993934" y="1722017"/>
                    <a:pt x="991076" y="1705825"/>
                    <a:pt x="979646" y="1698205"/>
                  </a:cubicBezTo>
                  <a:lnTo>
                    <a:pt x="926306" y="1662010"/>
                  </a:lnTo>
                  <a:lnTo>
                    <a:pt x="926306" y="1662010"/>
                  </a:lnTo>
                  <a:lnTo>
                    <a:pt x="926306" y="1600097"/>
                  </a:lnTo>
                  <a:lnTo>
                    <a:pt x="926306" y="1599145"/>
                  </a:lnTo>
                  <a:lnTo>
                    <a:pt x="926306" y="1599145"/>
                  </a:lnTo>
                  <a:lnTo>
                    <a:pt x="997744" y="1646770"/>
                  </a:lnTo>
                  <a:cubicBezTo>
                    <a:pt x="1009174" y="1654390"/>
                    <a:pt x="1025366" y="1651533"/>
                    <a:pt x="1032986" y="1640102"/>
                  </a:cubicBezTo>
                  <a:cubicBezTo>
                    <a:pt x="1040606" y="1628672"/>
                    <a:pt x="1037749" y="1612480"/>
                    <a:pt x="1026319" y="1604860"/>
                  </a:cubicBezTo>
                  <a:lnTo>
                    <a:pt x="927259" y="1538185"/>
                  </a:lnTo>
                  <a:lnTo>
                    <a:pt x="927259" y="1538185"/>
                  </a:lnTo>
                  <a:lnTo>
                    <a:pt x="928211" y="1463890"/>
                  </a:lnTo>
                  <a:lnTo>
                    <a:pt x="928211" y="1463890"/>
                  </a:lnTo>
                  <a:lnTo>
                    <a:pt x="1051084" y="1546758"/>
                  </a:lnTo>
                  <a:cubicBezTo>
                    <a:pt x="1062514" y="1554377"/>
                    <a:pt x="1078706" y="1551520"/>
                    <a:pt x="1086326" y="1540090"/>
                  </a:cubicBezTo>
                  <a:cubicBezTo>
                    <a:pt x="1093946" y="1528660"/>
                    <a:pt x="1091089" y="1512467"/>
                    <a:pt x="1079659" y="1504847"/>
                  </a:cubicBezTo>
                  <a:lnTo>
                    <a:pt x="927259" y="1402930"/>
                  </a:lnTo>
                  <a:lnTo>
                    <a:pt x="927259" y="1402930"/>
                  </a:lnTo>
                  <a:lnTo>
                    <a:pt x="927259" y="1323872"/>
                  </a:lnTo>
                  <a:lnTo>
                    <a:pt x="1097756" y="1443888"/>
                  </a:lnTo>
                  <a:cubicBezTo>
                    <a:pt x="1111091" y="1453413"/>
                    <a:pt x="1133951" y="1444840"/>
                    <a:pt x="1136809" y="1427695"/>
                  </a:cubicBezTo>
                  <a:lnTo>
                    <a:pt x="1176814" y="1222907"/>
                  </a:lnTo>
                  <a:lnTo>
                    <a:pt x="1231106" y="1279105"/>
                  </a:lnTo>
                  <a:lnTo>
                    <a:pt x="1231106" y="1279105"/>
                  </a:lnTo>
                  <a:lnTo>
                    <a:pt x="1192054" y="1458175"/>
                  </a:lnTo>
                  <a:cubicBezTo>
                    <a:pt x="1189196" y="1471510"/>
                    <a:pt x="1197769" y="1484845"/>
                    <a:pt x="1211104" y="1487702"/>
                  </a:cubicBezTo>
                  <a:cubicBezTo>
                    <a:pt x="1224439" y="1490560"/>
                    <a:pt x="1237774" y="1481988"/>
                    <a:pt x="1241584" y="1468652"/>
                  </a:cubicBezTo>
                  <a:lnTo>
                    <a:pt x="1273016" y="1323872"/>
                  </a:lnTo>
                  <a:lnTo>
                    <a:pt x="1273016" y="1323872"/>
                  </a:lnTo>
                  <a:lnTo>
                    <a:pt x="1325404" y="1377213"/>
                  </a:lnTo>
                  <a:lnTo>
                    <a:pt x="1325404" y="1377213"/>
                  </a:lnTo>
                  <a:lnTo>
                    <a:pt x="1300639" y="1494370"/>
                  </a:lnTo>
                  <a:cubicBezTo>
                    <a:pt x="1297781" y="1507705"/>
                    <a:pt x="1306354" y="1521040"/>
                    <a:pt x="1319689" y="1524850"/>
                  </a:cubicBezTo>
                  <a:cubicBezTo>
                    <a:pt x="1333024" y="1527708"/>
                    <a:pt x="1346359" y="1519135"/>
                    <a:pt x="1350169" y="1505800"/>
                  </a:cubicBezTo>
                  <a:lnTo>
                    <a:pt x="1368266" y="1421980"/>
                  </a:lnTo>
                  <a:lnTo>
                    <a:pt x="1368266" y="1421980"/>
                  </a:lnTo>
                  <a:lnTo>
                    <a:pt x="1368266" y="1422933"/>
                  </a:lnTo>
                  <a:lnTo>
                    <a:pt x="1411129" y="1467700"/>
                  </a:lnTo>
                  <a:lnTo>
                    <a:pt x="1411129" y="1467700"/>
                  </a:lnTo>
                  <a:lnTo>
                    <a:pt x="1397794" y="1530565"/>
                  </a:lnTo>
                  <a:cubicBezTo>
                    <a:pt x="1394936" y="1543900"/>
                    <a:pt x="1403509" y="1558188"/>
                    <a:pt x="1416844" y="1561045"/>
                  </a:cubicBezTo>
                  <a:cubicBezTo>
                    <a:pt x="1430179" y="1563902"/>
                    <a:pt x="1443514" y="1555330"/>
                    <a:pt x="1447324" y="1541995"/>
                  </a:cubicBezTo>
                  <a:lnTo>
                    <a:pt x="1453039" y="1513420"/>
                  </a:lnTo>
                  <a:lnTo>
                    <a:pt x="1453039" y="1513420"/>
                  </a:lnTo>
                  <a:lnTo>
                    <a:pt x="1488281" y="1549615"/>
                  </a:lnTo>
                  <a:cubicBezTo>
                    <a:pt x="1497806" y="1560092"/>
                    <a:pt x="1513999" y="1560092"/>
                    <a:pt x="1523524" y="1550567"/>
                  </a:cubicBezTo>
                  <a:cubicBezTo>
                    <a:pt x="1534001" y="1541042"/>
                    <a:pt x="1534001" y="1524850"/>
                    <a:pt x="1524476" y="1514372"/>
                  </a:cubicBezTo>
                  <a:lnTo>
                    <a:pt x="1483519" y="1472463"/>
                  </a:lnTo>
                  <a:lnTo>
                    <a:pt x="1482566" y="1471510"/>
                  </a:lnTo>
                  <a:lnTo>
                    <a:pt x="1528286" y="1461985"/>
                  </a:lnTo>
                  <a:cubicBezTo>
                    <a:pt x="1541621" y="1459127"/>
                    <a:pt x="1550194" y="1445792"/>
                    <a:pt x="1547336" y="1431505"/>
                  </a:cubicBezTo>
                  <a:cubicBezTo>
                    <a:pt x="1544479" y="1418170"/>
                    <a:pt x="1531144" y="1409597"/>
                    <a:pt x="1516856" y="1412455"/>
                  </a:cubicBezTo>
                  <a:lnTo>
                    <a:pt x="1440656" y="1428647"/>
                  </a:lnTo>
                  <a:lnTo>
                    <a:pt x="1397794" y="1379117"/>
                  </a:lnTo>
                  <a:lnTo>
                    <a:pt x="1397794" y="1379117"/>
                  </a:lnTo>
                  <a:lnTo>
                    <a:pt x="1495901" y="1358163"/>
                  </a:lnTo>
                  <a:cubicBezTo>
                    <a:pt x="1509236" y="1355305"/>
                    <a:pt x="1517809" y="1341970"/>
                    <a:pt x="1514951" y="1327683"/>
                  </a:cubicBezTo>
                  <a:cubicBezTo>
                    <a:pt x="1512094" y="1314347"/>
                    <a:pt x="1498759" y="1305775"/>
                    <a:pt x="1484471" y="1308633"/>
                  </a:cubicBezTo>
                  <a:lnTo>
                    <a:pt x="1355884" y="1336255"/>
                  </a:lnTo>
                  <a:lnTo>
                    <a:pt x="1355884" y="1336255"/>
                  </a:lnTo>
                  <a:lnTo>
                    <a:pt x="1313021" y="1291488"/>
                  </a:lnTo>
                  <a:lnTo>
                    <a:pt x="1313021" y="1291488"/>
                  </a:lnTo>
                  <a:lnTo>
                    <a:pt x="1448276" y="1261960"/>
                  </a:lnTo>
                  <a:cubicBezTo>
                    <a:pt x="1461611" y="1259102"/>
                    <a:pt x="1470184" y="1245767"/>
                    <a:pt x="1467326" y="1231480"/>
                  </a:cubicBezTo>
                  <a:cubicBezTo>
                    <a:pt x="1464469" y="1218145"/>
                    <a:pt x="1451134" y="1209572"/>
                    <a:pt x="1436846" y="1212430"/>
                  </a:cubicBezTo>
                  <a:lnTo>
                    <a:pt x="1271111" y="1248625"/>
                  </a:lnTo>
                  <a:lnTo>
                    <a:pt x="1271111" y="1248625"/>
                  </a:lnTo>
                  <a:lnTo>
                    <a:pt x="1218724" y="1194332"/>
                  </a:lnTo>
                  <a:lnTo>
                    <a:pt x="1431131" y="1150517"/>
                  </a:lnTo>
                  <a:cubicBezTo>
                    <a:pt x="1439704" y="1149565"/>
                    <a:pt x="1445419" y="1143850"/>
                    <a:pt x="1449229" y="1135277"/>
                  </a:cubicBezTo>
                  <a:cubicBezTo>
                    <a:pt x="1451134" y="1127657"/>
                    <a:pt x="1451134" y="1119085"/>
                    <a:pt x="1447324" y="1112417"/>
                  </a:cubicBezTo>
                  <a:lnTo>
                    <a:pt x="1332071" y="929537"/>
                  </a:lnTo>
                  <a:lnTo>
                    <a:pt x="1407319" y="929537"/>
                  </a:lnTo>
                  <a:lnTo>
                    <a:pt x="1495901" y="1073365"/>
                  </a:lnTo>
                  <a:cubicBezTo>
                    <a:pt x="1503521" y="1084795"/>
                    <a:pt x="1519714" y="1088605"/>
                    <a:pt x="1531144" y="1081938"/>
                  </a:cubicBezTo>
                  <a:cubicBezTo>
                    <a:pt x="1542574" y="1074317"/>
                    <a:pt x="1546384" y="1059077"/>
                    <a:pt x="1539716" y="1046695"/>
                  </a:cubicBezTo>
                  <a:lnTo>
                    <a:pt x="1467326" y="929537"/>
                  </a:lnTo>
                  <a:lnTo>
                    <a:pt x="1529239" y="929537"/>
                  </a:lnTo>
                  <a:lnTo>
                    <a:pt x="1530191" y="929537"/>
                  </a:lnTo>
                  <a:lnTo>
                    <a:pt x="1598771" y="1040980"/>
                  </a:lnTo>
                  <a:cubicBezTo>
                    <a:pt x="1606391" y="1052410"/>
                    <a:pt x="1622584" y="1056220"/>
                    <a:pt x="1634014" y="1049552"/>
                  </a:cubicBezTo>
                  <a:cubicBezTo>
                    <a:pt x="1645444" y="1041932"/>
                    <a:pt x="1649254" y="1026692"/>
                    <a:pt x="1642586" y="1014310"/>
                  </a:cubicBezTo>
                  <a:lnTo>
                    <a:pt x="1590199" y="928585"/>
                  </a:lnTo>
                  <a:lnTo>
                    <a:pt x="1653064" y="928585"/>
                  </a:lnTo>
                  <a:lnTo>
                    <a:pt x="1653064" y="928585"/>
                  </a:lnTo>
                  <a:lnTo>
                    <a:pt x="1694021" y="994307"/>
                  </a:lnTo>
                  <a:cubicBezTo>
                    <a:pt x="1701641" y="1005737"/>
                    <a:pt x="1717834" y="1009547"/>
                    <a:pt x="1729264" y="1002880"/>
                  </a:cubicBezTo>
                  <a:cubicBezTo>
                    <a:pt x="1740694" y="995260"/>
                    <a:pt x="1744504" y="980020"/>
                    <a:pt x="1737836" y="967637"/>
                  </a:cubicBezTo>
                  <a:lnTo>
                    <a:pt x="1714024" y="928585"/>
                  </a:lnTo>
                  <a:lnTo>
                    <a:pt x="1714024" y="928585"/>
                  </a:lnTo>
                  <a:lnTo>
                    <a:pt x="1774031" y="928585"/>
                  </a:lnTo>
                  <a:cubicBezTo>
                    <a:pt x="1787366" y="928585"/>
                    <a:pt x="1798796" y="917155"/>
                    <a:pt x="1798796" y="902867"/>
                  </a:cubicBezTo>
                  <a:cubicBezTo>
                    <a:pt x="1798796" y="888580"/>
                    <a:pt x="1787366" y="877150"/>
                    <a:pt x="1773079" y="877150"/>
                  </a:cubicBezTo>
                  <a:lnTo>
                    <a:pt x="1722596" y="878102"/>
                  </a:lnTo>
                  <a:lnTo>
                    <a:pt x="1722596" y="878102"/>
                  </a:lnTo>
                  <a:lnTo>
                    <a:pt x="1738789" y="853337"/>
                  </a:lnTo>
                  <a:cubicBezTo>
                    <a:pt x="1746409" y="841907"/>
                    <a:pt x="1743551" y="825715"/>
                    <a:pt x="1732121" y="818095"/>
                  </a:cubicBezTo>
                  <a:cubicBezTo>
                    <a:pt x="1724501" y="813332"/>
                    <a:pt x="1715929" y="812380"/>
                    <a:pt x="1708309" y="815237"/>
                  </a:cubicBezTo>
                  <a:cubicBezTo>
                    <a:pt x="1703546" y="817142"/>
                    <a:pt x="1699736" y="820000"/>
                    <a:pt x="1696879" y="824762"/>
                  </a:cubicBezTo>
                  <a:lnTo>
                    <a:pt x="1661636" y="877150"/>
                  </a:lnTo>
                  <a:lnTo>
                    <a:pt x="1661636" y="877150"/>
                  </a:lnTo>
                  <a:lnTo>
                    <a:pt x="1598771" y="877150"/>
                  </a:lnTo>
                  <a:lnTo>
                    <a:pt x="1646396" y="806665"/>
                  </a:lnTo>
                  <a:cubicBezTo>
                    <a:pt x="1654016" y="795235"/>
                    <a:pt x="1651159" y="779042"/>
                    <a:pt x="1639729" y="771422"/>
                  </a:cubicBezTo>
                  <a:cubicBezTo>
                    <a:pt x="1632109" y="766660"/>
                    <a:pt x="1623536" y="765707"/>
                    <a:pt x="1615916" y="768565"/>
                  </a:cubicBezTo>
                  <a:cubicBezTo>
                    <a:pt x="1611154" y="770470"/>
                    <a:pt x="1607344" y="773327"/>
                    <a:pt x="1604486" y="778090"/>
                  </a:cubicBezTo>
                  <a:lnTo>
                    <a:pt x="1537811" y="877150"/>
                  </a:lnTo>
                  <a:lnTo>
                    <a:pt x="1462564" y="877150"/>
                  </a:lnTo>
                  <a:lnTo>
                    <a:pt x="1462564" y="877150"/>
                  </a:lnTo>
                  <a:lnTo>
                    <a:pt x="1545431" y="754277"/>
                  </a:lnTo>
                  <a:cubicBezTo>
                    <a:pt x="1553051" y="742847"/>
                    <a:pt x="1550194" y="726655"/>
                    <a:pt x="1538764" y="719035"/>
                  </a:cubicBezTo>
                  <a:cubicBezTo>
                    <a:pt x="1531144" y="714272"/>
                    <a:pt x="1522571" y="713320"/>
                    <a:pt x="1514951" y="716177"/>
                  </a:cubicBezTo>
                  <a:cubicBezTo>
                    <a:pt x="1510189" y="718082"/>
                    <a:pt x="1506379" y="720940"/>
                    <a:pt x="1503521" y="725702"/>
                  </a:cubicBezTo>
                  <a:lnTo>
                    <a:pt x="1401604" y="878102"/>
                  </a:lnTo>
                  <a:lnTo>
                    <a:pt x="1322546" y="877150"/>
                  </a:lnTo>
                  <a:lnTo>
                    <a:pt x="1443514" y="706652"/>
                  </a:lnTo>
                  <a:cubicBezTo>
                    <a:pt x="1448276" y="699032"/>
                    <a:pt x="1449229" y="690460"/>
                    <a:pt x="1445419" y="682840"/>
                  </a:cubicBezTo>
                  <a:cubicBezTo>
                    <a:pt x="1441609" y="674267"/>
                    <a:pt x="1434941" y="668552"/>
                    <a:pt x="1427321" y="667600"/>
                  </a:cubicBezTo>
                  <a:lnTo>
                    <a:pt x="1221581" y="628547"/>
                  </a:lnTo>
                  <a:lnTo>
                    <a:pt x="1278731" y="573302"/>
                  </a:lnTo>
                  <a:lnTo>
                    <a:pt x="1456849" y="611402"/>
                  </a:lnTo>
                  <a:cubicBezTo>
                    <a:pt x="1470184" y="614260"/>
                    <a:pt x="1483519" y="605687"/>
                    <a:pt x="1487329" y="592352"/>
                  </a:cubicBezTo>
                  <a:cubicBezTo>
                    <a:pt x="1490186" y="579017"/>
                    <a:pt x="1481614" y="565682"/>
                    <a:pt x="1468279" y="561872"/>
                  </a:cubicBezTo>
                  <a:lnTo>
                    <a:pt x="1321594" y="532345"/>
                  </a:lnTo>
                  <a:lnTo>
                    <a:pt x="1374934" y="479957"/>
                  </a:lnTo>
                  <a:lnTo>
                    <a:pt x="1492091" y="504722"/>
                  </a:lnTo>
                  <a:cubicBezTo>
                    <a:pt x="1505426" y="507580"/>
                    <a:pt x="1518761" y="499007"/>
                    <a:pt x="1522571" y="485672"/>
                  </a:cubicBezTo>
                  <a:cubicBezTo>
                    <a:pt x="1525429" y="472337"/>
                    <a:pt x="1516856" y="459002"/>
                    <a:pt x="1503521" y="455192"/>
                  </a:cubicBezTo>
                  <a:lnTo>
                    <a:pt x="1420654" y="437095"/>
                  </a:lnTo>
                  <a:lnTo>
                    <a:pt x="1420654" y="437095"/>
                  </a:lnTo>
                  <a:lnTo>
                    <a:pt x="1466374" y="393280"/>
                  </a:lnTo>
                  <a:lnTo>
                    <a:pt x="1528286" y="406615"/>
                  </a:lnTo>
                  <a:cubicBezTo>
                    <a:pt x="1541621" y="409472"/>
                    <a:pt x="1554956" y="400900"/>
                    <a:pt x="1558766" y="387565"/>
                  </a:cubicBezTo>
                  <a:cubicBezTo>
                    <a:pt x="1561624" y="374230"/>
                    <a:pt x="1553051" y="360895"/>
                    <a:pt x="1539716" y="357085"/>
                  </a:cubicBezTo>
                  <a:lnTo>
                    <a:pt x="1510189" y="350417"/>
                  </a:lnTo>
                  <a:lnTo>
                    <a:pt x="1510189" y="350417"/>
                  </a:lnTo>
                  <a:lnTo>
                    <a:pt x="1546384" y="316127"/>
                  </a:lnTo>
                  <a:cubicBezTo>
                    <a:pt x="1555909" y="307555"/>
                    <a:pt x="1555909" y="290410"/>
                    <a:pt x="1546384" y="280885"/>
                  </a:cubicBezTo>
                  <a:close/>
                  <a:moveTo>
                    <a:pt x="1257776" y="879055"/>
                  </a:moveTo>
                  <a:lnTo>
                    <a:pt x="1110139" y="880007"/>
                  </a:lnTo>
                  <a:lnTo>
                    <a:pt x="1109186" y="828572"/>
                  </a:lnTo>
                  <a:cubicBezTo>
                    <a:pt x="1109186" y="821905"/>
                    <a:pt x="1106329" y="815237"/>
                    <a:pt x="1102519" y="811427"/>
                  </a:cubicBezTo>
                  <a:lnTo>
                    <a:pt x="1068229" y="774280"/>
                  </a:lnTo>
                  <a:lnTo>
                    <a:pt x="1175861" y="671410"/>
                  </a:lnTo>
                  <a:lnTo>
                    <a:pt x="1376839" y="710462"/>
                  </a:lnTo>
                  <a:lnTo>
                    <a:pt x="1258729" y="877150"/>
                  </a:lnTo>
                  <a:lnTo>
                    <a:pt x="1257776" y="879055"/>
                  </a:lnTo>
                  <a:close/>
                  <a:moveTo>
                    <a:pt x="1059656" y="879055"/>
                  </a:moveTo>
                  <a:lnTo>
                    <a:pt x="1060609" y="929537"/>
                  </a:lnTo>
                  <a:lnTo>
                    <a:pt x="1061561" y="969542"/>
                  </a:lnTo>
                  <a:lnTo>
                    <a:pt x="1032034" y="997165"/>
                  </a:lnTo>
                  <a:lnTo>
                    <a:pt x="994886" y="1031455"/>
                  </a:lnTo>
                  <a:lnTo>
                    <a:pt x="965359" y="1059077"/>
                  </a:lnTo>
                  <a:lnTo>
                    <a:pt x="925354" y="1060030"/>
                  </a:lnTo>
                  <a:lnTo>
                    <a:pt x="874871" y="1060982"/>
                  </a:lnTo>
                  <a:lnTo>
                    <a:pt x="834866" y="1061935"/>
                  </a:lnTo>
                  <a:lnTo>
                    <a:pt x="807244" y="1032407"/>
                  </a:lnTo>
                  <a:lnTo>
                    <a:pt x="772954" y="995260"/>
                  </a:lnTo>
                  <a:lnTo>
                    <a:pt x="745331" y="965732"/>
                  </a:lnTo>
                  <a:lnTo>
                    <a:pt x="744379" y="925727"/>
                  </a:lnTo>
                  <a:lnTo>
                    <a:pt x="743426" y="875245"/>
                  </a:lnTo>
                  <a:lnTo>
                    <a:pt x="742474" y="835240"/>
                  </a:lnTo>
                  <a:lnTo>
                    <a:pt x="772001" y="807617"/>
                  </a:lnTo>
                  <a:lnTo>
                    <a:pt x="809149" y="773327"/>
                  </a:lnTo>
                  <a:lnTo>
                    <a:pt x="838676" y="745705"/>
                  </a:lnTo>
                  <a:lnTo>
                    <a:pt x="878681" y="744752"/>
                  </a:lnTo>
                  <a:lnTo>
                    <a:pt x="929164" y="743800"/>
                  </a:lnTo>
                  <a:lnTo>
                    <a:pt x="969169" y="742847"/>
                  </a:lnTo>
                  <a:lnTo>
                    <a:pt x="996791" y="772375"/>
                  </a:lnTo>
                  <a:lnTo>
                    <a:pt x="1031081" y="809522"/>
                  </a:lnTo>
                  <a:lnTo>
                    <a:pt x="1057751" y="839050"/>
                  </a:lnTo>
                  <a:lnTo>
                    <a:pt x="1059656" y="879055"/>
                  </a:lnTo>
                  <a:close/>
                  <a:moveTo>
                    <a:pt x="1178719" y="1150517"/>
                  </a:moveTo>
                  <a:lnTo>
                    <a:pt x="1066324" y="1033360"/>
                  </a:lnTo>
                  <a:lnTo>
                    <a:pt x="1103471" y="999070"/>
                  </a:lnTo>
                  <a:cubicBezTo>
                    <a:pt x="1109186" y="994307"/>
                    <a:pt x="1112044" y="987640"/>
                    <a:pt x="1112044" y="980020"/>
                  </a:cubicBezTo>
                  <a:lnTo>
                    <a:pt x="1111091" y="929537"/>
                  </a:lnTo>
                  <a:lnTo>
                    <a:pt x="1272064" y="928585"/>
                  </a:lnTo>
                  <a:lnTo>
                    <a:pt x="1384459" y="1107655"/>
                  </a:lnTo>
                  <a:lnTo>
                    <a:pt x="1178719" y="1150517"/>
                  </a:lnTo>
                  <a:close/>
                  <a:moveTo>
                    <a:pt x="926306" y="1260055"/>
                  </a:moveTo>
                  <a:lnTo>
                    <a:pt x="925354" y="1111465"/>
                  </a:lnTo>
                  <a:lnTo>
                    <a:pt x="975836" y="1110513"/>
                  </a:lnTo>
                  <a:cubicBezTo>
                    <a:pt x="982504" y="1110513"/>
                    <a:pt x="988219" y="1107655"/>
                    <a:pt x="992981" y="1103845"/>
                  </a:cubicBezTo>
                  <a:lnTo>
                    <a:pt x="1030129" y="1069555"/>
                  </a:lnTo>
                  <a:lnTo>
                    <a:pt x="1132999" y="1177188"/>
                  </a:lnTo>
                  <a:lnTo>
                    <a:pt x="1093946" y="1378165"/>
                  </a:lnTo>
                  <a:lnTo>
                    <a:pt x="926306" y="1260055"/>
                  </a:lnTo>
                  <a:close/>
                  <a:moveTo>
                    <a:pt x="652939" y="1179092"/>
                  </a:moveTo>
                  <a:lnTo>
                    <a:pt x="769144" y="1067650"/>
                  </a:lnTo>
                  <a:lnTo>
                    <a:pt x="803434" y="1104797"/>
                  </a:lnTo>
                  <a:cubicBezTo>
                    <a:pt x="809149" y="1110513"/>
                    <a:pt x="815816" y="1113370"/>
                    <a:pt x="822484" y="1112417"/>
                  </a:cubicBezTo>
                  <a:lnTo>
                    <a:pt x="872966" y="1111465"/>
                  </a:lnTo>
                  <a:lnTo>
                    <a:pt x="872966" y="1274342"/>
                  </a:lnTo>
                  <a:lnTo>
                    <a:pt x="694849" y="1386738"/>
                  </a:lnTo>
                  <a:lnTo>
                    <a:pt x="652939" y="1179092"/>
                  </a:lnTo>
                  <a:close/>
                  <a:moveTo>
                    <a:pt x="545306" y="926680"/>
                  </a:moveTo>
                  <a:lnTo>
                    <a:pt x="693896" y="925727"/>
                  </a:lnTo>
                  <a:lnTo>
                    <a:pt x="694849" y="976210"/>
                  </a:lnTo>
                  <a:cubicBezTo>
                    <a:pt x="694849" y="981925"/>
                    <a:pt x="697706" y="988592"/>
                    <a:pt x="701516" y="993355"/>
                  </a:cubicBezTo>
                  <a:lnTo>
                    <a:pt x="735806" y="1030502"/>
                  </a:lnTo>
                  <a:lnTo>
                    <a:pt x="628174" y="1132420"/>
                  </a:lnTo>
                  <a:lnTo>
                    <a:pt x="627221" y="1131467"/>
                  </a:lnTo>
                  <a:lnTo>
                    <a:pt x="426244" y="1093367"/>
                  </a:lnTo>
                  <a:lnTo>
                    <a:pt x="545306" y="926680"/>
                  </a:lnTo>
                  <a:close/>
                  <a:moveTo>
                    <a:pt x="626269" y="654265"/>
                  </a:moveTo>
                  <a:lnTo>
                    <a:pt x="737711" y="770470"/>
                  </a:lnTo>
                  <a:lnTo>
                    <a:pt x="700564" y="804760"/>
                  </a:lnTo>
                  <a:cubicBezTo>
                    <a:pt x="694849" y="809522"/>
                    <a:pt x="691991" y="817142"/>
                    <a:pt x="691991" y="823810"/>
                  </a:cubicBezTo>
                  <a:lnTo>
                    <a:pt x="692944" y="875245"/>
                  </a:lnTo>
                  <a:lnTo>
                    <a:pt x="531971" y="876197"/>
                  </a:lnTo>
                  <a:lnTo>
                    <a:pt x="418624" y="697127"/>
                  </a:lnTo>
                  <a:lnTo>
                    <a:pt x="626269" y="654265"/>
                  </a:lnTo>
                  <a:close/>
                  <a:moveTo>
                    <a:pt x="877729" y="545680"/>
                  </a:moveTo>
                  <a:lnTo>
                    <a:pt x="877729" y="695222"/>
                  </a:lnTo>
                  <a:lnTo>
                    <a:pt x="827246" y="696175"/>
                  </a:lnTo>
                  <a:cubicBezTo>
                    <a:pt x="824389" y="696175"/>
                    <a:pt x="820579" y="696175"/>
                    <a:pt x="817721" y="698080"/>
                  </a:cubicBezTo>
                  <a:cubicBezTo>
                    <a:pt x="814864" y="699032"/>
                    <a:pt x="812959" y="700937"/>
                    <a:pt x="810101" y="703795"/>
                  </a:cubicBezTo>
                  <a:lnTo>
                    <a:pt x="773906" y="738085"/>
                  </a:lnTo>
                  <a:lnTo>
                    <a:pt x="671989" y="629500"/>
                  </a:lnTo>
                  <a:lnTo>
                    <a:pt x="711041" y="428522"/>
                  </a:lnTo>
                  <a:lnTo>
                    <a:pt x="877729" y="545680"/>
                  </a:lnTo>
                  <a:close/>
                  <a:moveTo>
                    <a:pt x="1151096" y="626642"/>
                  </a:moveTo>
                  <a:lnTo>
                    <a:pt x="1034891" y="738085"/>
                  </a:lnTo>
                  <a:lnTo>
                    <a:pt x="999649" y="699985"/>
                  </a:lnTo>
                  <a:cubicBezTo>
                    <a:pt x="994886" y="695222"/>
                    <a:pt x="987266" y="691412"/>
                    <a:pt x="980599" y="692365"/>
                  </a:cubicBezTo>
                  <a:lnTo>
                    <a:pt x="929164" y="693317"/>
                  </a:lnTo>
                  <a:lnTo>
                    <a:pt x="928211" y="532345"/>
                  </a:lnTo>
                  <a:lnTo>
                    <a:pt x="1107281" y="419950"/>
                  </a:lnTo>
                  <a:lnTo>
                    <a:pt x="1151096" y="626642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87755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2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+mn-ea"/>
                <a:cs typeface="+mn-cs"/>
              </a:endParaRPr>
            </a:p>
          </p:txBody>
        </p:sp>
        <p:grpSp>
          <p:nvGrpSpPr>
            <p:cNvPr id="26" name="Graphic 41">
              <a:extLst>
                <a:ext uri="{FF2B5EF4-FFF2-40B4-BE49-F238E27FC236}">
                  <a16:creationId xmlns:a16="http://schemas.microsoft.com/office/drawing/2014/main" id="{6411F798-2734-4A14-9E1F-0B3D10A215C6}"/>
                </a:ext>
              </a:extLst>
            </p:cNvPr>
            <p:cNvGrpSpPr/>
            <p:nvPr userDrawn="1"/>
          </p:nvGrpSpPr>
          <p:grpSpPr>
            <a:xfrm>
              <a:off x="8848032" y="369238"/>
              <a:ext cx="2973073" cy="794528"/>
              <a:chOff x="837065" y="3215210"/>
              <a:chExt cx="5524500" cy="1476375"/>
            </a:xfrm>
            <a:solidFill>
              <a:schemeClr val="bg1">
                <a:alpha val="90000"/>
              </a:schemeClr>
            </a:solidFill>
          </p:grpSpPr>
          <p:sp>
            <p:nvSpPr>
              <p:cNvPr id="27" name="Freeform: Shape 20">
                <a:extLst>
                  <a:ext uri="{FF2B5EF4-FFF2-40B4-BE49-F238E27FC236}">
                    <a16:creationId xmlns:a16="http://schemas.microsoft.com/office/drawing/2014/main" id="{A72F66A2-2325-494E-A89D-759B6A4B65E4}"/>
                  </a:ext>
                </a:extLst>
              </p:cNvPr>
              <p:cNvSpPr/>
              <p:nvPr/>
            </p:nvSpPr>
            <p:spPr>
              <a:xfrm>
                <a:off x="3514032" y="3259501"/>
                <a:ext cx="1504950" cy="1152525"/>
              </a:xfrm>
              <a:custGeom>
                <a:avLst/>
                <a:gdLst>
                  <a:gd name="connsiteX0" fmla="*/ 614873 w 1504950"/>
                  <a:gd name="connsiteY0" fmla="*/ 7144 h 1152525"/>
                  <a:gd name="connsiteX1" fmla="*/ 621540 w 1504950"/>
                  <a:gd name="connsiteY1" fmla="*/ 8096 h 1152525"/>
                  <a:gd name="connsiteX2" fmla="*/ 626303 w 1504950"/>
                  <a:gd name="connsiteY2" fmla="*/ 10954 h 1152525"/>
                  <a:gd name="connsiteX3" fmla="*/ 631065 w 1504950"/>
                  <a:gd name="connsiteY3" fmla="*/ 16669 h 1152525"/>
                  <a:gd name="connsiteX4" fmla="*/ 643448 w 1504950"/>
                  <a:gd name="connsiteY4" fmla="*/ 27146 h 1152525"/>
                  <a:gd name="connsiteX5" fmla="*/ 645353 w 1504950"/>
                  <a:gd name="connsiteY5" fmla="*/ 26194 h 1152525"/>
                  <a:gd name="connsiteX6" fmla="*/ 646305 w 1504950"/>
                  <a:gd name="connsiteY6" fmla="*/ 25241 h 1152525"/>
                  <a:gd name="connsiteX7" fmla="*/ 649163 w 1504950"/>
                  <a:gd name="connsiteY7" fmla="*/ 21431 h 1152525"/>
                  <a:gd name="connsiteX8" fmla="*/ 662498 w 1504950"/>
                  <a:gd name="connsiteY8" fmla="*/ 10954 h 1152525"/>
                  <a:gd name="connsiteX9" fmla="*/ 670118 w 1504950"/>
                  <a:gd name="connsiteY9" fmla="*/ 10954 h 1152525"/>
                  <a:gd name="connsiteX10" fmla="*/ 672023 w 1504950"/>
                  <a:gd name="connsiteY10" fmla="*/ 10954 h 1152525"/>
                  <a:gd name="connsiteX11" fmla="*/ 677738 w 1504950"/>
                  <a:gd name="connsiteY11" fmla="*/ 15716 h 1152525"/>
                  <a:gd name="connsiteX12" fmla="*/ 678690 w 1504950"/>
                  <a:gd name="connsiteY12" fmla="*/ 20479 h 1152525"/>
                  <a:gd name="connsiteX13" fmla="*/ 676785 w 1504950"/>
                  <a:gd name="connsiteY13" fmla="*/ 30004 h 1152525"/>
                  <a:gd name="connsiteX14" fmla="*/ 670118 w 1504950"/>
                  <a:gd name="connsiteY14" fmla="*/ 47149 h 1152525"/>
                  <a:gd name="connsiteX15" fmla="*/ 669165 w 1504950"/>
                  <a:gd name="connsiteY15" fmla="*/ 49054 h 1152525"/>
                  <a:gd name="connsiteX16" fmla="*/ 666308 w 1504950"/>
                  <a:gd name="connsiteY16" fmla="*/ 56674 h 1152525"/>
                  <a:gd name="connsiteX17" fmla="*/ 651068 w 1504950"/>
                  <a:gd name="connsiteY17" fmla="*/ 77629 h 1152525"/>
                  <a:gd name="connsiteX18" fmla="*/ 638685 w 1504950"/>
                  <a:gd name="connsiteY18" fmla="*/ 99536 h 1152525"/>
                  <a:gd name="connsiteX19" fmla="*/ 635828 w 1504950"/>
                  <a:gd name="connsiteY19" fmla="*/ 108109 h 1152525"/>
                  <a:gd name="connsiteX20" fmla="*/ 633923 w 1504950"/>
                  <a:gd name="connsiteY20" fmla="*/ 117634 h 1152525"/>
                  <a:gd name="connsiteX21" fmla="*/ 632970 w 1504950"/>
                  <a:gd name="connsiteY21" fmla="*/ 136684 h 1152525"/>
                  <a:gd name="connsiteX22" fmla="*/ 632970 w 1504950"/>
                  <a:gd name="connsiteY22" fmla="*/ 137636 h 1152525"/>
                  <a:gd name="connsiteX23" fmla="*/ 631065 w 1504950"/>
                  <a:gd name="connsiteY23" fmla="*/ 150019 h 1152525"/>
                  <a:gd name="connsiteX24" fmla="*/ 629160 w 1504950"/>
                  <a:gd name="connsiteY24" fmla="*/ 154781 h 1152525"/>
                  <a:gd name="connsiteX25" fmla="*/ 626303 w 1504950"/>
                  <a:gd name="connsiteY25" fmla="*/ 164306 h 1152525"/>
                  <a:gd name="connsiteX26" fmla="*/ 624398 w 1504950"/>
                  <a:gd name="connsiteY26" fmla="*/ 167164 h 1152525"/>
                  <a:gd name="connsiteX27" fmla="*/ 629160 w 1504950"/>
                  <a:gd name="connsiteY27" fmla="*/ 172879 h 1152525"/>
                  <a:gd name="connsiteX28" fmla="*/ 632970 w 1504950"/>
                  <a:gd name="connsiteY28" fmla="*/ 178594 h 1152525"/>
                  <a:gd name="connsiteX29" fmla="*/ 639638 w 1504950"/>
                  <a:gd name="connsiteY29" fmla="*/ 185261 h 1152525"/>
                  <a:gd name="connsiteX30" fmla="*/ 648210 w 1504950"/>
                  <a:gd name="connsiteY30" fmla="*/ 191929 h 1152525"/>
                  <a:gd name="connsiteX31" fmla="*/ 652020 w 1504950"/>
                  <a:gd name="connsiteY31" fmla="*/ 194786 h 1152525"/>
                  <a:gd name="connsiteX32" fmla="*/ 658688 w 1504950"/>
                  <a:gd name="connsiteY32" fmla="*/ 195739 h 1152525"/>
                  <a:gd name="connsiteX33" fmla="*/ 669165 w 1504950"/>
                  <a:gd name="connsiteY33" fmla="*/ 194786 h 1152525"/>
                  <a:gd name="connsiteX34" fmla="*/ 678690 w 1504950"/>
                  <a:gd name="connsiteY34" fmla="*/ 191929 h 1152525"/>
                  <a:gd name="connsiteX35" fmla="*/ 681548 w 1504950"/>
                  <a:gd name="connsiteY35" fmla="*/ 190976 h 1152525"/>
                  <a:gd name="connsiteX36" fmla="*/ 686310 w 1504950"/>
                  <a:gd name="connsiteY36" fmla="*/ 189071 h 1152525"/>
                  <a:gd name="connsiteX37" fmla="*/ 691073 w 1504950"/>
                  <a:gd name="connsiteY37" fmla="*/ 186214 h 1152525"/>
                  <a:gd name="connsiteX38" fmla="*/ 696788 w 1504950"/>
                  <a:gd name="connsiteY38" fmla="*/ 182404 h 1152525"/>
                  <a:gd name="connsiteX39" fmla="*/ 702503 w 1504950"/>
                  <a:gd name="connsiteY39" fmla="*/ 177641 h 1152525"/>
                  <a:gd name="connsiteX40" fmla="*/ 706313 w 1504950"/>
                  <a:gd name="connsiteY40" fmla="*/ 173831 h 1152525"/>
                  <a:gd name="connsiteX41" fmla="*/ 713933 w 1504950"/>
                  <a:gd name="connsiteY41" fmla="*/ 166211 h 1152525"/>
                  <a:gd name="connsiteX42" fmla="*/ 728220 w 1504950"/>
                  <a:gd name="connsiteY42" fmla="*/ 144304 h 1152525"/>
                  <a:gd name="connsiteX43" fmla="*/ 730125 w 1504950"/>
                  <a:gd name="connsiteY43" fmla="*/ 139541 h 1152525"/>
                  <a:gd name="connsiteX44" fmla="*/ 732030 w 1504950"/>
                  <a:gd name="connsiteY44" fmla="*/ 133826 h 1152525"/>
                  <a:gd name="connsiteX45" fmla="*/ 737745 w 1504950"/>
                  <a:gd name="connsiteY45" fmla="*/ 116681 h 1152525"/>
                  <a:gd name="connsiteX46" fmla="*/ 742508 w 1504950"/>
                  <a:gd name="connsiteY46" fmla="*/ 110014 h 1152525"/>
                  <a:gd name="connsiteX47" fmla="*/ 744413 w 1504950"/>
                  <a:gd name="connsiteY47" fmla="*/ 107156 h 1152525"/>
                  <a:gd name="connsiteX48" fmla="*/ 749175 w 1504950"/>
                  <a:gd name="connsiteY48" fmla="*/ 102394 h 1152525"/>
                  <a:gd name="connsiteX49" fmla="*/ 753938 w 1504950"/>
                  <a:gd name="connsiteY49" fmla="*/ 98584 h 1152525"/>
                  <a:gd name="connsiteX50" fmla="*/ 760605 w 1504950"/>
                  <a:gd name="connsiteY50" fmla="*/ 97631 h 1152525"/>
                  <a:gd name="connsiteX51" fmla="*/ 762510 w 1504950"/>
                  <a:gd name="connsiteY51" fmla="*/ 97631 h 1152525"/>
                  <a:gd name="connsiteX52" fmla="*/ 764415 w 1504950"/>
                  <a:gd name="connsiteY52" fmla="*/ 98584 h 1152525"/>
                  <a:gd name="connsiteX53" fmla="*/ 766320 w 1504950"/>
                  <a:gd name="connsiteY53" fmla="*/ 100489 h 1152525"/>
                  <a:gd name="connsiteX54" fmla="*/ 767273 w 1504950"/>
                  <a:gd name="connsiteY54" fmla="*/ 103346 h 1152525"/>
                  <a:gd name="connsiteX55" fmla="*/ 768225 w 1504950"/>
                  <a:gd name="connsiteY55" fmla="*/ 105251 h 1152525"/>
                  <a:gd name="connsiteX56" fmla="*/ 766320 w 1504950"/>
                  <a:gd name="connsiteY56" fmla="*/ 111919 h 1152525"/>
                  <a:gd name="connsiteX57" fmla="*/ 757748 w 1504950"/>
                  <a:gd name="connsiteY57" fmla="*/ 138589 h 1152525"/>
                  <a:gd name="connsiteX58" fmla="*/ 753938 w 1504950"/>
                  <a:gd name="connsiteY58" fmla="*/ 149066 h 1152525"/>
                  <a:gd name="connsiteX59" fmla="*/ 753938 w 1504950"/>
                  <a:gd name="connsiteY59" fmla="*/ 158591 h 1152525"/>
                  <a:gd name="connsiteX60" fmla="*/ 755843 w 1504950"/>
                  <a:gd name="connsiteY60" fmla="*/ 161449 h 1152525"/>
                  <a:gd name="connsiteX61" fmla="*/ 759653 w 1504950"/>
                  <a:gd name="connsiteY61" fmla="*/ 164306 h 1152525"/>
                  <a:gd name="connsiteX62" fmla="*/ 764415 w 1504950"/>
                  <a:gd name="connsiteY62" fmla="*/ 165259 h 1152525"/>
                  <a:gd name="connsiteX63" fmla="*/ 772035 w 1504950"/>
                  <a:gd name="connsiteY63" fmla="*/ 165259 h 1152525"/>
                  <a:gd name="connsiteX64" fmla="*/ 781560 w 1504950"/>
                  <a:gd name="connsiteY64" fmla="*/ 162401 h 1152525"/>
                  <a:gd name="connsiteX65" fmla="*/ 800610 w 1504950"/>
                  <a:gd name="connsiteY65" fmla="*/ 153829 h 1152525"/>
                  <a:gd name="connsiteX66" fmla="*/ 816803 w 1504950"/>
                  <a:gd name="connsiteY66" fmla="*/ 147161 h 1152525"/>
                  <a:gd name="connsiteX67" fmla="*/ 820613 w 1504950"/>
                  <a:gd name="connsiteY67" fmla="*/ 147161 h 1152525"/>
                  <a:gd name="connsiteX68" fmla="*/ 823470 w 1504950"/>
                  <a:gd name="connsiteY68" fmla="*/ 149066 h 1152525"/>
                  <a:gd name="connsiteX69" fmla="*/ 825375 w 1504950"/>
                  <a:gd name="connsiteY69" fmla="*/ 150971 h 1152525"/>
                  <a:gd name="connsiteX70" fmla="*/ 825375 w 1504950"/>
                  <a:gd name="connsiteY70" fmla="*/ 155734 h 1152525"/>
                  <a:gd name="connsiteX71" fmla="*/ 823470 w 1504950"/>
                  <a:gd name="connsiteY71" fmla="*/ 160496 h 1152525"/>
                  <a:gd name="connsiteX72" fmla="*/ 823470 w 1504950"/>
                  <a:gd name="connsiteY72" fmla="*/ 161449 h 1152525"/>
                  <a:gd name="connsiteX73" fmla="*/ 821565 w 1504950"/>
                  <a:gd name="connsiteY73" fmla="*/ 166211 h 1152525"/>
                  <a:gd name="connsiteX74" fmla="*/ 821565 w 1504950"/>
                  <a:gd name="connsiteY74" fmla="*/ 167164 h 1152525"/>
                  <a:gd name="connsiteX75" fmla="*/ 820613 w 1504950"/>
                  <a:gd name="connsiteY75" fmla="*/ 170021 h 1152525"/>
                  <a:gd name="connsiteX76" fmla="*/ 817755 w 1504950"/>
                  <a:gd name="connsiteY76" fmla="*/ 172879 h 1152525"/>
                  <a:gd name="connsiteX77" fmla="*/ 814898 w 1504950"/>
                  <a:gd name="connsiteY77" fmla="*/ 177641 h 1152525"/>
                  <a:gd name="connsiteX78" fmla="*/ 811088 w 1504950"/>
                  <a:gd name="connsiteY78" fmla="*/ 181451 h 1152525"/>
                  <a:gd name="connsiteX79" fmla="*/ 803468 w 1504950"/>
                  <a:gd name="connsiteY79" fmla="*/ 187166 h 1152525"/>
                  <a:gd name="connsiteX80" fmla="*/ 792038 w 1504950"/>
                  <a:gd name="connsiteY80" fmla="*/ 191929 h 1152525"/>
                  <a:gd name="connsiteX81" fmla="*/ 779655 w 1504950"/>
                  <a:gd name="connsiteY81" fmla="*/ 194786 h 1152525"/>
                  <a:gd name="connsiteX82" fmla="*/ 775845 w 1504950"/>
                  <a:gd name="connsiteY82" fmla="*/ 195739 h 1152525"/>
                  <a:gd name="connsiteX83" fmla="*/ 767273 w 1504950"/>
                  <a:gd name="connsiteY83" fmla="*/ 195739 h 1152525"/>
                  <a:gd name="connsiteX84" fmla="*/ 756795 w 1504950"/>
                  <a:gd name="connsiteY84" fmla="*/ 196691 h 1152525"/>
                  <a:gd name="connsiteX85" fmla="*/ 747270 w 1504950"/>
                  <a:gd name="connsiteY85" fmla="*/ 197644 h 1152525"/>
                  <a:gd name="connsiteX86" fmla="*/ 739650 w 1504950"/>
                  <a:gd name="connsiteY86" fmla="*/ 199549 h 1152525"/>
                  <a:gd name="connsiteX87" fmla="*/ 732030 w 1504950"/>
                  <a:gd name="connsiteY87" fmla="*/ 201454 h 1152525"/>
                  <a:gd name="connsiteX88" fmla="*/ 723458 w 1504950"/>
                  <a:gd name="connsiteY88" fmla="*/ 203359 h 1152525"/>
                  <a:gd name="connsiteX89" fmla="*/ 698693 w 1504950"/>
                  <a:gd name="connsiteY89" fmla="*/ 213836 h 1152525"/>
                  <a:gd name="connsiteX90" fmla="*/ 674880 w 1504950"/>
                  <a:gd name="connsiteY90" fmla="*/ 234791 h 1152525"/>
                  <a:gd name="connsiteX91" fmla="*/ 671070 w 1504950"/>
                  <a:gd name="connsiteY91" fmla="*/ 241459 h 1152525"/>
                  <a:gd name="connsiteX92" fmla="*/ 668213 w 1504950"/>
                  <a:gd name="connsiteY92" fmla="*/ 249079 h 1152525"/>
                  <a:gd name="connsiteX93" fmla="*/ 666308 w 1504950"/>
                  <a:gd name="connsiteY93" fmla="*/ 263366 h 1152525"/>
                  <a:gd name="connsiteX94" fmla="*/ 664403 w 1504950"/>
                  <a:gd name="connsiteY94" fmla="*/ 277654 h 1152525"/>
                  <a:gd name="connsiteX95" fmla="*/ 663450 w 1504950"/>
                  <a:gd name="connsiteY95" fmla="*/ 283369 h 1152525"/>
                  <a:gd name="connsiteX96" fmla="*/ 659640 w 1504950"/>
                  <a:gd name="connsiteY96" fmla="*/ 294799 h 1152525"/>
                  <a:gd name="connsiteX97" fmla="*/ 658688 w 1504950"/>
                  <a:gd name="connsiteY97" fmla="*/ 297656 h 1152525"/>
                  <a:gd name="connsiteX98" fmla="*/ 633923 w 1504950"/>
                  <a:gd name="connsiteY98" fmla="*/ 332899 h 1152525"/>
                  <a:gd name="connsiteX99" fmla="*/ 622493 w 1504950"/>
                  <a:gd name="connsiteY99" fmla="*/ 342424 h 1152525"/>
                  <a:gd name="connsiteX100" fmla="*/ 610110 w 1504950"/>
                  <a:gd name="connsiteY100" fmla="*/ 350996 h 1152525"/>
                  <a:gd name="connsiteX101" fmla="*/ 574868 w 1504950"/>
                  <a:gd name="connsiteY101" fmla="*/ 367189 h 1152525"/>
                  <a:gd name="connsiteX102" fmla="*/ 552008 w 1504950"/>
                  <a:gd name="connsiteY102" fmla="*/ 373856 h 1152525"/>
                  <a:gd name="connsiteX103" fmla="*/ 470093 w 1504950"/>
                  <a:gd name="connsiteY103" fmla="*/ 412909 h 1152525"/>
                  <a:gd name="connsiteX104" fmla="*/ 468188 w 1504950"/>
                  <a:gd name="connsiteY104" fmla="*/ 411004 h 1152525"/>
                  <a:gd name="connsiteX105" fmla="*/ 468188 w 1504950"/>
                  <a:gd name="connsiteY105" fmla="*/ 418624 h 1152525"/>
                  <a:gd name="connsiteX106" fmla="*/ 513908 w 1504950"/>
                  <a:gd name="connsiteY106" fmla="*/ 537686 h 1152525"/>
                  <a:gd name="connsiteX107" fmla="*/ 600585 w 1504950"/>
                  <a:gd name="connsiteY107" fmla="*/ 638651 h 1152525"/>
                  <a:gd name="connsiteX108" fmla="*/ 680595 w 1504950"/>
                  <a:gd name="connsiteY108" fmla="*/ 693896 h 1152525"/>
                  <a:gd name="connsiteX109" fmla="*/ 793943 w 1504950"/>
                  <a:gd name="connsiteY109" fmla="*/ 722471 h 1152525"/>
                  <a:gd name="connsiteX110" fmla="*/ 831090 w 1504950"/>
                  <a:gd name="connsiteY110" fmla="*/ 727234 h 1152525"/>
                  <a:gd name="connsiteX111" fmla="*/ 899670 w 1504950"/>
                  <a:gd name="connsiteY111" fmla="*/ 731044 h 1152525"/>
                  <a:gd name="connsiteX112" fmla="*/ 1002540 w 1504950"/>
                  <a:gd name="connsiteY112" fmla="*/ 736759 h 1152525"/>
                  <a:gd name="connsiteX113" fmla="*/ 1051118 w 1504950"/>
                  <a:gd name="connsiteY113" fmla="*/ 738664 h 1152525"/>
                  <a:gd name="connsiteX114" fmla="*/ 1096838 w 1504950"/>
                  <a:gd name="connsiteY114" fmla="*/ 681514 h 1152525"/>
                  <a:gd name="connsiteX115" fmla="*/ 1126365 w 1504950"/>
                  <a:gd name="connsiteY115" fmla="*/ 639604 h 1152525"/>
                  <a:gd name="connsiteX116" fmla="*/ 1199708 w 1504950"/>
                  <a:gd name="connsiteY116" fmla="*/ 612934 h 1152525"/>
                  <a:gd name="connsiteX117" fmla="*/ 1183515 w 1504950"/>
                  <a:gd name="connsiteY117" fmla="*/ 639604 h 1152525"/>
                  <a:gd name="connsiteX118" fmla="*/ 1148273 w 1504950"/>
                  <a:gd name="connsiteY118" fmla="*/ 692944 h 1152525"/>
                  <a:gd name="connsiteX119" fmla="*/ 1143510 w 1504950"/>
                  <a:gd name="connsiteY119" fmla="*/ 708184 h 1152525"/>
                  <a:gd name="connsiteX120" fmla="*/ 1135890 w 1504950"/>
                  <a:gd name="connsiteY120" fmla="*/ 781526 h 1152525"/>
                  <a:gd name="connsiteX121" fmla="*/ 1137795 w 1504950"/>
                  <a:gd name="connsiteY121" fmla="*/ 853916 h 1152525"/>
                  <a:gd name="connsiteX122" fmla="*/ 1153035 w 1504950"/>
                  <a:gd name="connsiteY122" fmla="*/ 935831 h 1152525"/>
                  <a:gd name="connsiteX123" fmla="*/ 1241618 w 1504950"/>
                  <a:gd name="connsiteY123" fmla="*/ 954881 h 1152525"/>
                  <a:gd name="connsiteX124" fmla="*/ 1278765 w 1504950"/>
                  <a:gd name="connsiteY124" fmla="*/ 977741 h 1152525"/>
                  <a:gd name="connsiteX125" fmla="*/ 1320675 w 1504950"/>
                  <a:gd name="connsiteY125" fmla="*/ 1014889 h 1152525"/>
                  <a:gd name="connsiteX126" fmla="*/ 1428308 w 1504950"/>
                  <a:gd name="connsiteY126" fmla="*/ 1057751 h 1152525"/>
                  <a:gd name="connsiteX127" fmla="*/ 1454978 w 1504950"/>
                  <a:gd name="connsiteY127" fmla="*/ 1061561 h 1152525"/>
                  <a:gd name="connsiteX128" fmla="*/ 1499745 w 1504950"/>
                  <a:gd name="connsiteY128" fmla="*/ 1095851 h 1152525"/>
                  <a:gd name="connsiteX129" fmla="*/ 1476885 w 1504950"/>
                  <a:gd name="connsiteY129" fmla="*/ 1103471 h 1152525"/>
                  <a:gd name="connsiteX130" fmla="*/ 1456883 w 1504950"/>
                  <a:gd name="connsiteY130" fmla="*/ 1107281 h 1152525"/>
                  <a:gd name="connsiteX131" fmla="*/ 1463550 w 1504950"/>
                  <a:gd name="connsiteY131" fmla="*/ 1123474 h 1152525"/>
                  <a:gd name="connsiteX132" fmla="*/ 1457835 w 1504950"/>
                  <a:gd name="connsiteY132" fmla="*/ 1144429 h 1152525"/>
                  <a:gd name="connsiteX133" fmla="*/ 1438785 w 1504950"/>
                  <a:gd name="connsiteY133" fmla="*/ 1148239 h 1152525"/>
                  <a:gd name="connsiteX134" fmla="*/ 1428308 w 1504950"/>
                  <a:gd name="connsiteY134" fmla="*/ 1149191 h 1152525"/>
                  <a:gd name="connsiteX135" fmla="*/ 1411163 w 1504950"/>
                  <a:gd name="connsiteY135" fmla="*/ 1142524 h 1152525"/>
                  <a:gd name="connsiteX136" fmla="*/ 1381635 w 1504950"/>
                  <a:gd name="connsiteY136" fmla="*/ 1128236 h 1152525"/>
                  <a:gd name="connsiteX137" fmla="*/ 1298768 w 1504950"/>
                  <a:gd name="connsiteY137" fmla="*/ 1075849 h 1152525"/>
                  <a:gd name="connsiteX138" fmla="*/ 1256858 w 1504950"/>
                  <a:gd name="connsiteY138" fmla="*/ 1047274 h 1152525"/>
                  <a:gd name="connsiteX139" fmla="*/ 1179705 w 1504950"/>
                  <a:gd name="connsiteY139" fmla="*/ 1032986 h 1152525"/>
                  <a:gd name="connsiteX140" fmla="*/ 1113030 w 1504950"/>
                  <a:gd name="connsiteY140" fmla="*/ 1038701 h 1152525"/>
                  <a:gd name="connsiteX141" fmla="*/ 972060 w 1504950"/>
                  <a:gd name="connsiteY141" fmla="*/ 992981 h 1152525"/>
                  <a:gd name="connsiteX142" fmla="*/ 840615 w 1504950"/>
                  <a:gd name="connsiteY142" fmla="*/ 952024 h 1152525"/>
                  <a:gd name="connsiteX143" fmla="*/ 789180 w 1504950"/>
                  <a:gd name="connsiteY143" fmla="*/ 961549 h 1152525"/>
                  <a:gd name="connsiteX144" fmla="*/ 772988 w 1504950"/>
                  <a:gd name="connsiteY144" fmla="*/ 966311 h 1152525"/>
                  <a:gd name="connsiteX145" fmla="*/ 696788 w 1504950"/>
                  <a:gd name="connsiteY145" fmla="*/ 960596 h 1152525"/>
                  <a:gd name="connsiteX146" fmla="*/ 572963 w 1504950"/>
                  <a:gd name="connsiteY146" fmla="*/ 925354 h 1152525"/>
                  <a:gd name="connsiteX147" fmla="*/ 539625 w 1504950"/>
                  <a:gd name="connsiteY147" fmla="*/ 916781 h 1152525"/>
                  <a:gd name="connsiteX148" fmla="*/ 519623 w 1504950"/>
                  <a:gd name="connsiteY148" fmla="*/ 910114 h 1152525"/>
                  <a:gd name="connsiteX149" fmla="*/ 475808 w 1504950"/>
                  <a:gd name="connsiteY149" fmla="*/ 911066 h 1152525"/>
                  <a:gd name="connsiteX150" fmla="*/ 364365 w 1504950"/>
                  <a:gd name="connsiteY150" fmla="*/ 894874 h 1152525"/>
                  <a:gd name="connsiteX151" fmla="*/ 221490 w 1504950"/>
                  <a:gd name="connsiteY151" fmla="*/ 929164 h 1152525"/>
                  <a:gd name="connsiteX152" fmla="*/ 176723 w 1504950"/>
                  <a:gd name="connsiteY152" fmla="*/ 961549 h 1152525"/>
                  <a:gd name="connsiteX153" fmla="*/ 153863 w 1504950"/>
                  <a:gd name="connsiteY153" fmla="*/ 984409 h 1152525"/>
                  <a:gd name="connsiteX154" fmla="*/ 102428 w 1504950"/>
                  <a:gd name="connsiteY154" fmla="*/ 1012984 h 1152525"/>
                  <a:gd name="connsiteX155" fmla="*/ 69090 w 1504950"/>
                  <a:gd name="connsiteY155" fmla="*/ 1019651 h 1152525"/>
                  <a:gd name="connsiteX156" fmla="*/ 85283 w 1504950"/>
                  <a:gd name="connsiteY156" fmla="*/ 995839 h 1152525"/>
                  <a:gd name="connsiteX157" fmla="*/ 111000 w 1504950"/>
                  <a:gd name="connsiteY157" fmla="*/ 967264 h 1152525"/>
                  <a:gd name="connsiteX158" fmla="*/ 132908 w 1504950"/>
                  <a:gd name="connsiteY158" fmla="*/ 945356 h 1152525"/>
                  <a:gd name="connsiteX159" fmla="*/ 172913 w 1504950"/>
                  <a:gd name="connsiteY159" fmla="*/ 912019 h 1152525"/>
                  <a:gd name="connsiteX160" fmla="*/ 198630 w 1504950"/>
                  <a:gd name="connsiteY160" fmla="*/ 892969 h 1152525"/>
                  <a:gd name="connsiteX161" fmla="*/ 144338 w 1504950"/>
                  <a:gd name="connsiteY161" fmla="*/ 908209 h 1152525"/>
                  <a:gd name="connsiteX162" fmla="*/ 30990 w 1504950"/>
                  <a:gd name="connsiteY162" fmla="*/ 932021 h 1152525"/>
                  <a:gd name="connsiteX163" fmla="*/ 7178 w 1504950"/>
                  <a:gd name="connsiteY163" fmla="*/ 924401 h 1152525"/>
                  <a:gd name="connsiteX164" fmla="*/ 123383 w 1504950"/>
                  <a:gd name="connsiteY164" fmla="*/ 878681 h 1152525"/>
                  <a:gd name="connsiteX165" fmla="*/ 245303 w 1504950"/>
                  <a:gd name="connsiteY165" fmla="*/ 839629 h 1152525"/>
                  <a:gd name="connsiteX166" fmla="*/ 362460 w 1504950"/>
                  <a:gd name="connsiteY166" fmla="*/ 826294 h 1152525"/>
                  <a:gd name="connsiteX167" fmla="*/ 405323 w 1504950"/>
                  <a:gd name="connsiteY167" fmla="*/ 820579 h 1152525"/>
                  <a:gd name="connsiteX168" fmla="*/ 401513 w 1504950"/>
                  <a:gd name="connsiteY168" fmla="*/ 768191 h 1152525"/>
                  <a:gd name="connsiteX169" fmla="*/ 381510 w 1504950"/>
                  <a:gd name="connsiteY169" fmla="*/ 731044 h 1152525"/>
                  <a:gd name="connsiteX170" fmla="*/ 361508 w 1504950"/>
                  <a:gd name="connsiteY170" fmla="*/ 704374 h 1152525"/>
                  <a:gd name="connsiteX171" fmla="*/ 350078 w 1504950"/>
                  <a:gd name="connsiteY171" fmla="*/ 612934 h 1152525"/>
                  <a:gd name="connsiteX172" fmla="*/ 354840 w 1504950"/>
                  <a:gd name="connsiteY172" fmla="*/ 546259 h 1152525"/>
                  <a:gd name="connsiteX173" fmla="*/ 335790 w 1504950"/>
                  <a:gd name="connsiteY173" fmla="*/ 522446 h 1152525"/>
                  <a:gd name="connsiteX174" fmla="*/ 249113 w 1504950"/>
                  <a:gd name="connsiteY174" fmla="*/ 499586 h 1152525"/>
                  <a:gd name="connsiteX175" fmla="*/ 232920 w 1504950"/>
                  <a:gd name="connsiteY175" fmla="*/ 476726 h 1152525"/>
                  <a:gd name="connsiteX176" fmla="*/ 274830 w 1504950"/>
                  <a:gd name="connsiteY176" fmla="*/ 442436 h 1152525"/>
                  <a:gd name="connsiteX177" fmla="*/ 356745 w 1504950"/>
                  <a:gd name="connsiteY177" fmla="*/ 417671 h 1152525"/>
                  <a:gd name="connsiteX178" fmla="*/ 345315 w 1504950"/>
                  <a:gd name="connsiteY178" fmla="*/ 413861 h 1152525"/>
                  <a:gd name="connsiteX179" fmla="*/ 295785 w 1504950"/>
                  <a:gd name="connsiteY179" fmla="*/ 405289 h 1152525"/>
                  <a:gd name="connsiteX180" fmla="*/ 267210 w 1504950"/>
                  <a:gd name="connsiteY180" fmla="*/ 400526 h 1152525"/>
                  <a:gd name="connsiteX181" fmla="*/ 244350 w 1504950"/>
                  <a:gd name="connsiteY181" fmla="*/ 393859 h 1152525"/>
                  <a:gd name="connsiteX182" fmla="*/ 230063 w 1504950"/>
                  <a:gd name="connsiteY182" fmla="*/ 386239 h 1152525"/>
                  <a:gd name="connsiteX183" fmla="*/ 227205 w 1504950"/>
                  <a:gd name="connsiteY183" fmla="*/ 375761 h 1152525"/>
                  <a:gd name="connsiteX184" fmla="*/ 235778 w 1504950"/>
                  <a:gd name="connsiteY184" fmla="*/ 369094 h 1152525"/>
                  <a:gd name="connsiteX185" fmla="*/ 251018 w 1504950"/>
                  <a:gd name="connsiteY185" fmla="*/ 370999 h 1152525"/>
                  <a:gd name="connsiteX186" fmla="*/ 246255 w 1504950"/>
                  <a:gd name="connsiteY186" fmla="*/ 361474 h 1152525"/>
                  <a:gd name="connsiteX187" fmla="*/ 242445 w 1504950"/>
                  <a:gd name="connsiteY187" fmla="*/ 350996 h 1152525"/>
                  <a:gd name="connsiteX188" fmla="*/ 240540 w 1504950"/>
                  <a:gd name="connsiteY188" fmla="*/ 340519 h 1152525"/>
                  <a:gd name="connsiteX189" fmla="*/ 236730 w 1504950"/>
                  <a:gd name="connsiteY189" fmla="*/ 298609 h 1152525"/>
                  <a:gd name="connsiteX190" fmla="*/ 229110 w 1504950"/>
                  <a:gd name="connsiteY190" fmla="*/ 288131 h 1152525"/>
                  <a:gd name="connsiteX191" fmla="*/ 225300 w 1504950"/>
                  <a:gd name="connsiteY191" fmla="*/ 278606 h 1152525"/>
                  <a:gd name="connsiteX192" fmla="*/ 231015 w 1504950"/>
                  <a:gd name="connsiteY192" fmla="*/ 270034 h 1152525"/>
                  <a:gd name="connsiteX193" fmla="*/ 241493 w 1504950"/>
                  <a:gd name="connsiteY193" fmla="*/ 271939 h 1152525"/>
                  <a:gd name="connsiteX194" fmla="*/ 253875 w 1504950"/>
                  <a:gd name="connsiteY194" fmla="*/ 280511 h 1152525"/>
                  <a:gd name="connsiteX195" fmla="*/ 268163 w 1504950"/>
                  <a:gd name="connsiteY195" fmla="*/ 288131 h 1152525"/>
                  <a:gd name="connsiteX196" fmla="*/ 279593 w 1504950"/>
                  <a:gd name="connsiteY196" fmla="*/ 290989 h 1152525"/>
                  <a:gd name="connsiteX197" fmla="*/ 274830 w 1504950"/>
                  <a:gd name="connsiteY197" fmla="*/ 284321 h 1152525"/>
                  <a:gd name="connsiteX198" fmla="*/ 271020 w 1504950"/>
                  <a:gd name="connsiteY198" fmla="*/ 273844 h 1152525"/>
                  <a:gd name="connsiteX199" fmla="*/ 266258 w 1504950"/>
                  <a:gd name="connsiteY199" fmla="*/ 259556 h 1152525"/>
                  <a:gd name="connsiteX200" fmla="*/ 264353 w 1504950"/>
                  <a:gd name="connsiteY200" fmla="*/ 252889 h 1152525"/>
                  <a:gd name="connsiteX201" fmla="*/ 269115 w 1504950"/>
                  <a:gd name="connsiteY201" fmla="*/ 244316 h 1152525"/>
                  <a:gd name="connsiteX202" fmla="*/ 277688 w 1504950"/>
                  <a:gd name="connsiteY202" fmla="*/ 245269 h 1152525"/>
                  <a:gd name="connsiteX203" fmla="*/ 286260 w 1504950"/>
                  <a:gd name="connsiteY203" fmla="*/ 253841 h 1152525"/>
                  <a:gd name="connsiteX204" fmla="*/ 295785 w 1504950"/>
                  <a:gd name="connsiteY204" fmla="*/ 269081 h 1152525"/>
                  <a:gd name="connsiteX205" fmla="*/ 307215 w 1504950"/>
                  <a:gd name="connsiteY205" fmla="*/ 284321 h 1152525"/>
                  <a:gd name="connsiteX206" fmla="*/ 328170 w 1504950"/>
                  <a:gd name="connsiteY206" fmla="*/ 305276 h 1152525"/>
                  <a:gd name="connsiteX207" fmla="*/ 349125 w 1504950"/>
                  <a:gd name="connsiteY207" fmla="*/ 318611 h 1152525"/>
                  <a:gd name="connsiteX208" fmla="*/ 351983 w 1504950"/>
                  <a:gd name="connsiteY208" fmla="*/ 319564 h 1152525"/>
                  <a:gd name="connsiteX209" fmla="*/ 362460 w 1504950"/>
                  <a:gd name="connsiteY209" fmla="*/ 316706 h 1152525"/>
                  <a:gd name="connsiteX210" fmla="*/ 364365 w 1504950"/>
                  <a:gd name="connsiteY210" fmla="*/ 313849 h 1152525"/>
                  <a:gd name="connsiteX211" fmla="*/ 364365 w 1504950"/>
                  <a:gd name="connsiteY211" fmla="*/ 309086 h 1152525"/>
                  <a:gd name="connsiteX212" fmla="*/ 365318 w 1504950"/>
                  <a:gd name="connsiteY212" fmla="*/ 292894 h 1152525"/>
                  <a:gd name="connsiteX213" fmla="*/ 372938 w 1504950"/>
                  <a:gd name="connsiteY213" fmla="*/ 276701 h 1152525"/>
                  <a:gd name="connsiteX214" fmla="*/ 385320 w 1504950"/>
                  <a:gd name="connsiteY214" fmla="*/ 276701 h 1152525"/>
                  <a:gd name="connsiteX215" fmla="*/ 388178 w 1504950"/>
                  <a:gd name="connsiteY215" fmla="*/ 285274 h 1152525"/>
                  <a:gd name="connsiteX216" fmla="*/ 387225 w 1504950"/>
                  <a:gd name="connsiteY216" fmla="*/ 334804 h 1152525"/>
                  <a:gd name="connsiteX217" fmla="*/ 446280 w 1504950"/>
                  <a:gd name="connsiteY217" fmla="*/ 355759 h 1152525"/>
                  <a:gd name="connsiteX218" fmla="*/ 455805 w 1504950"/>
                  <a:gd name="connsiteY218" fmla="*/ 350996 h 1152525"/>
                  <a:gd name="connsiteX219" fmla="*/ 470093 w 1504950"/>
                  <a:gd name="connsiteY219" fmla="*/ 339566 h 1152525"/>
                  <a:gd name="connsiteX220" fmla="*/ 501525 w 1504950"/>
                  <a:gd name="connsiteY220" fmla="*/ 309086 h 1152525"/>
                  <a:gd name="connsiteX221" fmla="*/ 516765 w 1504950"/>
                  <a:gd name="connsiteY221" fmla="*/ 283369 h 1152525"/>
                  <a:gd name="connsiteX222" fmla="*/ 517718 w 1504950"/>
                  <a:gd name="connsiteY222" fmla="*/ 281464 h 1152525"/>
                  <a:gd name="connsiteX223" fmla="*/ 522480 w 1504950"/>
                  <a:gd name="connsiteY223" fmla="*/ 262414 h 1152525"/>
                  <a:gd name="connsiteX224" fmla="*/ 518670 w 1504950"/>
                  <a:gd name="connsiteY224" fmla="*/ 243364 h 1152525"/>
                  <a:gd name="connsiteX225" fmla="*/ 511050 w 1504950"/>
                  <a:gd name="connsiteY225" fmla="*/ 229076 h 1152525"/>
                  <a:gd name="connsiteX226" fmla="*/ 496763 w 1504950"/>
                  <a:gd name="connsiteY226" fmla="*/ 210979 h 1152525"/>
                  <a:gd name="connsiteX227" fmla="*/ 476760 w 1504950"/>
                  <a:gd name="connsiteY227" fmla="*/ 198596 h 1152525"/>
                  <a:gd name="connsiteX228" fmla="*/ 457710 w 1504950"/>
                  <a:gd name="connsiteY228" fmla="*/ 190024 h 1152525"/>
                  <a:gd name="connsiteX229" fmla="*/ 448185 w 1504950"/>
                  <a:gd name="connsiteY229" fmla="*/ 186214 h 1152525"/>
                  <a:gd name="connsiteX230" fmla="*/ 433898 w 1504950"/>
                  <a:gd name="connsiteY230" fmla="*/ 181451 h 1152525"/>
                  <a:gd name="connsiteX231" fmla="*/ 411038 w 1504950"/>
                  <a:gd name="connsiteY231" fmla="*/ 174784 h 1152525"/>
                  <a:gd name="connsiteX232" fmla="*/ 400560 w 1504950"/>
                  <a:gd name="connsiteY232" fmla="*/ 171926 h 1152525"/>
                  <a:gd name="connsiteX233" fmla="*/ 387225 w 1504950"/>
                  <a:gd name="connsiteY233" fmla="*/ 163354 h 1152525"/>
                  <a:gd name="connsiteX234" fmla="*/ 385320 w 1504950"/>
                  <a:gd name="connsiteY234" fmla="*/ 153829 h 1152525"/>
                  <a:gd name="connsiteX235" fmla="*/ 395798 w 1504950"/>
                  <a:gd name="connsiteY235" fmla="*/ 145256 h 1152525"/>
                  <a:gd name="connsiteX236" fmla="*/ 411038 w 1504950"/>
                  <a:gd name="connsiteY236" fmla="*/ 144304 h 1152525"/>
                  <a:gd name="connsiteX237" fmla="*/ 428183 w 1504950"/>
                  <a:gd name="connsiteY237" fmla="*/ 148114 h 1152525"/>
                  <a:gd name="connsiteX238" fmla="*/ 467235 w 1504950"/>
                  <a:gd name="connsiteY238" fmla="*/ 131921 h 1152525"/>
                  <a:gd name="connsiteX239" fmla="*/ 464378 w 1504950"/>
                  <a:gd name="connsiteY239" fmla="*/ 123349 h 1152525"/>
                  <a:gd name="connsiteX240" fmla="*/ 459615 w 1504950"/>
                  <a:gd name="connsiteY240" fmla="*/ 93821 h 1152525"/>
                  <a:gd name="connsiteX241" fmla="*/ 465330 w 1504950"/>
                  <a:gd name="connsiteY241" fmla="*/ 85249 h 1152525"/>
                  <a:gd name="connsiteX242" fmla="*/ 473903 w 1504950"/>
                  <a:gd name="connsiteY242" fmla="*/ 85249 h 1152525"/>
                  <a:gd name="connsiteX243" fmla="*/ 480570 w 1504950"/>
                  <a:gd name="connsiteY243" fmla="*/ 90964 h 1152525"/>
                  <a:gd name="connsiteX244" fmla="*/ 484380 w 1504950"/>
                  <a:gd name="connsiteY244" fmla="*/ 101441 h 1152525"/>
                  <a:gd name="connsiteX245" fmla="*/ 490095 w 1504950"/>
                  <a:gd name="connsiteY245" fmla="*/ 114776 h 1152525"/>
                  <a:gd name="connsiteX246" fmla="*/ 496763 w 1504950"/>
                  <a:gd name="connsiteY246" fmla="*/ 126206 h 1152525"/>
                  <a:gd name="connsiteX247" fmla="*/ 501525 w 1504950"/>
                  <a:gd name="connsiteY247" fmla="*/ 132874 h 1152525"/>
                  <a:gd name="connsiteX248" fmla="*/ 505335 w 1504950"/>
                  <a:gd name="connsiteY248" fmla="*/ 132874 h 1152525"/>
                  <a:gd name="connsiteX249" fmla="*/ 512003 w 1504950"/>
                  <a:gd name="connsiteY249" fmla="*/ 133826 h 1152525"/>
                  <a:gd name="connsiteX250" fmla="*/ 530100 w 1504950"/>
                  <a:gd name="connsiteY250" fmla="*/ 138589 h 1152525"/>
                  <a:gd name="connsiteX251" fmla="*/ 548198 w 1504950"/>
                  <a:gd name="connsiteY251" fmla="*/ 144304 h 1152525"/>
                  <a:gd name="connsiteX252" fmla="*/ 570105 w 1504950"/>
                  <a:gd name="connsiteY252" fmla="*/ 150019 h 1152525"/>
                  <a:gd name="connsiteX253" fmla="*/ 591060 w 1504950"/>
                  <a:gd name="connsiteY253" fmla="*/ 151924 h 1152525"/>
                  <a:gd name="connsiteX254" fmla="*/ 594870 w 1504950"/>
                  <a:gd name="connsiteY254" fmla="*/ 148114 h 1152525"/>
                  <a:gd name="connsiteX255" fmla="*/ 598680 w 1504950"/>
                  <a:gd name="connsiteY255" fmla="*/ 141446 h 1152525"/>
                  <a:gd name="connsiteX256" fmla="*/ 599633 w 1504950"/>
                  <a:gd name="connsiteY256" fmla="*/ 140494 h 1152525"/>
                  <a:gd name="connsiteX257" fmla="*/ 601538 w 1504950"/>
                  <a:gd name="connsiteY257" fmla="*/ 132874 h 1152525"/>
                  <a:gd name="connsiteX258" fmla="*/ 602490 w 1504950"/>
                  <a:gd name="connsiteY258" fmla="*/ 124301 h 1152525"/>
                  <a:gd name="connsiteX259" fmla="*/ 601538 w 1504950"/>
                  <a:gd name="connsiteY259" fmla="*/ 117634 h 1152525"/>
                  <a:gd name="connsiteX260" fmla="*/ 599633 w 1504950"/>
                  <a:gd name="connsiteY260" fmla="*/ 114776 h 1152525"/>
                  <a:gd name="connsiteX261" fmla="*/ 595823 w 1504950"/>
                  <a:gd name="connsiteY261" fmla="*/ 110966 h 1152525"/>
                  <a:gd name="connsiteX262" fmla="*/ 591060 w 1504950"/>
                  <a:gd name="connsiteY262" fmla="*/ 105251 h 1152525"/>
                  <a:gd name="connsiteX263" fmla="*/ 585345 w 1504950"/>
                  <a:gd name="connsiteY263" fmla="*/ 100489 h 1152525"/>
                  <a:gd name="connsiteX264" fmla="*/ 575820 w 1504950"/>
                  <a:gd name="connsiteY264" fmla="*/ 92869 h 1152525"/>
                  <a:gd name="connsiteX265" fmla="*/ 568200 w 1504950"/>
                  <a:gd name="connsiteY265" fmla="*/ 87154 h 1152525"/>
                  <a:gd name="connsiteX266" fmla="*/ 558675 w 1504950"/>
                  <a:gd name="connsiteY266" fmla="*/ 76676 h 1152525"/>
                  <a:gd name="connsiteX267" fmla="*/ 554865 w 1504950"/>
                  <a:gd name="connsiteY267" fmla="*/ 70009 h 1152525"/>
                  <a:gd name="connsiteX268" fmla="*/ 555818 w 1504950"/>
                  <a:gd name="connsiteY268" fmla="*/ 61436 h 1152525"/>
                  <a:gd name="connsiteX269" fmla="*/ 571058 w 1504950"/>
                  <a:gd name="connsiteY269" fmla="*/ 57626 h 1152525"/>
                  <a:gd name="connsiteX270" fmla="*/ 602490 w 1504950"/>
                  <a:gd name="connsiteY270" fmla="*/ 80486 h 1152525"/>
                  <a:gd name="connsiteX271" fmla="*/ 605348 w 1504950"/>
                  <a:gd name="connsiteY271" fmla="*/ 82391 h 1152525"/>
                  <a:gd name="connsiteX272" fmla="*/ 607253 w 1504950"/>
                  <a:gd name="connsiteY272" fmla="*/ 82391 h 1152525"/>
                  <a:gd name="connsiteX273" fmla="*/ 619635 w 1504950"/>
                  <a:gd name="connsiteY273" fmla="*/ 75724 h 1152525"/>
                  <a:gd name="connsiteX274" fmla="*/ 623445 w 1504950"/>
                  <a:gd name="connsiteY274" fmla="*/ 68104 h 1152525"/>
                  <a:gd name="connsiteX275" fmla="*/ 623445 w 1504950"/>
                  <a:gd name="connsiteY275" fmla="*/ 67151 h 1152525"/>
                  <a:gd name="connsiteX276" fmla="*/ 624398 w 1504950"/>
                  <a:gd name="connsiteY276" fmla="*/ 58579 h 1152525"/>
                  <a:gd name="connsiteX277" fmla="*/ 621540 w 1504950"/>
                  <a:gd name="connsiteY277" fmla="*/ 51911 h 1152525"/>
                  <a:gd name="connsiteX278" fmla="*/ 614873 w 1504950"/>
                  <a:gd name="connsiteY278" fmla="*/ 43339 h 1152525"/>
                  <a:gd name="connsiteX279" fmla="*/ 604395 w 1504950"/>
                  <a:gd name="connsiteY279" fmla="*/ 27146 h 1152525"/>
                  <a:gd name="connsiteX280" fmla="*/ 604395 w 1504950"/>
                  <a:gd name="connsiteY280" fmla="*/ 20479 h 1152525"/>
                  <a:gd name="connsiteX281" fmla="*/ 609158 w 1504950"/>
                  <a:gd name="connsiteY281" fmla="*/ 15716 h 1152525"/>
                  <a:gd name="connsiteX282" fmla="*/ 614873 w 1504950"/>
                  <a:gd name="connsiteY282" fmla="*/ 7144 h 1152525"/>
                  <a:gd name="connsiteX283" fmla="*/ 614873 w 1504950"/>
                  <a:gd name="connsiteY283" fmla="*/ 7144 h 1152525"/>
                  <a:gd name="connsiteX284" fmla="*/ 614873 w 1504950"/>
                  <a:gd name="connsiteY284" fmla="*/ 7144 h 1152525"/>
                  <a:gd name="connsiteX285" fmla="*/ 496763 w 1504950"/>
                  <a:gd name="connsiteY285" fmla="*/ 160496 h 1152525"/>
                  <a:gd name="connsiteX286" fmla="*/ 492000 w 1504950"/>
                  <a:gd name="connsiteY286" fmla="*/ 162401 h 1152525"/>
                  <a:gd name="connsiteX287" fmla="*/ 492000 w 1504950"/>
                  <a:gd name="connsiteY287" fmla="*/ 166211 h 1152525"/>
                  <a:gd name="connsiteX288" fmla="*/ 506288 w 1504950"/>
                  <a:gd name="connsiteY288" fmla="*/ 178594 h 1152525"/>
                  <a:gd name="connsiteX289" fmla="*/ 520575 w 1504950"/>
                  <a:gd name="connsiteY289" fmla="*/ 187166 h 1152525"/>
                  <a:gd name="connsiteX290" fmla="*/ 525338 w 1504950"/>
                  <a:gd name="connsiteY290" fmla="*/ 188119 h 1152525"/>
                  <a:gd name="connsiteX291" fmla="*/ 542483 w 1504950"/>
                  <a:gd name="connsiteY291" fmla="*/ 189071 h 1152525"/>
                  <a:gd name="connsiteX292" fmla="*/ 547245 w 1504950"/>
                  <a:gd name="connsiteY292" fmla="*/ 189071 h 1152525"/>
                  <a:gd name="connsiteX293" fmla="*/ 547245 w 1504950"/>
                  <a:gd name="connsiteY293" fmla="*/ 190024 h 1152525"/>
                  <a:gd name="connsiteX294" fmla="*/ 554865 w 1504950"/>
                  <a:gd name="connsiteY294" fmla="*/ 195739 h 1152525"/>
                  <a:gd name="connsiteX295" fmla="*/ 555818 w 1504950"/>
                  <a:gd name="connsiteY295" fmla="*/ 198596 h 1152525"/>
                  <a:gd name="connsiteX296" fmla="*/ 553913 w 1504950"/>
                  <a:gd name="connsiteY296" fmla="*/ 203359 h 1152525"/>
                  <a:gd name="connsiteX297" fmla="*/ 553913 w 1504950"/>
                  <a:gd name="connsiteY297" fmla="*/ 204311 h 1152525"/>
                  <a:gd name="connsiteX298" fmla="*/ 550103 w 1504950"/>
                  <a:gd name="connsiteY298" fmla="*/ 211931 h 1152525"/>
                  <a:gd name="connsiteX299" fmla="*/ 548198 w 1504950"/>
                  <a:gd name="connsiteY299" fmla="*/ 217646 h 1152525"/>
                  <a:gd name="connsiteX300" fmla="*/ 548198 w 1504950"/>
                  <a:gd name="connsiteY300" fmla="*/ 221456 h 1152525"/>
                  <a:gd name="connsiteX301" fmla="*/ 551055 w 1504950"/>
                  <a:gd name="connsiteY301" fmla="*/ 230981 h 1152525"/>
                  <a:gd name="connsiteX302" fmla="*/ 552960 w 1504950"/>
                  <a:gd name="connsiteY302" fmla="*/ 258604 h 1152525"/>
                  <a:gd name="connsiteX303" fmla="*/ 552960 w 1504950"/>
                  <a:gd name="connsiteY303" fmla="*/ 264319 h 1152525"/>
                  <a:gd name="connsiteX304" fmla="*/ 570105 w 1504950"/>
                  <a:gd name="connsiteY304" fmla="*/ 258604 h 1152525"/>
                  <a:gd name="connsiteX305" fmla="*/ 579630 w 1504950"/>
                  <a:gd name="connsiteY305" fmla="*/ 253841 h 1152525"/>
                  <a:gd name="connsiteX306" fmla="*/ 587250 w 1504950"/>
                  <a:gd name="connsiteY306" fmla="*/ 253841 h 1152525"/>
                  <a:gd name="connsiteX307" fmla="*/ 592965 w 1504950"/>
                  <a:gd name="connsiteY307" fmla="*/ 263366 h 1152525"/>
                  <a:gd name="connsiteX308" fmla="*/ 592013 w 1504950"/>
                  <a:gd name="connsiteY308" fmla="*/ 269081 h 1152525"/>
                  <a:gd name="connsiteX309" fmla="*/ 590108 w 1504950"/>
                  <a:gd name="connsiteY309" fmla="*/ 271939 h 1152525"/>
                  <a:gd name="connsiteX310" fmla="*/ 583440 w 1504950"/>
                  <a:gd name="connsiteY310" fmla="*/ 278606 h 1152525"/>
                  <a:gd name="connsiteX311" fmla="*/ 566295 w 1504950"/>
                  <a:gd name="connsiteY311" fmla="*/ 290036 h 1152525"/>
                  <a:gd name="connsiteX312" fmla="*/ 549150 w 1504950"/>
                  <a:gd name="connsiteY312" fmla="*/ 302419 h 1152525"/>
                  <a:gd name="connsiteX313" fmla="*/ 520575 w 1504950"/>
                  <a:gd name="connsiteY313" fmla="*/ 328136 h 1152525"/>
                  <a:gd name="connsiteX314" fmla="*/ 502478 w 1504950"/>
                  <a:gd name="connsiteY314" fmla="*/ 346234 h 1152525"/>
                  <a:gd name="connsiteX315" fmla="*/ 494858 w 1504950"/>
                  <a:gd name="connsiteY315" fmla="*/ 353854 h 1152525"/>
                  <a:gd name="connsiteX316" fmla="*/ 495810 w 1504950"/>
                  <a:gd name="connsiteY316" fmla="*/ 353854 h 1152525"/>
                  <a:gd name="connsiteX317" fmla="*/ 562485 w 1504950"/>
                  <a:gd name="connsiteY317" fmla="*/ 337661 h 1152525"/>
                  <a:gd name="connsiteX318" fmla="*/ 585345 w 1504950"/>
                  <a:gd name="connsiteY318" fmla="*/ 327184 h 1152525"/>
                  <a:gd name="connsiteX319" fmla="*/ 610110 w 1504950"/>
                  <a:gd name="connsiteY319" fmla="*/ 308134 h 1152525"/>
                  <a:gd name="connsiteX320" fmla="*/ 624398 w 1504950"/>
                  <a:gd name="connsiteY320" fmla="*/ 289084 h 1152525"/>
                  <a:gd name="connsiteX321" fmla="*/ 628208 w 1504950"/>
                  <a:gd name="connsiteY321" fmla="*/ 282416 h 1152525"/>
                  <a:gd name="connsiteX322" fmla="*/ 632970 w 1504950"/>
                  <a:gd name="connsiteY322" fmla="*/ 257651 h 1152525"/>
                  <a:gd name="connsiteX323" fmla="*/ 618683 w 1504950"/>
                  <a:gd name="connsiteY323" fmla="*/ 212884 h 1152525"/>
                  <a:gd name="connsiteX324" fmla="*/ 595823 w 1504950"/>
                  <a:gd name="connsiteY324" fmla="*/ 190976 h 1152525"/>
                  <a:gd name="connsiteX325" fmla="*/ 565343 w 1504950"/>
                  <a:gd name="connsiteY325" fmla="*/ 175736 h 1152525"/>
                  <a:gd name="connsiteX326" fmla="*/ 555818 w 1504950"/>
                  <a:gd name="connsiteY326" fmla="*/ 171926 h 1152525"/>
                  <a:gd name="connsiteX327" fmla="*/ 528195 w 1504950"/>
                  <a:gd name="connsiteY327" fmla="*/ 163354 h 1152525"/>
                  <a:gd name="connsiteX328" fmla="*/ 523433 w 1504950"/>
                  <a:gd name="connsiteY328" fmla="*/ 162401 h 1152525"/>
                  <a:gd name="connsiteX329" fmla="*/ 518670 w 1504950"/>
                  <a:gd name="connsiteY329" fmla="*/ 161449 h 1152525"/>
                  <a:gd name="connsiteX330" fmla="*/ 514860 w 1504950"/>
                  <a:gd name="connsiteY330" fmla="*/ 161449 h 1152525"/>
                  <a:gd name="connsiteX331" fmla="*/ 502478 w 1504950"/>
                  <a:gd name="connsiteY331" fmla="*/ 159544 h 1152525"/>
                  <a:gd name="connsiteX332" fmla="*/ 496763 w 1504950"/>
                  <a:gd name="connsiteY332" fmla="*/ 160496 h 1152525"/>
                  <a:gd name="connsiteX333" fmla="*/ 496763 w 1504950"/>
                  <a:gd name="connsiteY333" fmla="*/ 160496 h 1152525"/>
                  <a:gd name="connsiteX334" fmla="*/ 273878 w 1504950"/>
                  <a:gd name="connsiteY334" fmla="*/ 309086 h 1152525"/>
                  <a:gd name="connsiteX335" fmla="*/ 272925 w 1504950"/>
                  <a:gd name="connsiteY335" fmla="*/ 336709 h 1152525"/>
                  <a:gd name="connsiteX336" fmla="*/ 289118 w 1504950"/>
                  <a:gd name="connsiteY336" fmla="*/ 367189 h 1152525"/>
                  <a:gd name="connsiteX337" fmla="*/ 296738 w 1504950"/>
                  <a:gd name="connsiteY337" fmla="*/ 373856 h 1152525"/>
                  <a:gd name="connsiteX338" fmla="*/ 303405 w 1504950"/>
                  <a:gd name="connsiteY338" fmla="*/ 376714 h 1152525"/>
                  <a:gd name="connsiteX339" fmla="*/ 307215 w 1504950"/>
                  <a:gd name="connsiteY339" fmla="*/ 378619 h 1152525"/>
                  <a:gd name="connsiteX340" fmla="*/ 309120 w 1504950"/>
                  <a:gd name="connsiteY340" fmla="*/ 379571 h 1152525"/>
                  <a:gd name="connsiteX341" fmla="*/ 312930 w 1504950"/>
                  <a:gd name="connsiteY341" fmla="*/ 379571 h 1152525"/>
                  <a:gd name="connsiteX342" fmla="*/ 311025 w 1504950"/>
                  <a:gd name="connsiteY342" fmla="*/ 369094 h 1152525"/>
                  <a:gd name="connsiteX343" fmla="*/ 306263 w 1504950"/>
                  <a:gd name="connsiteY343" fmla="*/ 353854 h 1152525"/>
                  <a:gd name="connsiteX344" fmla="*/ 306263 w 1504950"/>
                  <a:gd name="connsiteY344" fmla="*/ 350044 h 1152525"/>
                  <a:gd name="connsiteX345" fmla="*/ 311025 w 1504950"/>
                  <a:gd name="connsiteY345" fmla="*/ 346234 h 1152525"/>
                  <a:gd name="connsiteX346" fmla="*/ 321503 w 1504950"/>
                  <a:gd name="connsiteY346" fmla="*/ 346234 h 1152525"/>
                  <a:gd name="connsiteX347" fmla="*/ 324360 w 1504950"/>
                  <a:gd name="connsiteY347" fmla="*/ 347186 h 1152525"/>
                  <a:gd name="connsiteX348" fmla="*/ 335790 w 1504950"/>
                  <a:gd name="connsiteY348" fmla="*/ 355759 h 1152525"/>
                  <a:gd name="connsiteX349" fmla="*/ 346268 w 1504950"/>
                  <a:gd name="connsiteY349" fmla="*/ 367189 h 1152525"/>
                  <a:gd name="connsiteX350" fmla="*/ 353888 w 1504950"/>
                  <a:gd name="connsiteY350" fmla="*/ 378619 h 1152525"/>
                  <a:gd name="connsiteX351" fmla="*/ 356745 w 1504950"/>
                  <a:gd name="connsiteY351" fmla="*/ 382429 h 1152525"/>
                  <a:gd name="connsiteX352" fmla="*/ 398655 w 1504950"/>
                  <a:gd name="connsiteY352" fmla="*/ 396716 h 1152525"/>
                  <a:gd name="connsiteX353" fmla="*/ 409133 w 1504950"/>
                  <a:gd name="connsiteY353" fmla="*/ 398621 h 1152525"/>
                  <a:gd name="connsiteX354" fmla="*/ 415800 w 1504950"/>
                  <a:gd name="connsiteY354" fmla="*/ 399574 h 1152525"/>
                  <a:gd name="connsiteX355" fmla="*/ 414848 w 1504950"/>
                  <a:gd name="connsiteY355" fmla="*/ 390049 h 1152525"/>
                  <a:gd name="connsiteX356" fmla="*/ 410085 w 1504950"/>
                  <a:gd name="connsiteY356" fmla="*/ 378619 h 1152525"/>
                  <a:gd name="connsiteX357" fmla="*/ 398655 w 1504950"/>
                  <a:gd name="connsiteY357" fmla="*/ 366236 h 1152525"/>
                  <a:gd name="connsiteX358" fmla="*/ 380558 w 1504950"/>
                  <a:gd name="connsiteY358" fmla="*/ 353854 h 1152525"/>
                  <a:gd name="connsiteX359" fmla="*/ 343410 w 1504950"/>
                  <a:gd name="connsiteY359" fmla="*/ 334804 h 1152525"/>
                  <a:gd name="connsiteX360" fmla="*/ 335790 w 1504950"/>
                  <a:gd name="connsiteY360" fmla="*/ 331946 h 1152525"/>
                  <a:gd name="connsiteX361" fmla="*/ 330075 w 1504950"/>
                  <a:gd name="connsiteY361" fmla="*/ 329089 h 1152525"/>
                  <a:gd name="connsiteX362" fmla="*/ 317693 w 1504950"/>
                  <a:gd name="connsiteY362" fmla="*/ 324326 h 1152525"/>
                  <a:gd name="connsiteX363" fmla="*/ 289118 w 1504950"/>
                  <a:gd name="connsiteY363" fmla="*/ 313849 h 1152525"/>
                  <a:gd name="connsiteX364" fmla="*/ 273878 w 1504950"/>
                  <a:gd name="connsiteY364" fmla="*/ 309086 h 1152525"/>
                  <a:gd name="connsiteX365" fmla="*/ 273878 w 1504950"/>
                  <a:gd name="connsiteY365" fmla="*/ 309086 h 1152525"/>
                  <a:gd name="connsiteX366" fmla="*/ 273878 w 1504950"/>
                  <a:gd name="connsiteY366" fmla="*/ 309086 h 1152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</a:cxnLst>
                <a:rect l="l" t="t" r="r" b="b"/>
                <a:pathLst>
                  <a:path w="1504950" h="1152525">
                    <a:moveTo>
                      <a:pt x="614873" y="7144"/>
                    </a:moveTo>
                    <a:cubicBezTo>
                      <a:pt x="617730" y="7144"/>
                      <a:pt x="619635" y="7144"/>
                      <a:pt x="621540" y="8096"/>
                    </a:cubicBezTo>
                    <a:cubicBezTo>
                      <a:pt x="623445" y="9049"/>
                      <a:pt x="624398" y="10001"/>
                      <a:pt x="626303" y="10954"/>
                    </a:cubicBezTo>
                    <a:cubicBezTo>
                      <a:pt x="628208" y="12859"/>
                      <a:pt x="630113" y="14764"/>
                      <a:pt x="631065" y="16669"/>
                    </a:cubicBezTo>
                    <a:cubicBezTo>
                      <a:pt x="633923" y="21431"/>
                      <a:pt x="638685" y="24289"/>
                      <a:pt x="643448" y="27146"/>
                    </a:cubicBezTo>
                    <a:lnTo>
                      <a:pt x="645353" y="26194"/>
                    </a:lnTo>
                    <a:lnTo>
                      <a:pt x="646305" y="25241"/>
                    </a:lnTo>
                    <a:cubicBezTo>
                      <a:pt x="647258" y="24289"/>
                      <a:pt x="648210" y="22384"/>
                      <a:pt x="649163" y="21431"/>
                    </a:cubicBezTo>
                    <a:cubicBezTo>
                      <a:pt x="652973" y="16669"/>
                      <a:pt x="656783" y="12859"/>
                      <a:pt x="662498" y="10954"/>
                    </a:cubicBezTo>
                    <a:cubicBezTo>
                      <a:pt x="664403" y="10001"/>
                      <a:pt x="667260" y="10001"/>
                      <a:pt x="670118" y="10954"/>
                    </a:cubicBezTo>
                    <a:cubicBezTo>
                      <a:pt x="671070" y="10954"/>
                      <a:pt x="671070" y="10954"/>
                      <a:pt x="672023" y="10954"/>
                    </a:cubicBezTo>
                    <a:cubicBezTo>
                      <a:pt x="674880" y="11906"/>
                      <a:pt x="676785" y="13811"/>
                      <a:pt x="677738" y="15716"/>
                    </a:cubicBezTo>
                    <a:cubicBezTo>
                      <a:pt x="678690" y="16669"/>
                      <a:pt x="678690" y="18574"/>
                      <a:pt x="678690" y="20479"/>
                    </a:cubicBezTo>
                    <a:cubicBezTo>
                      <a:pt x="678690" y="24289"/>
                      <a:pt x="677738" y="27146"/>
                      <a:pt x="676785" y="30004"/>
                    </a:cubicBezTo>
                    <a:lnTo>
                      <a:pt x="670118" y="47149"/>
                    </a:lnTo>
                    <a:cubicBezTo>
                      <a:pt x="670118" y="48101"/>
                      <a:pt x="669165" y="48101"/>
                      <a:pt x="669165" y="49054"/>
                    </a:cubicBezTo>
                    <a:cubicBezTo>
                      <a:pt x="668213" y="51911"/>
                      <a:pt x="667260" y="54769"/>
                      <a:pt x="666308" y="56674"/>
                    </a:cubicBezTo>
                    <a:cubicBezTo>
                      <a:pt x="662498" y="64294"/>
                      <a:pt x="656783" y="70961"/>
                      <a:pt x="651068" y="77629"/>
                    </a:cubicBezTo>
                    <a:cubicBezTo>
                      <a:pt x="646305" y="85249"/>
                      <a:pt x="641543" y="91916"/>
                      <a:pt x="638685" y="99536"/>
                    </a:cubicBezTo>
                    <a:cubicBezTo>
                      <a:pt x="637733" y="102394"/>
                      <a:pt x="636780" y="105251"/>
                      <a:pt x="635828" y="108109"/>
                    </a:cubicBezTo>
                    <a:cubicBezTo>
                      <a:pt x="634875" y="110966"/>
                      <a:pt x="633923" y="114776"/>
                      <a:pt x="633923" y="117634"/>
                    </a:cubicBezTo>
                    <a:cubicBezTo>
                      <a:pt x="633923" y="125254"/>
                      <a:pt x="632970" y="130016"/>
                      <a:pt x="632970" y="136684"/>
                    </a:cubicBezTo>
                    <a:cubicBezTo>
                      <a:pt x="632970" y="133826"/>
                      <a:pt x="632970" y="135731"/>
                      <a:pt x="632970" y="137636"/>
                    </a:cubicBezTo>
                    <a:cubicBezTo>
                      <a:pt x="632970" y="141446"/>
                      <a:pt x="632018" y="145256"/>
                      <a:pt x="631065" y="150019"/>
                    </a:cubicBezTo>
                    <a:cubicBezTo>
                      <a:pt x="630113" y="151924"/>
                      <a:pt x="629160" y="153829"/>
                      <a:pt x="629160" y="154781"/>
                    </a:cubicBezTo>
                    <a:cubicBezTo>
                      <a:pt x="628208" y="157639"/>
                      <a:pt x="627255" y="161449"/>
                      <a:pt x="626303" y="164306"/>
                    </a:cubicBezTo>
                    <a:cubicBezTo>
                      <a:pt x="625350" y="165259"/>
                      <a:pt x="625350" y="166211"/>
                      <a:pt x="624398" y="167164"/>
                    </a:cubicBezTo>
                    <a:lnTo>
                      <a:pt x="629160" y="172879"/>
                    </a:lnTo>
                    <a:cubicBezTo>
                      <a:pt x="630113" y="174784"/>
                      <a:pt x="631065" y="176689"/>
                      <a:pt x="632970" y="178594"/>
                    </a:cubicBezTo>
                    <a:cubicBezTo>
                      <a:pt x="634875" y="181451"/>
                      <a:pt x="636780" y="183356"/>
                      <a:pt x="639638" y="185261"/>
                    </a:cubicBezTo>
                    <a:cubicBezTo>
                      <a:pt x="641543" y="188119"/>
                      <a:pt x="644400" y="190024"/>
                      <a:pt x="648210" y="191929"/>
                    </a:cubicBezTo>
                    <a:cubicBezTo>
                      <a:pt x="649163" y="192881"/>
                      <a:pt x="651068" y="193834"/>
                      <a:pt x="652020" y="194786"/>
                    </a:cubicBezTo>
                    <a:cubicBezTo>
                      <a:pt x="653925" y="195739"/>
                      <a:pt x="656783" y="195739"/>
                      <a:pt x="658688" y="195739"/>
                    </a:cubicBezTo>
                    <a:cubicBezTo>
                      <a:pt x="662498" y="195739"/>
                      <a:pt x="665355" y="195739"/>
                      <a:pt x="669165" y="194786"/>
                    </a:cubicBezTo>
                    <a:cubicBezTo>
                      <a:pt x="672975" y="193834"/>
                      <a:pt x="675833" y="192881"/>
                      <a:pt x="678690" y="191929"/>
                    </a:cubicBezTo>
                    <a:cubicBezTo>
                      <a:pt x="678690" y="191929"/>
                      <a:pt x="680595" y="190976"/>
                      <a:pt x="681548" y="190976"/>
                    </a:cubicBezTo>
                    <a:cubicBezTo>
                      <a:pt x="682500" y="190024"/>
                      <a:pt x="684405" y="190024"/>
                      <a:pt x="686310" y="189071"/>
                    </a:cubicBezTo>
                    <a:cubicBezTo>
                      <a:pt x="687263" y="188119"/>
                      <a:pt x="689168" y="187166"/>
                      <a:pt x="691073" y="186214"/>
                    </a:cubicBezTo>
                    <a:cubicBezTo>
                      <a:pt x="692978" y="185261"/>
                      <a:pt x="694883" y="183356"/>
                      <a:pt x="696788" y="182404"/>
                    </a:cubicBezTo>
                    <a:cubicBezTo>
                      <a:pt x="699645" y="180499"/>
                      <a:pt x="700598" y="179546"/>
                      <a:pt x="702503" y="177641"/>
                    </a:cubicBezTo>
                    <a:cubicBezTo>
                      <a:pt x="703455" y="177641"/>
                      <a:pt x="704408" y="175736"/>
                      <a:pt x="706313" y="173831"/>
                    </a:cubicBezTo>
                    <a:cubicBezTo>
                      <a:pt x="709170" y="170974"/>
                      <a:pt x="712028" y="169069"/>
                      <a:pt x="713933" y="166211"/>
                    </a:cubicBezTo>
                    <a:cubicBezTo>
                      <a:pt x="719648" y="159544"/>
                      <a:pt x="724410" y="151924"/>
                      <a:pt x="728220" y="144304"/>
                    </a:cubicBezTo>
                    <a:cubicBezTo>
                      <a:pt x="729173" y="143351"/>
                      <a:pt x="730125" y="141446"/>
                      <a:pt x="730125" y="139541"/>
                    </a:cubicBezTo>
                    <a:cubicBezTo>
                      <a:pt x="731078" y="137636"/>
                      <a:pt x="731078" y="135731"/>
                      <a:pt x="732030" y="133826"/>
                    </a:cubicBezTo>
                    <a:cubicBezTo>
                      <a:pt x="733935" y="128111"/>
                      <a:pt x="735840" y="122396"/>
                      <a:pt x="737745" y="116681"/>
                    </a:cubicBezTo>
                    <a:cubicBezTo>
                      <a:pt x="738698" y="113824"/>
                      <a:pt x="740603" y="111919"/>
                      <a:pt x="742508" y="110014"/>
                    </a:cubicBezTo>
                    <a:cubicBezTo>
                      <a:pt x="743460" y="109061"/>
                      <a:pt x="744413" y="108109"/>
                      <a:pt x="744413" y="107156"/>
                    </a:cubicBezTo>
                    <a:cubicBezTo>
                      <a:pt x="745365" y="105251"/>
                      <a:pt x="747270" y="103346"/>
                      <a:pt x="749175" y="102394"/>
                    </a:cubicBezTo>
                    <a:cubicBezTo>
                      <a:pt x="751080" y="101441"/>
                      <a:pt x="752985" y="99536"/>
                      <a:pt x="753938" y="98584"/>
                    </a:cubicBezTo>
                    <a:cubicBezTo>
                      <a:pt x="755843" y="97631"/>
                      <a:pt x="757748" y="96679"/>
                      <a:pt x="760605" y="97631"/>
                    </a:cubicBezTo>
                    <a:cubicBezTo>
                      <a:pt x="761558" y="97631"/>
                      <a:pt x="761558" y="97631"/>
                      <a:pt x="762510" y="97631"/>
                    </a:cubicBezTo>
                    <a:cubicBezTo>
                      <a:pt x="763463" y="98584"/>
                      <a:pt x="764415" y="98584"/>
                      <a:pt x="764415" y="98584"/>
                    </a:cubicBezTo>
                    <a:cubicBezTo>
                      <a:pt x="765368" y="99536"/>
                      <a:pt x="765368" y="99536"/>
                      <a:pt x="766320" y="100489"/>
                    </a:cubicBezTo>
                    <a:cubicBezTo>
                      <a:pt x="767273" y="102394"/>
                      <a:pt x="767273" y="103346"/>
                      <a:pt x="767273" y="103346"/>
                    </a:cubicBezTo>
                    <a:cubicBezTo>
                      <a:pt x="767273" y="103346"/>
                      <a:pt x="768225" y="104299"/>
                      <a:pt x="768225" y="105251"/>
                    </a:cubicBezTo>
                    <a:cubicBezTo>
                      <a:pt x="767273" y="107156"/>
                      <a:pt x="767273" y="109061"/>
                      <a:pt x="766320" y="111919"/>
                    </a:cubicBezTo>
                    <a:cubicBezTo>
                      <a:pt x="764415" y="120491"/>
                      <a:pt x="761558" y="130016"/>
                      <a:pt x="757748" y="138589"/>
                    </a:cubicBezTo>
                    <a:lnTo>
                      <a:pt x="753938" y="149066"/>
                    </a:lnTo>
                    <a:cubicBezTo>
                      <a:pt x="752985" y="151924"/>
                      <a:pt x="752985" y="155734"/>
                      <a:pt x="753938" y="158591"/>
                    </a:cubicBezTo>
                    <a:cubicBezTo>
                      <a:pt x="753938" y="159544"/>
                      <a:pt x="754890" y="160496"/>
                      <a:pt x="755843" y="161449"/>
                    </a:cubicBezTo>
                    <a:cubicBezTo>
                      <a:pt x="756795" y="162401"/>
                      <a:pt x="758700" y="163354"/>
                      <a:pt x="759653" y="164306"/>
                    </a:cubicBezTo>
                    <a:cubicBezTo>
                      <a:pt x="761558" y="165259"/>
                      <a:pt x="762510" y="165259"/>
                      <a:pt x="764415" y="165259"/>
                    </a:cubicBezTo>
                    <a:cubicBezTo>
                      <a:pt x="767273" y="165259"/>
                      <a:pt x="769178" y="165259"/>
                      <a:pt x="772035" y="165259"/>
                    </a:cubicBezTo>
                    <a:cubicBezTo>
                      <a:pt x="774893" y="164306"/>
                      <a:pt x="777750" y="163354"/>
                      <a:pt x="781560" y="162401"/>
                    </a:cubicBezTo>
                    <a:cubicBezTo>
                      <a:pt x="788228" y="159544"/>
                      <a:pt x="793943" y="157639"/>
                      <a:pt x="800610" y="153829"/>
                    </a:cubicBezTo>
                    <a:cubicBezTo>
                      <a:pt x="805373" y="150971"/>
                      <a:pt x="811088" y="149066"/>
                      <a:pt x="816803" y="147161"/>
                    </a:cubicBezTo>
                    <a:cubicBezTo>
                      <a:pt x="817755" y="146209"/>
                      <a:pt x="819660" y="146209"/>
                      <a:pt x="820613" y="147161"/>
                    </a:cubicBezTo>
                    <a:cubicBezTo>
                      <a:pt x="821565" y="148114"/>
                      <a:pt x="822518" y="149066"/>
                      <a:pt x="823470" y="149066"/>
                    </a:cubicBezTo>
                    <a:cubicBezTo>
                      <a:pt x="824423" y="150019"/>
                      <a:pt x="825375" y="150019"/>
                      <a:pt x="825375" y="150971"/>
                    </a:cubicBezTo>
                    <a:cubicBezTo>
                      <a:pt x="825375" y="152876"/>
                      <a:pt x="826328" y="153829"/>
                      <a:pt x="825375" y="155734"/>
                    </a:cubicBezTo>
                    <a:cubicBezTo>
                      <a:pt x="825375" y="157639"/>
                      <a:pt x="824423" y="158591"/>
                      <a:pt x="823470" y="160496"/>
                    </a:cubicBezTo>
                    <a:cubicBezTo>
                      <a:pt x="823470" y="160496"/>
                      <a:pt x="823470" y="161449"/>
                      <a:pt x="823470" y="161449"/>
                    </a:cubicBezTo>
                    <a:cubicBezTo>
                      <a:pt x="822518" y="163354"/>
                      <a:pt x="821565" y="164306"/>
                      <a:pt x="821565" y="166211"/>
                    </a:cubicBezTo>
                    <a:cubicBezTo>
                      <a:pt x="821565" y="166211"/>
                      <a:pt x="821565" y="166211"/>
                      <a:pt x="821565" y="167164"/>
                    </a:cubicBezTo>
                    <a:cubicBezTo>
                      <a:pt x="821565" y="168116"/>
                      <a:pt x="821565" y="169069"/>
                      <a:pt x="820613" y="170021"/>
                    </a:cubicBezTo>
                    <a:cubicBezTo>
                      <a:pt x="819660" y="170974"/>
                      <a:pt x="818708" y="171926"/>
                      <a:pt x="817755" y="172879"/>
                    </a:cubicBezTo>
                    <a:cubicBezTo>
                      <a:pt x="816803" y="174784"/>
                      <a:pt x="815850" y="175736"/>
                      <a:pt x="814898" y="177641"/>
                    </a:cubicBezTo>
                    <a:cubicBezTo>
                      <a:pt x="813945" y="178594"/>
                      <a:pt x="812040" y="180499"/>
                      <a:pt x="811088" y="181451"/>
                    </a:cubicBezTo>
                    <a:cubicBezTo>
                      <a:pt x="809183" y="183356"/>
                      <a:pt x="806325" y="185261"/>
                      <a:pt x="803468" y="187166"/>
                    </a:cubicBezTo>
                    <a:cubicBezTo>
                      <a:pt x="799658" y="189071"/>
                      <a:pt x="795848" y="191929"/>
                      <a:pt x="792038" y="191929"/>
                    </a:cubicBezTo>
                    <a:cubicBezTo>
                      <a:pt x="788228" y="192881"/>
                      <a:pt x="783465" y="193834"/>
                      <a:pt x="779655" y="194786"/>
                    </a:cubicBezTo>
                    <a:cubicBezTo>
                      <a:pt x="777750" y="194786"/>
                      <a:pt x="777750" y="194786"/>
                      <a:pt x="775845" y="195739"/>
                    </a:cubicBezTo>
                    <a:cubicBezTo>
                      <a:pt x="772988" y="195739"/>
                      <a:pt x="770130" y="195739"/>
                      <a:pt x="767273" y="195739"/>
                    </a:cubicBezTo>
                    <a:cubicBezTo>
                      <a:pt x="763463" y="195739"/>
                      <a:pt x="760605" y="196691"/>
                      <a:pt x="756795" y="196691"/>
                    </a:cubicBezTo>
                    <a:cubicBezTo>
                      <a:pt x="753938" y="197644"/>
                      <a:pt x="750128" y="196691"/>
                      <a:pt x="747270" y="197644"/>
                    </a:cubicBezTo>
                    <a:cubicBezTo>
                      <a:pt x="745365" y="198596"/>
                      <a:pt x="741555" y="199549"/>
                      <a:pt x="739650" y="199549"/>
                    </a:cubicBezTo>
                    <a:cubicBezTo>
                      <a:pt x="736793" y="199549"/>
                      <a:pt x="733935" y="200501"/>
                      <a:pt x="732030" y="201454"/>
                    </a:cubicBezTo>
                    <a:cubicBezTo>
                      <a:pt x="729173" y="202406"/>
                      <a:pt x="726315" y="202406"/>
                      <a:pt x="723458" y="203359"/>
                    </a:cubicBezTo>
                    <a:cubicBezTo>
                      <a:pt x="714885" y="206216"/>
                      <a:pt x="706313" y="209074"/>
                      <a:pt x="698693" y="213836"/>
                    </a:cubicBezTo>
                    <a:cubicBezTo>
                      <a:pt x="689168" y="218599"/>
                      <a:pt x="681548" y="226219"/>
                      <a:pt x="674880" y="234791"/>
                    </a:cubicBezTo>
                    <a:cubicBezTo>
                      <a:pt x="673928" y="237649"/>
                      <a:pt x="672975" y="239554"/>
                      <a:pt x="671070" y="241459"/>
                    </a:cubicBezTo>
                    <a:cubicBezTo>
                      <a:pt x="670118" y="244316"/>
                      <a:pt x="669165" y="247174"/>
                      <a:pt x="668213" y="249079"/>
                    </a:cubicBezTo>
                    <a:cubicBezTo>
                      <a:pt x="667260" y="253841"/>
                      <a:pt x="667260" y="258604"/>
                      <a:pt x="666308" y="263366"/>
                    </a:cubicBezTo>
                    <a:cubicBezTo>
                      <a:pt x="665355" y="268129"/>
                      <a:pt x="665355" y="272891"/>
                      <a:pt x="664403" y="277654"/>
                    </a:cubicBezTo>
                    <a:cubicBezTo>
                      <a:pt x="664403" y="279559"/>
                      <a:pt x="663450" y="281464"/>
                      <a:pt x="663450" y="283369"/>
                    </a:cubicBezTo>
                    <a:cubicBezTo>
                      <a:pt x="662498" y="287179"/>
                      <a:pt x="661545" y="290989"/>
                      <a:pt x="659640" y="294799"/>
                    </a:cubicBezTo>
                    <a:cubicBezTo>
                      <a:pt x="659640" y="295751"/>
                      <a:pt x="658688" y="296704"/>
                      <a:pt x="658688" y="297656"/>
                    </a:cubicBezTo>
                    <a:cubicBezTo>
                      <a:pt x="652973" y="310991"/>
                      <a:pt x="644400" y="323374"/>
                      <a:pt x="633923" y="332899"/>
                    </a:cubicBezTo>
                    <a:lnTo>
                      <a:pt x="622493" y="342424"/>
                    </a:lnTo>
                    <a:lnTo>
                      <a:pt x="610110" y="350996"/>
                    </a:lnTo>
                    <a:cubicBezTo>
                      <a:pt x="599633" y="357664"/>
                      <a:pt x="588203" y="363379"/>
                      <a:pt x="574868" y="367189"/>
                    </a:cubicBezTo>
                    <a:cubicBezTo>
                      <a:pt x="569153" y="369094"/>
                      <a:pt x="561533" y="370999"/>
                      <a:pt x="552008" y="373856"/>
                    </a:cubicBezTo>
                    <a:cubicBezTo>
                      <a:pt x="497715" y="391001"/>
                      <a:pt x="490095" y="405289"/>
                      <a:pt x="470093" y="412909"/>
                    </a:cubicBezTo>
                    <a:lnTo>
                      <a:pt x="468188" y="411004"/>
                    </a:lnTo>
                    <a:cubicBezTo>
                      <a:pt x="467235" y="415766"/>
                      <a:pt x="467235" y="417671"/>
                      <a:pt x="468188" y="418624"/>
                    </a:cubicBezTo>
                    <a:cubicBezTo>
                      <a:pt x="471998" y="421481"/>
                      <a:pt x="501525" y="497681"/>
                      <a:pt x="513908" y="537686"/>
                    </a:cubicBezTo>
                    <a:cubicBezTo>
                      <a:pt x="534863" y="608171"/>
                      <a:pt x="559628" y="635794"/>
                      <a:pt x="600585" y="638651"/>
                    </a:cubicBezTo>
                    <a:cubicBezTo>
                      <a:pt x="623445" y="639604"/>
                      <a:pt x="662498" y="666274"/>
                      <a:pt x="680595" y="693896"/>
                    </a:cubicBezTo>
                    <a:cubicBezTo>
                      <a:pt x="688215" y="706279"/>
                      <a:pt x="744413" y="720566"/>
                      <a:pt x="793943" y="722471"/>
                    </a:cubicBezTo>
                    <a:cubicBezTo>
                      <a:pt x="811088" y="723424"/>
                      <a:pt x="828233" y="725329"/>
                      <a:pt x="831090" y="727234"/>
                    </a:cubicBezTo>
                    <a:cubicBezTo>
                      <a:pt x="833948" y="728186"/>
                      <a:pt x="865380" y="730091"/>
                      <a:pt x="899670" y="731044"/>
                    </a:cubicBezTo>
                    <a:cubicBezTo>
                      <a:pt x="934913" y="731996"/>
                      <a:pt x="980633" y="734854"/>
                      <a:pt x="1002540" y="736759"/>
                    </a:cubicBezTo>
                    <a:cubicBezTo>
                      <a:pt x="1024448" y="738664"/>
                      <a:pt x="1046355" y="739616"/>
                      <a:pt x="1051118" y="738664"/>
                    </a:cubicBezTo>
                    <a:cubicBezTo>
                      <a:pt x="1064453" y="735806"/>
                      <a:pt x="1078740" y="718661"/>
                      <a:pt x="1096838" y="681514"/>
                    </a:cubicBezTo>
                    <a:cubicBezTo>
                      <a:pt x="1106363" y="662464"/>
                      <a:pt x="1118745" y="645319"/>
                      <a:pt x="1126365" y="639604"/>
                    </a:cubicBezTo>
                    <a:cubicBezTo>
                      <a:pt x="1147320" y="624364"/>
                      <a:pt x="1193040" y="608171"/>
                      <a:pt x="1199708" y="612934"/>
                    </a:cubicBezTo>
                    <a:cubicBezTo>
                      <a:pt x="1208280" y="618649"/>
                      <a:pt x="1205423" y="623411"/>
                      <a:pt x="1183515" y="639604"/>
                    </a:cubicBezTo>
                    <a:cubicBezTo>
                      <a:pt x="1162560" y="654844"/>
                      <a:pt x="1145415" y="680561"/>
                      <a:pt x="1148273" y="692944"/>
                    </a:cubicBezTo>
                    <a:cubicBezTo>
                      <a:pt x="1149225" y="697706"/>
                      <a:pt x="1147320" y="704374"/>
                      <a:pt x="1143510" y="708184"/>
                    </a:cubicBezTo>
                    <a:cubicBezTo>
                      <a:pt x="1125413" y="726281"/>
                      <a:pt x="1124460" y="740569"/>
                      <a:pt x="1135890" y="781526"/>
                    </a:cubicBezTo>
                    <a:cubicBezTo>
                      <a:pt x="1147320" y="818674"/>
                      <a:pt x="1147320" y="819626"/>
                      <a:pt x="1137795" y="853916"/>
                    </a:cubicBezTo>
                    <a:cubicBezTo>
                      <a:pt x="1125413" y="897731"/>
                      <a:pt x="1129223" y="918686"/>
                      <a:pt x="1153035" y="935831"/>
                    </a:cubicBezTo>
                    <a:cubicBezTo>
                      <a:pt x="1170180" y="948214"/>
                      <a:pt x="1213043" y="957739"/>
                      <a:pt x="1241618" y="954881"/>
                    </a:cubicBezTo>
                    <a:cubicBezTo>
                      <a:pt x="1254000" y="953929"/>
                      <a:pt x="1259715" y="956786"/>
                      <a:pt x="1278765" y="977741"/>
                    </a:cubicBezTo>
                    <a:cubicBezTo>
                      <a:pt x="1291148" y="991076"/>
                      <a:pt x="1310198" y="1008221"/>
                      <a:pt x="1320675" y="1014889"/>
                    </a:cubicBezTo>
                    <a:cubicBezTo>
                      <a:pt x="1349250" y="1032986"/>
                      <a:pt x="1416878" y="1060609"/>
                      <a:pt x="1428308" y="1057751"/>
                    </a:cubicBezTo>
                    <a:cubicBezTo>
                      <a:pt x="1434023" y="1056799"/>
                      <a:pt x="1445453" y="1058704"/>
                      <a:pt x="1454978" y="1061561"/>
                    </a:cubicBezTo>
                    <a:cubicBezTo>
                      <a:pt x="1474028" y="1068229"/>
                      <a:pt x="1503555" y="1091089"/>
                      <a:pt x="1499745" y="1095851"/>
                    </a:cubicBezTo>
                    <a:cubicBezTo>
                      <a:pt x="1498793" y="1097756"/>
                      <a:pt x="1488315" y="1100614"/>
                      <a:pt x="1476885" y="1103471"/>
                    </a:cubicBezTo>
                    <a:lnTo>
                      <a:pt x="1456883" y="1107281"/>
                    </a:lnTo>
                    <a:lnTo>
                      <a:pt x="1463550" y="1123474"/>
                    </a:lnTo>
                    <a:cubicBezTo>
                      <a:pt x="1470218" y="1139666"/>
                      <a:pt x="1470218" y="1140619"/>
                      <a:pt x="1457835" y="1144429"/>
                    </a:cubicBezTo>
                    <a:cubicBezTo>
                      <a:pt x="1451168" y="1147286"/>
                      <a:pt x="1442595" y="1148239"/>
                      <a:pt x="1438785" y="1148239"/>
                    </a:cubicBezTo>
                    <a:cubicBezTo>
                      <a:pt x="1434975" y="1148239"/>
                      <a:pt x="1430213" y="1148239"/>
                      <a:pt x="1428308" y="1149191"/>
                    </a:cubicBezTo>
                    <a:cubicBezTo>
                      <a:pt x="1426403" y="1149191"/>
                      <a:pt x="1418783" y="1146334"/>
                      <a:pt x="1411163" y="1142524"/>
                    </a:cubicBezTo>
                    <a:cubicBezTo>
                      <a:pt x="1403543" y="1138714"/>
                      <a:pt x="1390208" y="1132046"/>
                      <a:pt x="1381635" y="1128236"/>
                    </a:cubicBezTo>
                    <a:cubicBezTo>
                      <a:pt x="1352108" y="1116806"/>
                      <a:pt x="1307340" y="1088231"/>
                      <a:pt x="1298768" y="1075849"/>
                    </a:cubicBezTo>
                    <a:cubicBezTo>
                      <a:pt x="1294005" y="1069181"/>
                      <a:pt x="1274955" y="1056799"/>
                      <a:pt x="1256858" y="1047274"/>
                    </a:cubicBezTo>
                    <a:cubicBezTo>
                      <a:pt x="1225425" y="1031081"/>
                      <a:pt x="1223520" y="1030129"/>
                      <a:pt x="1179705" y="1032986"/>
                    </a:cubicBezTo>
                    <a:cubicBezTo>
                      <a:pt x="1154940" y="1034891"/>
                      <a:pt x="1124460" y="1036796"/>
                      <a:pt x="1113030" y="1038701"/>
                    </a:cubicBezTo>
                    <a:cubicBezTo>
                      <a:pt x="1040640" y="1046321"/>
                      <a:pt x="1010160" y="1036796"/>
                      <a:pt x="972060" y="992981"/>
                    </a:cubicBezTo>
                    <a:cubicBezTo>
                      <a:pt x="937770" y="952976"/>
                      <a:pt x="909195" y="944404"/>
                      <a:pt x="840615" y="952024"/>
                    </a:cubicBezTo>
                    <a:cubicBezTo>
                      <a:pt x="814898" y="954881"/>
                      <a:pt x="792038" y="959644"/>
                      <a:pt x="789180" y="961549"/>
                    </a:cubicBezTo>
                    <a:cubicBezTo>
                      <a:pt x="786323" y="963454"/>
                      <a:pt x="778703" y="965359"/>
                      <a:pt x="772988" y="966311"/>
                    </a:cubicBezTo>
                    <a:cubicBezTo>
                      <a:pt x="757748" y="968216"/>
                      <a:pt x="710123" y="964406"/>
                      <a:pt x="696788" y="960596"/>
                    </a:cubicBezTo>
                    <a:cubicBezTo>
                      <a:pt x="674880" y="954881"/>
                      <a:pt x="597728" y="932974"/>
                      <a:pt x="572963" y="925354"/>
                    </a:cubicBezTo>
                    <a:cubicBezTo>
                      <a:pt x="558675" y="921544"/>
                      <a:pt x="543435" y="917734"/>
                      <a:pt x="539625" y="916781"/>
                    </a:cubicBezTo>
                    <a:cubicBezTo>
                      <a:pt x="535815" y="915829"/>
                      <a:pt x="526290" y="912971"/>
                      <a:pt x="519623" y="910114"/>
                    </a:cubicBezTo>
                    <a:cubicBezTo>
                      <a:pt x="512003" y="907256"/>
                      <a:pt x="494858" y="908209"/>
                      <a:pt x="475808" y="911066"/>
                    </a:cubicBezTo>
                    <a:cubicBezTo>
                      <a:pt x="443423" y="916781"/>
                      <a:pt x="420563" y="912971"/>
                      <a:pt x="364365" y="894874"/>
                    </a:cubicBezTo>
                    <a:cubicBezTo>
                      <a:pt x="308168" y="875824"/>
                      <a:pt x="278640" y="883444"/>
                      <a:pt x="221490" y="929164"/>
                    </a:cubicBezTo>
                    <a:cubicBezTo>
                      <a:pt x="199583" y="947261"/>
                      <a:pt x="179580" y="961549"/>
                      <a:pt x="176723" y="961549"/>
                    </a:cubicBezTo>
                    <a:cubicBezTo>
                      <a:pt x="173865" y="962501"/>
                      <a:pt x="164340" y="972026"/>
                      <a:pt x="153863" y="984409"/>
                    </a:cubicBezTo>
                    <a:cubicBezTo>
                      <a:pt x="136718" y="1005364"/>
                      <a:pt x="134813" y="1006316"/>
                      <a:pt x="102428" y="1012984"/>
                    </a:cubicBezTo>
                    <a:lnTo>
                      <a:pt x="69090" y="1019651"/>
                    </a:lnTo>
                    <a:lnTo>
                      <a:pt x="85283" y="995839"/>
                    </a:lnTo>
                    <a:cubicBezTo>
                      <a:pt x="93855" y="982504"/>
                      <a:pt x="106238" y="970121"/>
                      <a:pt x="111000" y="967264"/>
                    </a:cubicBezTo>
                    <a:cubicBezTo>
                      <a:pt x="115763" y="964406"/>
                      <a:pt x="125288" y="954881"/>
                      <a:pt x="132908" y="945356"/>
                    </a:cubicBezTo>
                    <a:cubicBezTo>
                      <a:pt x="140528" y="935831"/>
                      <a:pt x="158625" y="920591"/>
                      <a:pt x="172913" y="912019"/>
                    </a:cubicBezTo>
                    <a:cubicBezTo>
                      <a:pt x="187200" y="903446"/>
                      <a:pt x="198630" y="894874"/>
                      <a:pt x="198630" y="892969"/>
                    </a:cubicBezTo>
                    <a:cubicBezTo>
                      <a:pt x="197678" y="887254"/>
                      <a:pt x="191963" y="889159"/>
                      <a:pt x="144338" y="908209"/>
                    </a:cubicBezTo>
                    <a:cubicBezTo>
                      <a:pt x="90045" y="930116"/>
                      <a:pt x="60518" y="936784"/>
                      <a:pt x="30990" y="932021"/>
                    </a:cubicBezTo>
                    <a:cubicBezTo>
                      <a:pt x="18608" y="930116"/>
                      <a:pt x="8130" y="926306"/>
                      <a:pt x="7178" y="924401"/>
                    </a:cubicBezTo>
                    <a:cubicBezTo>
                      <a:pt x="5273" y="916781"/>
                      <a:pt x="84330" y="885349"/>
                      <a:pt x="123383" y="878681"/>
                    </a:cubicBezTo>
                    <a:cubicBezTo>
                      <a:pt x="159578" y="872966"/>
                      <a:pt x="227205" y="851059"/>
                      <a:pt x="245303" y="839629"/>
                    </a:cubicBezTo>
                    <a:cubicBezTo>
                      <a:pt x="263400" y="828199"/>
                      <a:pt x="259590" y="829151"/>
                      <a:pt x="362460" y="826294"/>
                    </a:cubicBezTo>
                    <a:cubicBezTo>
                      <a:pt x="381510" y="825341"/>
                      <a:pt x="400560" y="823436"/>
                      <a:pt x="405323" y="820579"/>
                    </a:cubicBezTo>
                    <a:cubicBezTo>
                      <a:pt x="417705" y="812959"/>
                      <a:pt x="416753" y="795814"/>
                      <a:pt x="401513" y="768191"/>
                    </a:cubicBezTo>
                    <a:cubicBezTo>
                      <a:pt x="393893" y="754856"/>
                      <a:pt x="385320" y="737711"/>
                      <a:pt x="381510" y="731044"/>
                    </a:cubicBezTo>
                    <a:cubicBezTo>
                      <a:pt x="377700" y="723424"/>
                      <a:pt x="369128" y="711041"/>
                      <a:pt x="361508" y="704374"/>
                    </a:cubicBezTo>
                    <a:cubicBezTo>
                      <a:pt x="335790" y="677704"/>
                      <a:pt x="333885" y="666274"/>
                      <a:pt x="350078" y="612934"/>
                    </a:cubicBezTo>
                    <a:cubicBezTo>
                      <a:pt x="363413" y="566261"/>
                      <a:pt x="364365" y="563404"/>
                      <a:pt x="354840" y="546259"/>
                    </a:cubicBezTo>
                    <a:cubicBezTo>
                      <a:pt x="350078" y="536734"/>
                      <a:pt x="341505" y="526256"/>
                      <a:pt x="335790" y="522446"/>
                    </a:cubicBezTo>
                    <a:cubicBezTo>
                      <a:pt x="326265" y="515779"/>
                      <a:pt x="258638" y="497681"/>
                      <a:pt x="249113" y="499586"/>
                    </a:cubicBezTo>
                    <a:cubicBezTo>
                      <a:pt x="242445" y="500539"/>
                      <a:pt x="236730" y="491966"/>
                      <a:pt x="232920" y="476726"/>
                    </a:cubicBezTo>
                    <a:cubicBezTo>
                      <a:pt x="228158" y="454819"/>
                      <a:pt x="232920" y="451009"/>
                      <a:pt x="274830" y="442436"/>
                    </a:cubicBezTo>
                    <a:cubicBezTo>
                      <a:pt x="304358" y="435769"/>
                      <a:pt x="334838" y="426244"/>
                      <a:pt x="356745" y="417671"/>
                    </a:cubicBezTo>
                    <a:lnTo>
                      <a:pt x="345315" y="413861"/>
                    </a:lnTo>
                    <a:lnTo>
                      <a:pt x="295785" y="405289"/>
                    </a:lnTo>
                    <a:cubicBezTo>
                      <a:pt x="287213" y="403384"/>
                      <a:pt x="277688" y="401479"/>
                      <a:pt x="267210" y="400526"/>
                    </a:cubicBezTo>
                    <a:cubicBezTo>
                      <a:pt x="258638" y="399574"/>
                      <a:pt x="251970" y="397669"/>
                      <a:pt x="244350" y="393859"/>
                    </a:cubicBezTo>
                    <a:cubicBezTo>
                      <a:pt x="239588" y="391001"/>
                      <a:pt x="234825" y="389096"/>
                      <a:pt x="230063" y="386239"/>
                    </a:cubicBezTo>
                    <a:cubicBezTo>
                      <a:pt x="226253" y="383381"/>
                      <a:pt x="225300" y="379571"/>
                      <a:pt x="227205" y="375761"/>
                    </a:cubicBezTo>
                    <a:cubicBezTo>
                      <a:pt x="229110" y="371951"/>
                      <a:pt x="231968" y="369094"/>
                      <a:pt x="235778" y="369094"/>
                    </a:cubicBezTo>
                    <a:cubicBezTo>
                      <a:pt x="241493" y="368141"/>
                      <a:pt x="246255" y="369094"/>
                      <a:pt x="251018" y="370999"/>
                    </a:cubicBezTo>
                    <a:lnTo>
                      <a:pt x="246255" y="361474"/>
                    </a:lnTo>
                    <a:lnTo>
                      <a:pt x="242445" y="350996"/>
                    </a:lnTo>
                    <a:lnTo>
                      <a:pt x="240540" y="340519"/>
                    </a:lnTo>
                    <a:cubicBezTo>
                      <a:pt x="237683" y="326231"/>
                      <a:pt x="235778" y="311944"/>
                      <a:pt x="236730" y="298609"/>
                    </a:cubicBezTo>
                    <a:lnTo>
                      <a:pt x="229110" y="288131"/>
                    </a:lnTo>
                    <a:cubicBezTo>
                      <a:pt x="227205" y="285274"/>
                      <a:pt x="226253" y="282416"/>
                      <a:pt x="225300" y="278606"/>
                    </a:cubicBezTo>
                    <a:cubicBezTo>
                      <a:pt x="224348" y="274796"/>
                      <a:pt x="227205" y="270986"/>
                      <a:pt x="231015" y="270034"/>
                    </a:cubicBezTo>
                    <a:cubicBezTo>
                      <a:pt x="234825" y="269081"/>
                      <a:pt x="238635" y="269081"/>
                      <a:pt x="241493" y="271939"/>
                    </a:cubicBezTo>
                    <a:lnTo>
                      <a:pt x="253875" y="280511"/>
                    </a:lnTo>
                    <a:cubicBezTo>
                      <a:pt x="258638" y="283369"/>
                      <a:pt x="263400" y="286226"/>
                      <a:pt x="268163" y="288131"/>
                    </a:cubicBezTo>
                    <a:cubicBezTo>
                      <a:pt x="271973" y="289084"/>
                      <a:pt x="275783" y="290036"/>
                      <a:pt x="279593" y="290989"/>
                    </a:cubicBezTo>
                    <a:lnTo>
                      <a:pt x="274830" y="284321"/>
                    </a:lnTo>
                    <a:lnTo>
                      <a:pt x="271020" y="273844"/>
                    </a:lnTo>
                    <a:lnTo>
                      <a:pt x="266258" y="259556"/>
                    </a:lnTo>
                    <a:lnTo>
                      <a:pt x="264353" y="252889"/>
                    </a:lnTo>
                    <a:cubicBezTo>
                      <a:pt x="263400" y="249079"/>
                      <a:pt x="266258" y="246221"/>
                      <a:pt x="269115" y="244316"/>
                    </a:cubicBezTo>
                    <a:cubicBezTo>
                      <a:pt x="271973" y="243364"/>
                      <a:pt x="274830" y="243364"/>
                      <a:pt x="277688" y="245269"/>
                    </a:cubicBezTo>
                    <a:cubicBezTo>
                      <a:pt x="281498" y="247174"/>
                      <a:pt x="284355" y="250031"/>
                      <a:pt x="286260" y="253841"/>
                    </a:cubicBezTo>
                    <a:cubicBezTo>
                      <a:pt x="290070" y="258604"/>
                      <a:pt x="292928" y="264319"/>
                      <a:pt x="295785" y="269081"/>
                    </a:cubicBezTo>
                    <a:cubicBezTo>
                      <a:pt x="298643" y="274796"/>
                      <a:pt x="303405" y="279559"/>
                      <a:pt x="307215" y="284321"/>
                    </a:cubicBezTo>
                    <a:cubicBezTo>
                      <a:pt x="314835" y="291941"/>
                      <a:pt x="321503" y="298609"/>
                      <a:pt x="328170" y="305276"/>
                    </a:cubicBezTo>
                    <a:cubicBezTo>
                      <a:pt x="332933" y="310039"/>
                      <a:pt x="340553" y="315754"/>
                      <a:pt x="349125" y="318611"/>
                    </a:cubicBezTo>
                    <a:cubicBezTo>
                      <a:pt x="350078" y="318611"/>
                      <a:pt x="351030" y="319564"/>
                      <a:pt x="351983" y="319564"/>
                    </a:cubicBezTo>
                    <a:cubicBezTo>
                      <a:pt x="355793" y="320516"/>
                      <a:pt x="359603" y="319564"/>
                      <a:pt x="362460" y="316706"/>
                    </a:cubicBezTo>
                    <a:cubicBezTo>
                      <a:pt x="363413" y="315754"/>
                      <a:pt x="364365" y="314801"/>
                      <a:pt x="364365" y="313849"/>
                    </a:cubicBezTo>
                    <a:cubicBezTo>
                      <a:pt x="365318" y="311944"/>
                      <a:pt x="365318" y="310991"/>
                      <a:pt x="364365" y="309086"/>
                    </a:cubicBezTo>
                    <a:cubicBezTo>
                      <a:pt x="363413" y="303371"/>
                      <a:pt x="364365" y="298609"/>
                      <a:pt x="365318" y="292894"/>
                    </a:cubicBezTo>
                    <a:cubicBezTo>
                      <a:pt x="366270" y="287179"/>
                      <a:pt x="369128" y="281464"/>
                      <a:pt x="372938" y="276701"/>
                    </a:cubicBezTo>
                    <a:cubicBezTo>
                      <a:pt x="376748" y="272891"/>
                      <a:pt x="382463" y="272891"/>
                      <a:pt x="385320" y="276701"/>
                    </a:cubicBezTo>
                    <a:cubicBezTo>
                      <a:pt x="387225" y="278606"/>
                      <a:pt x="388178" y="282416"/>
                      <a:pt x="388178" y="285274"/>
                    </a:cubicBezTo>
                    <a:cubicBezTo>
                      <a:pt x="387225" y="302419"/>
                      <a:pt x="387225" y="318611"/>
                      <a:pt x="387225" y="334804"/>
                    </a:cubicBezTo>
                    <a:lnTo>
                      <a:pt x="446280" y="355759"/>
                    </a:lnTo>
                    <a:lnTo>
                      <a:pt x="455805" y="350996"/>
                    </a:lnTo>
                    <a:lnTo>
                      <a:pt x="470093" y="339566"/>
                    </a:lnTo>
                    <a:cubicBezTo>
                      <a:pt x="481523" y="330041"/>
                      <a:pt x="492000" y="320516"/>
                      <a:pt x="501525" y="309086"/>
                    </a:cubicBezTo>
                    <a:cubicBezTo>
                      <a:pt x="507240" y="301466"/>
                      <a:pt x="512955" y="292894"/>
                      <a:pt x="516765" y="283369"/>
                    </a:cubicBezTo>
                    <a:cubicBezTo>
                      <a:pt x="517718" y="282416"/>
                      <a:pt x="517718" y="282416"/>
                      <a:pt x="517718" y="281464"/>
                    </a:cubicBezTo>
                    <a:cubicBezTo>
                      <a:pt x="520575" y="274796"/>
                      <a:pt x="521528" y="269081"/>
                      <a:pt x="522480" y="262414"/>
                    </a:cubicBezTo>
                    <a:cubicBezTo>
                      <a:pt x="522480" y="255746"/>
                      <a:pt x="521528" y="249079"/>
                      <a:pt x="518670" y="243364"/>
                    </a:cubicBezTo>
                    <a:cubicBezTo>
                      <a:pt x="516765" y="238601"/>
                      <a:pt x="512955" y="233839"/>
                      <a:pt x="511050" y="229076"/>
                    </a:cubicBezTo>
                    <a:cubicBezTo>
                      <a:pt x="506288" y="222409"/>
                      <a:pt x="502478" y="215741"/>
                      <a:pt x="496763" y="210979"/>
                    </a:cubicBezTo>
                    <a:cubicBezTo>
                      <a:pt x="491048" y="205264"/>
                      <a:pt x="484380" y="201454"/>
                      <a:pt x="476760" y="198596"/>
                    </a:cubicBezTo>
                    <a:cubicBezTo>
                      <a:pt x="471045" y="195739"/>
                      <a:pt x="464378" y="192881"/>
                      <a:pt x="457710" y="190024"/>
                    </a:cubicBezTo>
                    <a:cubicBezTo>
                      <a:pt x="453900" y="188119"/>
                      <a:pt x="450090" y="187166"/>
                      <a:pt x="448185" y="186214"/>
                    </a:cubicBezTo>
                    <a:cubicBezTo>
                      <a:pt x="443423" y="184309"/>
                      <a:pt x="438660" y="182404"/>
                      <a:pt x="433898" y="181451"/>
                    </a:cubicBezTo>
                    <a:cubicBezTo>
                      <a:pt x="426278" y="179546"/>
                      <a:pt x="418658" y="177641"/>
                      <a:pt x="411038" y="174784"/>
                    </a:cubicBezTo>
                    <a:lnTo>
                      <a:pt x="400560" y="171926"/>
                    </a:lnTo>
                    <a:cubicBezTo>
                      <a:pt x="395798" y="170021"/>
                      <a:pt x="391035" y="167164"/>
                      <a:pt x="387225" y="163354"/>
                    </a:cubicBezTo>
                    <a:cubicBezTo>
                      <a:pt x="384368" y="160496"/>
                      <a:pt x="383415" y="156686"/>
                      <a:pt x="385320" y="153829"/>
                    </a:cubicBezTo>
                    <a:cubicBezTo>
                      <a:pt x="387225" y="149066"/>
                      <a:pt x="391035" y="146209"/>
                      <a:pt x="395798" y="145256"/>
                    </a:cubicBezTo>
                    <a:cubicBezTo>
                      <a:pt x="400560" y="144304"/>
                      <a:pt x="406275" y="143351"/>
                      <a:pt x="411038" y="144304"/>
                    </a:cubicBezTo>
                    <a:cubicBezTo>
                      <a:pt x="416753" y="145256"/>
                      <a:pt x="422468" y="146209"/>
                      <a:pt x="428183" y="148114"/>
                    </a:cubicBezTo>
                    <a:lnTo>
                      <a:pt x="467235" y="131921"/>
                    </a:lnTo>
                    <a:lnTo>
                      <a:pt x="464378" y="123349"/>
                    </a:lnTo>
                    <a:cubicBezTo>
                      <a:pt x="461520" y="113824"/>
                      <a:pt x="459615" y="104299"/>
                      <a:pt x="459615" y="93821"/>
                    </a:cubicBezTo>
                    <a:cubicBezTo>
                      <a:pt x="459615" y="90011"/>
                      <a:pt x="462473" y="87154"/>
                      <a:pt x="465330" y="85249"/>
                    </a:cubicBezTo>
                    <a:cubicBezTo>
                      <a:pt x="468188" y="84296"/>
                      <a:pt x="471045" y="84296"/>
                      <a:pt x="473903" y="85249"/>
                    </a:cubicBezTo>
                    <a:cubicBezTo>
                      <a:pt x="476760" y="86201"/>
                      <a:pt x="479618" y="88106"/>
                      <a:pt x="480570" y="90964"/>
                    </a:cubicBezTo>
                    <a:cubicBezTo>
                      <a:pt x="482475" y="94774"/>
                      <a:pt x="483428" y="98584"/>
                      <a:pt x="484380" y="101441"/>
                    </a:cubicBezTo>
                    <a:cubicBezTo>
                      <a:pt x="485333" y="106204"/>
                      <a:pt x="487238" y="110966"/>
                      <a:pt x="490095" y="114776"/>
                    </a:cubicBezTo>
                    <a:cubicBezTo>
                      <a:pt x="492000" y="118586"/>
                      <a:pt x="494858" y="122396"/>
                      <a:pt x="496763" y="126206"/>
                    </a:cubicBezTo>
                    <a:cubicBezTo>
                      <a:pt x="498668" y="128111"/>
                      <a:pt x="500573" y="130969"/>
                      <a:pt x="501525" y="132874"/>
                    </a:cubicBezTo>
                    <a:lnTo>
                      <a:pt x="505335" y="132874"/>
                    </a:lnTo>
                    <a:lnTo>
                      <a:pt x="512003" y="133826"/>
                    </a:lnTo>
                    <a:lnTo>
                      <a:pt x="530100" y="138589"/>
                    </a:lnTo>
                    <a:lnTo>
                      <a:pt x="548198" y="144304"/>
                    </a:lnTo>
                    <a:lnTo>
                      <a:pt x="570105" y="150019"/>
                    </a:lnTo>
                    <a:cubicBezTo>
                      <a:pt x="576773" y="151924"/>
                      <a:pt x="584393" y="152876"/>
                      <a:pt x="591060" y="151924"/>
                    </a:cubicBezTo>
                    <a:lnTo>
                      <a:pt x="594870" y="148114"/>
                    </a:lnTo>
                    <a:cubicBezTo>
                      <a:pt x="596775" y="146209"/>
                      <a:pt x="597728" y="143351"/>
                      <a:pt x="598680" y="141446"/>
                    </a:cubicBezTo>
                    <a:cubicBezTo>
                      <a:pt x="598680" y="140494"/>
                      <a:pt x="599633" y="140494"/>
                      <a:pt x="599633" y="140494"/>
                    </a:cubicBezTo>
                    <a:cubicBezTo>
                      <a:pt x="600585" y="137636"/>
                      <a:pt x="601538" y="134779"/>
                      <a:pt x="601538" y="132874"/>
                    </a:cubicBezTo>
                    <a:cubicBezTo>
                      <a:pt x="602490" y="130016"/>
                      <a:pt x="602490" y="127159"/>
                      <a:pt x="602490" y="124301"/>
                    </a:cubicBezTo>
                    <a:cubicBezTo>
                      <a:pt x="602490" y="122396"/>
                      <a:pt x="602490" y="119539"/>
                      <a:pt x="601538" y="117634"/>
                    </a:cubicBezTo>
                    <a:cubicBezTo>
                      <a:pt x="601538" y="116681"/>
                      <a:pt x="600585" y="114776"/>
                      <a:pt x="599633" y="114776"/>
                    </a:cubicBezTo>
                    <a:cubicBezTo>
                      <a:pt x="598680" y="113824"/>
                      <a:pt x="596775" y="112871"/>
                      <a:pt x="595823" y="110966"/>
                    </a:cubicBezTo>
                    <a:cubicBezTo>
                      <a:pt x="594870" y="109061"/>
                      <a:pt x="592965" y="107156"/>
                      <a:pt x="591060" y="105251"/>
                    </a:cubicBezTo>
                    <a:cubicBezTo>
                      <a:pt x="589155" y="104299"/>
                      <a:pt x="587250" y="102394"/>
                      <a:pt x="585345" y="100489"/>
                    </a:cubicBezTo>
                    <a:lnTo>
                      <a:pt x="575820" y="92869"/>
                    </a:lnTo>
                    <a:lnTo>
                      <a:pt x="568200" y="87154"/>
                    </a:lnTo>
                    <a:cubicBezTo>
                      <a:pt x="564390" y="84296"/>
                      <a:pt x="560580" y="80486"/>
                      <a:pt x="558675" y="76676"/>
                    </a:cubicBezTo>
                    <a:cubicBezTo>
                      <a:pt x="556770" y="74771"/>
                      <a:pt x="555818" y="72866"/>
                      <a:pt x="554865" y="70009"/>
                    </a:cubicBezTo>
                    <a:cubicBezTo>
                      <a:pt x="553913" y="67151"/>
                      <a:pt x="553913" y="64294"/>
                      <a:pt x="555818" y="61436"/>
                    </a:cubicBezTo>
                    <a:cubicBezTo>
                      <a:pt x="559628" y="56674"/>
                      <a:pt x="565343" y="54769"/>
                      <a:pt x="571058" y="57626"/>
                    </a:cubicBezTo>
                    <a:cubicBezTo>
                      <a:pt x="582488" y="63341"/>
                      <a:pt x="592965" y="70961"/>
                      <a:pt x="602490" y="80486"/>
                    </a:cubicBezTo>
                    <a:cubicBezTo>
                      <a:pt x="603443" y="81439"/>
                      <a:pt x="604395" y="81439"/>
                      <a:pt x="605348" y="82391"/>
                    </a:cubicBezTo>
                    <a:cubicBezTo>
                      <a:pt x="606300" y="82391"/>
                      <a:pt x="606300" y="82391"/>
                      <a:pt x="607253" y="82391"/>
                    </a:cubicBezTo>
                    <a:cubicBezTo>
                      <a:pt x="612015" y="82391"/>
                      <a:pt x="617730" y="80486"/>
                      <a:pt x="619635" y="75724"/>
                    </a:cubicBezTo>
                    <a:cubicBezTo>
                      <a:pt x="620588" y="72866"/>
                      <a:pt x="622493" y="70961"/>
                      <a:pt x="623445" y="68104"/>
                    </a:cubicBezTo>
                    <a:cubicBezTo>
                      <a:pt x="623445" y="68104"/>
                      <a:pt x="623445" y="68104"/>
                      <a:pt x="623445" y="67151"/>
                    </a:cubicBezTo>
                    <a:cubicBezTo>
                      <a:pt x="624398" y="64294"/>
                      <a:pt x="624398" y="61436"/>
                      <a:pt x="624398" y="58579"/>
                    </a:cubicBezTo>
                    <a:cubicBezTo>
                      <a:pt x="624398" y="56674"/>
                      <a:pt x="623445" y="53816"/>
                      <a:pt x="621540" y="51911"/>
                    </a:cubicBezTo>
                    <a:cubicBezTo>
                      <a:pt x="619635" y="49054"/>
                      <a:pt x="617730" y="46196"/>
                      <a:pt x="614873" y="43339"/>
                    </a:cubicBezTo>
                    <a:cubicBezTo>
                      <a:pt x="610110" y="38576"/>
                      <a:pt x="606300" y="32861"/>
                      <a:pt x="604395" y="27146"/>
                    </a:cubicBezTo>
                    <a:cubicBezTo>
                      <a:pt x="603443" y="24289"/>
                      <a:pt x="603443" y="22384"/>
                      <a:pt x="604395" y="20479"/>
                    </a:cubicBezTo>
                    <a:cubicBezTo>
                      <a:pt x="605348" y="18574"/>
                      <a:pt x="607253" y="16669"/>
                      <a:pt x="609158" y="15716"/>
                    </a:cubicBezTo>
                    <a:cubicBezTo>
                      <a:pt x="612015" y="7144"/>
                      <a:pt x="612968" y="7144"/>
                      <a:pt x="614873" y="7144"/>
                    </a:cubicBezTo>
                    <a:lnTo>
                      <a:pt x="614873" y="7144"/>
                    </a:lnTo>
                    <a:lnTo>
                      <a:pt x="614873" y="7144"/>
                    </a:lnTo>
                    <a:close/>
                    <a:moveTo>
                      <a:pt x="496763" y="160496"/>
                    </a:moveTo>
                    <a:cubicBezTo>
                      <a:pt x="494858" y="160496"/>
                      <a:pt x="493905" y="161449"/>
                      <a:pt x="492000" y="162401"/>
                    </a:cubicBezTo>
                    <a:cubicBezTo>
                      <a:pt x="491048" y="163354"/>
                      <a:pt x="491048" y="164306"/>
                      <a:pt x="492000" y="166211"/>
                    </a:cubicBezTo>
                    <a:cubicBezTo>
                      <a:pt x="496763" y="170974"/>
                      <a:pt x="501525" y="174784"/>
                      <a:pt x="506288" y="178594"/>
                    </a:cubicBezTo>
                    <a:cubicBezTo>
                      <a:pt x="511050" y="182404"/>
                      <a:pt x="515813" y="184309"/>
                      <a:pt x="520575" y="187166"/>
                    </a:cubicBezTo>
                    <a:cubicBezTo>
                      <a:pt x="522480" y="188119"/>
                      <a:pt x="523433" y="189071"/>
                      <a:pt x="525338" y="188119"/>
                    </a:cubicBezTo>
                    <a:cubicBezTo>
                      <a:pt x="531053" y="188119"/>
                      <a:pt x="536768" y="189071"/>
                      <a:pt x="542483" y="189071"/>
                    </a:cubicBezTo>
                    <a:cubicBezTo>
                      <a:pt x="544388" y="189071"/>
                      <a:pt x="546293" y="189071"/>
                      <a:pt x="547245" y="189071"/>
                    </a:cubicBezTo>
                    <a:cubicBezTo>
                      <a:pt x="547245" y="189071"/>
                      <a:pt x="547245" y="190024"/>
                      <a:pt x="547245" y="190024"/>
                    </a:cubicBezTo>
                    <a:cubicBezTo>
                      <a:pt x="550103" y="190976"/>
                      <a:pt x="552960" y="192881"/>
                      <a:pt x="554865" y="195739"/>
                    </a:cubicBezTo>
                    <a:cubicBezTo>
                      <a:pt x="555818" y="196691"/>
                      <a:pt x="556770" y="197644"/>
                      <a:pt x="555818" y="198596"/>
                    </a:cubicBezTo>
                    <a:cubicBezTo>
                      <a:pt x="555818" y="199549"/>
                      <a:pt x="553913" y="201454"/>
                      <a:pt x="553913" y="203359"/>
                    </a:cubicBezTo>
                    <a:cubicBezTo>
                      <a:pt x="553913" y="203359"/>
                      <a:pt x="553913" y="204311"/>
                      <a:pt x="553913" y="204311"/>
                    </a:cubicBezTo>
                    <a:cubicBezTo>
                      <a:pt x="552960" y="207169"/>
                      <a:pt x="551055" y="209074"/>
                      <a:pt x="550103" y="211931"/>
                    </a:cubicBezTo>
                    <a:cubicBezTo>
                      <a:pt x="549150" y="213836"/>
                      <a:pt x="549150" y="215741"/>
                      <a:pt x="548198" y="217646"/>
                    </a:cubicBezTo>
                    <a:lnTo>
                      <a:pt x="548198" y="221456"/>
                    </a:lnTo>
                    <a:cubicBezTo>
                      <a:pt x="549150" y="224314"/>
                      <a:pt x="550103" y="228124"/>
                      <a:pt x="551055" y="230981"/>
                    </a:cubicBezTo>
                    <a:cubicBezTo>
                      <a:pt x="552960" y="239554"/>
                      <a:pt x="553913" y="249079"/>
                      <a:pt x="552960" y="258604"/>
                    </a:cubicBezTo>
                    <a:lnTo>
                      <a:pt x="552960" y="264319"/>
                    </a:lnTo>
                    <a:cubicBezTo>
                      <a:pt x="558675" y="262414"/>
                      <a:pt x="564390" y="260509"/>
                      <a:pt x="570105" y="258604"/>
                    </a:cubicBezTo>
                    <a:cubicBezTo>
                      <a:pt x="572963" y="256699"/>
                      <a:pt x="575820" y="254794"/>
                      <a:pt x="579630" y="253841"/>
                    </a:cubicBezTo>
                    <a:cubicBezTo>
                      <a:pt x="582488" y="252889"/>
                      <a:pt x="584393" y="252889"/>
                      <a:pt x="587250" y="253841"/>
                    </a:cubicBezTo>
                    <a:cubicBezTo>
                      <a:pt x="591060" y="254794"/>
                      <a:pt x="593918" y="258604"/>
                      <a:pt x="592965" y="263366"/>
                    </a:cubicBezTo>
                    <a:cubicBezTo>
                      <a:pt x="592965" y="265271"/>
                      <a:pt x="592013" y="267176"/>
                      <a:pt x="592013" y="269081"/>
                    </a:cubicBezTo>
                    <a:cubicBezTo>
                      <a:pt x="591060" y="270034"/>
                      <a:pt x="591060" y="270986"/>
                      <a:pt x="590108" y="271939"/>
                    </a:cubicBezTo>
                    <a:cubicBezTo>
                      <a:pt x="588203" y="274796"/>
                      <a:pt x="586298" y="276701"/>
                      <a:pt x="583440" y="278606"/>
                    </a:cubicBezTo>
                    <a:cubicBezTo>
                      <a:pt x="577725" y="282416"/>
                      <a:pt x="572010" y="286226"/>
                      <a:pt x="566295" y="290036"/>
                    </a:cubicBezTo>
                    <a:cubicBezTo>
                      <a:pt x="560580" y="293846"/>
                      <a:pt x="554865" y="297656"/>
                      <a:pt x="549150" y="302419"/>
                    </a:cubicBezTo>
                    <a:cubicBezTo>
                      <a:pt x="538673" y="310039"/>
                      <a:pt x="529148" y="319564"/>
                      <a:pt x="520575" y="328136"/>
                    </a:cubicBezTo>
                    <a:cubicBezTo>
                      <a:pt x="514860" y="333851"/>
                      <a:pt x="509145" y="340519"/>
                      <a:pt x="502478" y="346234"/>
                    </a:cubicBezTo>
                    <a:lnTo>
                      <a:pt x="494858" y="353854"/>
                    </a:lnTo>
                    <a:lnTo>
                      <a:pt x="495810" y="353854"/>
                    </a:lnTo>
                    <a:cubicBezTo>
                      <a:pt x="518670" y="350044"/>
                      <a:pt x="541530" y="345281"/>
                      <a:pt x="562485" y="337661"/>
                    </a:cubicBezTo>
                    <a:cubicBezTo>
                      <a:pt x="571058" y="334804"/>
                      <a:pt x="577725" y="330994"/>
                      <a:pt x="585345" y="327184"/>
                    </a:cubicBezTo>
                    <a:cubicBezTo>
                      <a:pt x="593918" y="321469"/>
                      <a:pt x="603443" y="315754"/>
                      <a:pt x="610110" y="308134"/>
                    </a:cubicBezTo>
                    <a:cubicBezTo>
                      <a:pt x="615825" y="302419"/>
                      <a:pt x="620588" y="295751"/>
                      <a:pt x="624398" y="289084"/>
                    </a:cubicBezTo>
                    <a:cubicBezTo>
                      <a:pt x="625350" y="287179"/>
                      <a:pt x="626303" y="284321"/>
                      <a:pt x="628208" y="282416"/>
                    </a:cubicBezTo>
                    <a:cubicBezTo>
                      <a:pt x="631065" y="274796"/>
                      <a:pt x="632018" y="266224"/>
                      <a:pt x="632970" y="257651"/>
                    </a:cubicBezTo>
                    <a:cubicBezTo>
                      <a:pt x="632970" y="241459"/>
                      <a:pt x="628208" y="226219"/>
                      <a:pt x="618683" y="212884"/>
                    </a:cubicBezTo>
                    <a:cubicBezTo>
                      <a:pt x="612015" y="204311"/>
                      <a:pt x="604395" y="196691"/>
                      <a:pt x="595823" y="190976"/>
                    </a:cubicBezTo>
                    <a:cubicBezTo>
                      <a:pt x="586298" y="185261"/>
                      <a:pt x="575820" y="179546"/>
                      <a:pt x="565343" y="175736"/>
                    </a:cubicBezTo>
                    <a:cubicBezTo>
                      <a:pt x="562485" y="174784"/>
                      <a:pt x="558675" y="173831"/>
                      <a:pt x="555818" y="171926"/>
                    </a:cubicBezTo>
                    <a:cubicBezTo>
                      <a:pt x="546293" y="169069"/>
                      <a:pt x="537720" y="166211"/>
                      <a:pt x="528195" y="163354"/>
                    </a:cubicBezTo>
                    <a:cubicBezTo>
                      <a:pt x="526290" y="163354"/>
                      <a:pt x="524385" y="162401"/>
                      <a:pt x="523433" y="162401"/>
                    </a:cubicBezTo>
                    <a:cubicBezTo>
                      <a:pt x="521528" y="162401"/>
                      <a:pt x="520575" y="162401"/>
                      <a:pt x="518670" y="161449"/>
                    </a:cubicBezTo>
                    <a:cubicBezTo>
                      <a:pt x="517718" y="161449"/>
                      <a:pt x="515813" y="161449"/>
                      <a:pt x="514860" y="161449"/>
                    </a:cubicBezTo>
                    <a:cubicBezTo>
                      <a:pt x="511050" y="161449"/>
                      <a:pt x="507240" y="160496"/>
                      <a:pt x="502478" y="159544"/>
                    </a:cubicBezTo>
                    <a:cubicBezTo>
                      <a:pt x="500573" y="159544"/>
                      <a:pt x="498668" y="160496"/>
                      <a:pt x="496763" y="160496"/>
                    </a:cubicBezTo>
                    <a:lnTo>
                      <a:pt x="496763" y="160496"/>
                    </a:lnTo>
                    <a:close/>
                    <a:moveTo>
                      <a:pt x="273878" y="309086"/>
                    </a:moveTo>
                    <a:cubicBezTo>
                      <a:pt x="271973" y="318611"/>
                      <a:pt x="271973" y="328136"/>
                      <a:pt x="272925" y="336709"/>
                    </a:cubicBezTo>
                    <a:cubicBezTo>
                      <a:pt x="274830" y="348139"/>
                      <a:pt x="280545" y="358616"/>
                      <a:pt x="289118" y="367189"/>
                    </a:cubicBezTo>
                    <a:cubicBezTo>
                      <a:pt x="291023" y="369094"/>
                      <a:pt x="293880" y="371951"/>
                      <a:pt x="296738" y="373856"/>
                    </a:cubicBezTo>
                    <a:cubicBezTo>
                      <a:pt x="298643" y="374809"/>
                      <a:pt x="301500" y="375761"/>
                      <a:pt x="303405" y="376714"/>
                    </a:cubicBezTo>
                    <a:cubicBezTo>
                      <a:pt x="304358" y="376714"/>
                      <a:pt x="306263" y="377666"/>
                      <a:pt x="307215" y="378619"/>
                    </a:cubicBezTo>
                    <a:cubicBezTo>
                      <a:pt x="308168" y="378619"/>
                      <a:pt x="308168" y="379571"/>
                      <a:pt x="309120" y="379571"/>
                    </a:cubicBezTo>
                    <a:lnTo>
                      <a:pt x="312930" y="379571"/>
                    </a:lnTo>
                    <a:cubicBezTo>
                      <a:pt x="312930" y="375761"/>
                      <a:pt x="312930" y="372904"/>
                      <a:pt x="311025" y="369094"/>
                    </a:cubicBezTo>
                    <a:cubicBezTo>
                      <a:pt x="308168" y="364331"/>
                      <a:pt x="306263" y="359569"/>
                      <a:pt x="306263" y="353854"/>
                    </a:cubicBezTo>
                    <a:cubicBezTo>
                      <a:pt x="306263" y="352901"/>
                      <a:pt x="306263" y="350996"/>
                      <a:pt x="306263" y="350044"/>
                    </a:cubicBezTo>
                    <a:cubicBezTo>
                      <a:pt x="307215" y="348139"/>
                      <a:pt x="309120" y="347186"/>
                      <a:pt x="311025" y="346234"/>
                    </a:cubicBezTo>
                    <a:cubicBezTo>
                      <a:pt x="313883" y="345281"/>
                      <a:pt x="317693" y="345281"/>
                      <a:pt x="321503" y="346234"/>
                    </a:cubicBezTo>
                    <a:cubicBezTo>
                      <a:pt x="322455" y="346234"/>
                      <a:pt x="323408" y="347186"/>
                      <a:pt x="324360" y="347186"/>
                    </a:cubicBezTo>
                    <a:cubicBezTo>
                      <a:pt x="328170" y="349091"/>
                      <a:pt x="331980" y="351949"/>
                      <a:pt x="335790" y="355759"/>
                    </a:cubicBezTo>
                    <a:cubicBezTo>
                      <a:pt x="339600" y="359569"/>
                      <a:pt x="343410" y="362426"/>
                      <a:pt x="346268" y="367189"/>
                    </a:cubicBezTo>
                    <a:cubicBezTo>
                      <a:pt x="349125" y="370999"/>
                      <a:pt x="351030" y="374809"/>
                      <a:pt x="353888" y="378619"/>
                    </a:cubicBezTo>
                    <a:lnTo>
                      <a:pt x="356745" y="382429"/>
                    </a:lnTo>
                    <a:cubicBezTo>
                      <a:pt x="370080" y="389096"/>
                      <a:pt x="384368" y="393859"/>
                      <a:pt x="398655" y="396716"/>
                    </a:cubicBezTo>
                    <a:lnTo>
                      <a:pt x="409133" y="398621"/>
                    </a:lnTo>
                    <a:lnTo>
                      <a:pt x="415800" y="399574"/>
                    </a:lnTo>
                    <a:cubicBezTo>
                      <a:pt x="415800" y="396716"/>
                      <a:pt x="415800" y="392906"/>
                      <a:pt x="414848" y="390049"/>
                    </a:cubicBezTo>
                    <a:cubicBezTo>
                      <a:pt x="413895" y="386239"/>
                      <a:pt x="412943" y="382429"/>
                      <a:pt x="410085" y="378619"/>
                    </a:cubicBezTo>
                    <a:cubicBezTo>
                      <a:pt x="407228" y="373856"/>
                      <a:pt x="402465" y="370046"/>
                      <a:pt x="398655" y="366236"/>
                    </a:cubicBezTo>
                    <a:cubicBezTo>
                      <a:pt x="392940" y="361474"/>
                      <a:pt x="387225" y="356711"/>
                      <a:pt x="380558" y="353854"/>
                    </a:cubicBezTo>
                    <a:cubicBezTo>
                      <a:pt x="369128" y="347186"/>
                      <a:pt x="356745" y="341471"/>
                      <a:pt x="343410" y="334804"/>
                    </a:cubicBezTo>
                    <a:lnTo>
                      <a:pt x="335790" y="331946"/>
                    </a:lnTo>
                    <a:lnTo>
                      <a:pt x="330075" y="329089"/>
                    </a:lnTo>
                    <a:lnTo>
                      <a:pt x="317693" y="324326"/>
                    </a:lnTo>
                    <a:lnTo>
                      <a:pt x="289118" y="313849"/>
                    </a:lnTo>
                    <a:lnTo>
                      <a:pt x="273878" y="309086"/>
                    </a:lnTo>
                    <a:lnTo>
                      <a:pt x="273878" y="309086"/>
                    </a:lnTo>
                    <a:lnTo>
                      <a:pt x="273878" y="30908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87755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27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+mn-ea"/>
                  <a:cs typeface="+mn-cs"/>
                </a:endParaRPr>
              </a:p>
            </p:txBody>
          </p:sp>
          <p:sp>
            <p:nvSpPr>
              <p:cNvPr id="28" name="Freeform: Shape 21">
                <a:extLst>
                  <a:ext uri="{FF2B5EF4-FFF2-40B4-BE49-F238E27FC236}">
                    <a16:creationId xmlns:a16="http://schemas.microsoft.com/office/drawing/2014/main" id="{5BC2EA08-3975-4C3D-B4EB-7683F93AFCE3}"/>
                  </a:ext>
                </a:extLst>
              </p:cNvPr>
              <p:cNvSpPr/>
              <p:nvPr/>
            </p:nvSpPr>
            <p:spPr>
              <a:xfrm>
                <a:off x="2171914" y="3208066"/>
                <a:ext cx="1514475" cy="1066800"/>
              </a:xfrm>
              <a:custGeom>
                <a:avLst/>
                <a:gdLst>
                  <a:gd name="connsiteX0" fmla="*/ 493951 w 1514475"/>
                  <a:gd name="connsiteY0" fmla="*/ 10001 h 1066800"/>
                  <a:gd name="connsiteX1" fmla="*/ 500619 w 1514475"/>
                  <a:gd name="connsiteY1" fmla="*/ 10001 h 1066800"/>
                  <a:gd name="connsiteX2" fmla="*/ 505381 w 1514475"/>
                  <a:gd name="connsiteY2" fmla="*/ 12859 h 1066800"/>
                  <a:gd name="connsiteX3" fmla="*/ 511096 w 1514475"/>
                  <a:gd name="connsiteY3" fmla="*/ 17621 h 1066800"/>
                  <a:gd name="connsiteX4" fmla="*/ 524431 w 1514475"/>
                  <a:gd name="connsiteY4" fmla="*/ 26194 h 1066800"/>
                  <a:gd name="connsiteX5" fmla="*/ 526336 w 1514475"/>
                  <a:gd name="connsiteY5" fmla="*/ 25241 h 1066800"/>
                  <a:gd name="connsiteX6" fmla="*/ 527289 w 1514475"/>
                  <a:gd name="connsiteY6" fmla="*/ 24289 h 1066800"/>
                  <a:gd name="connsiteX7" fmla="*/ 529194 w 1514475"/>
                  <a:gd name="connsiteY7" fmla="*/ 20479 h 1066800"/>
                  <a:gd name="connsiteX8" fmla="*/ 541576 w 1514475"/>
                  <a:gd name="connsiteY8" fmla="*/ 8096 h 1066800"/>
                  <a:gd name="connsiteX9" fmla="*/ 549196 w 1514475"/>
                  <a:gd name="connsiteY9" fmla="*/ 7144 h 1066800"/>
                  <a:gd name="connsiteX10" fmla="*/ 551101 w 1514475"/>
                  <a:gd name="connsiteY10" fmla="*/ 7144 h 1066800"/>
                  <a:gd name="connsiteX11" fmla="*/ 557769 w 1514475"/>
                  <a:gd name="connsiteY11" fmla="*/ 11906 h 1066800"/>
                  <a:gd name="connsiteX12" fmla="*/ 559674 w 1514475"/>
                  <a:gd name="connsiteY12" fmla="*/ 15716 h 1066800"/>
                  <a:gd name="connsiteX13" fmla="*/ 558721 w 1514475"/>
                  <a:gd name="connsiteY13" fmla="*/ 25241 h 1066800"/>
                  <a:gd name="connsiteX14" fmla="*/ 553959 w 1514475"/>
                  <a:gd name="connsiteY14" fmla="*/ 42386 h 1066800"/>
                  <a:gd name="connsiteX15" fmla="*/ 553006 w 1514475"/>
                  <a:gd name="connsiteY15" fmla="*/ 44291 h 1066800"/>
                  <a:gd name="connsiteX16" fmla="*/ 551101 w 1514475"/>
                  <a:gd name="connsiteY16" fmla="*/ 52864 h 1066800"/>
                  <a:gd name="connsiteX17" fmla="*/ 538719 w 1514475"/>
                  <a:gd name="connsiteY17" fmla="*/ 75724 h 1066800"/>
                  <a:gd name="connsiteX18" fmla="*/ 528242 w 1514475"/>
                  <a:gd name="connsiteY18" fmla="*/ 98584 h 1066800"/>
                  <a:gd name="connsiteX19" fmla="*/ 527289 w 1514475"/>
                  <a:gd name="connsiteY19" fmla="*/ 107156 h 1066800"/>
                  <a:gd name="connsiteX20" fmla="*/ 526336 w 1514475"/>
                  <a:gd name="connsiteY20" fmla="*/ 116681 h 1066800"/>
                  <a:gd name="connsiteX21" fmla="*/ 527289 w 1514475"/>
                  <a:gd name="connsiteY21" fmla="*/ 135731 h 1066800"/>
                  <a:gd name="connsiteX22" fmla="*/ 527289 w 1514475"/>
                  <a:gd name="connsiteY22" fmla="*/ 136684 h 1066800"/>
                  <a:gd name="connsiteX23" fmla="*/ 527289 w 1514475"/>
                  <a:gd name="connsiteY23" fmla="*/ 149066 h 1066800"/>
                  <a:gd name="connsiteX24" fmla="*/ 526336 w 1514475"/>
                  <a:gd name="connsiteY24" fmla="*/ 153829 h 1066800"/>
                  <a:gd name="connsiteX25" fmla="*/ 524431 w 1514475"/>
                  <a:gd name="connsiteY25" fmla="*/ 163354 h 1066800"/>
                  <a:gd name="connsiteX26" fmla="*/ 523479 w 1514475"/>
                  <a:gd name="connsiteY26" fmla="*/ 167164 h 1066800"/>
                  <a:gd name="connsiteX27" fmla="*/ 529194 w 1514475"/>
                  <a:gd name="connsiteY27" fmla="*/ 172879 h 1066800"/>
                  <a:gd name="connsiteX28" fmla="*/ 533956 w 1514475"/>
                  <a:gd name="connsiteY28" fmla="*/ 177641 h 1066800"/>
                  <a:gd name="connsiteX29" fmla="*/ 540624 w 1514475"/>
                  <a:gd name="connsiteY29" fmla="*/ 183356 h 1066800"/>
                  <a:gd name="connsiteX30" fmla="*/ 549196 w 1514475"/>
                  <a:gd name="connsiteY30" fmla="*/ 189071 h 1066800"/>
                  <a:gd name="connsiteX31" fmla="*/ 553959 w 1514475"/>
                  <a:gd name="connsiteY31" fmla="*/ 190976 h 1066800"/>
                  <a:gd name="connsiteX32" fmla="*/ 560626 w 1514475"/>
                  <a:gd name="connsiteY32" fmla="*/ 190976 h 1066800"/>
                  <a:gd name="connsiteX33" fmla="*/ 570151 w 1514475"/>
                  <a:gd name="connsiteY33" fmla="*/ 188119 h 1066800"/>
                  <a:gd name="connsiteX34" fmla="*/ 579676 w 1514475"/>
                  <a:gd name="connsiteY34" fmla="*/ 184309 h 1066800"/>
                  <a:gd name="connsiteX35" fmla="*/ 582534 w 1514475"/>
                  <a:gd name="connsiteY35" fmla="*/ 183356 h 1066800"/>
                  <a:gd name="connsiteX36" fmla="*/ 586344 w 1514475"/>
                  <a:gd name="connsiteY36" fmla="*/ 180499 h 1066800"/>
                  <a:gd name="connsiteX37" fmla="*/ 590154 w 1514475"/>
                  <a:gd name="connsiteY37" fmla="*/ 177641 h 1066800"/>
                  <a:gd name="connsiteX38" fmla="*/ 595869 w 1514475"/>
                  <a:gd name="connsiteY38" fmla="*/ 172879 h 1066800"/>
                  <a:gd name="connsiteX39" fmla="*/ 600631 w 1514475"/>
                  <a:gd name="connsiteY39" fmla="*/ 168116 h 1066800"/>
                  <a:gd name="connsiteX40" fmla="*/ 604442 w 1514475"/>
                  <a:gd name="connsiteY40" fmla="*/ 164306 h 1066800"/>
                  <a:gd name="connsiteX41" fmla="*/ 611109 w 1514475"/>
                  <a:gd name="connsiteY41" fmla="*/ 155734 h 1066800"/>
                  <a:gd name="connsiteX42" fmla="*/ 622539 w 1514475"/>
                  <a:gd name="connsiteY42" fmla="*/ 131921 h 1066800"/>
                  <a:gd name="connsiteX43" fmla="*/ 624444 w 1514475"/>
                  <a:gd name="connsiteY43" fmla="*/ 127159 h 1066800"/>
                  <a:gd name="connsiteX44" fmla="*/ 625396 w 1514475"/>
                  <a:gd name="connsiteY44" fmla="*/ 121444 h 1066800"/>
                  <a:gd name="connsiteX45" fmla="*/ 629206 w 1514475"/>
                  <a:gd name="connsiteY45" fmla="*/ 103346 h 1066800"/>
                  <a:gd name="connsiteX46" fmla="*/ 633017 w 1514475"/>
                  <a:gd name="connsiteY46" fmla="*/ 96679 h 1066800"/>
                  <a:gd name="connsiteX47" fmla="*/ 634921 w 1514475"/>
                  <a:gd name="connsiteY47" fmla="*/ 92869 h 1066800"/>
                  <a:gd name="connsiteX48" fmla="*/ 639684 w 1514475"/>
                  <a:gd name="connsiteY48" fmla="*/ 87154 h 1066800"/>
                  <a:gd name="connsiteX49" fmla="*/ 644446 w 1514475"/>
                  <a:gd name="connsiteY49" fmla="*/ 82391 h 1066800"/>
                  <a:gd name="connsiteX50" fmla="*/ 650161 w 1514475"/>
                  <a:gd name="connsiteY50" fmla="*/ 83344 h 1066800"/>
                  <a:gd name="connsiteX51" fmla="*/ 652067 w 1514475"/>
                  <a:gd name="connsiteY51" fmla="*/ 83344 h 1066800"/>
                  <a:gd name="connsiteX52" fmla="*/ 653971 w 1514475"/>
                  <a:gd name="connsiteY52" fmla="*/ 84296 h 1066800"/>
                  <a:gd name="connsiteX53" fmla="*/ 655876 w 1514475"/>
                  <a:gd name="connsiteY53" fmla="*/ 86201 h 1066800"/>
                  <a:gd name="connsiteX54" fmla="*/ 657781 w 1514475"/>
                  <a:gd name="connsiteY54" fmla="*/ 89059 h 1066800"/>
                  <a:gd name="connsiteX55" fmla="*/ 658734 w 1514475"/>
                  <a:gd name="connsiteY55" fmla="*/ 90964 h 1066800"/>
                  <a:gd name="connsiteX56" fmla="*/ 657781 w 1514475"/>
                  <a:gd name="connsiteY56" fmla="*/ 97631 h 1066800"/>
                  <a:gd name="connsiteX57" fmla="*/ 653019 w 1514475"/>
                  <a:gd name="connsiteY57" fmla="*/ 125254 h 1066800"/>
                  <a:gd name="connsiteX58" fmla="*/ 650161 w 1514475"/>
                  <a:gd name="connsiteY58" fmla="*/ 135731 h 1066800"/>
                  <a:gd name="connsiteX59" fmla="*/ 651114 w 1514475"/>
                  <a:gd name="connsiteY59" fmla="*/ 145256 h 1066800"/>
                  <a:gd name="connsiteX60" fmla="*/ 653019 w 1514475"/>
                  <a:gd name="connsiteY60" fmla="*/ 148114 h 1066800"/>
                  <a:gd name="connsiteX61" fmla="*/ 656829 w 1514475"/>
                  <a:gd name="connsiteY61" fmla="*/ 150019 h 1066800"/>
                  <a:gd name="connsiteX62" fmla="*/ 661592 w 1514475"/>
                  <a:gd name="connsiteY62" fmla="*/ 150019 h 1066800"/>
                  <a:gd name="connsiteX63" fmla="*/ 669211 w 1514475"/>
                  <a:gd name="connsiteY63" fmla="*/ 149066 h 1066800"/>
                  <a:gd name="connsiteX64" fmla="*/ 677784 w 1514475"/>
                  <a:gd name="connsiteY64" fmla="*/ 145256 h 1066800"/>
                  <a:gd name="connsiteX65" fmla="*/ 695881 w 1514475"/>
                  <a:gd name="connsiteY65" fmla="*/ 134779 h 1066800"/>
                  <a:gd name="connsiteX66" fmla="*/ 711121 w 1514475"/>
                  <a:gd name="connsiteY66" fmla="*/ 126206 h 1066800"/>
                  <a:gd name="connsiteX67" fmla="*/ 714931 w 1514475"/>
                  <a:gd name="connsiteY67" fmla="*/ 125254 h 1066800"/>
                  <a:gd name="connsiteX68" fmla="*/ 717789 w 1514475"/>
                  <a:gd name="connsiteY68" fmla="*/ 127159 h 1066800"/>
                  <a:gd name="connsiteX69" fmla="*/ 719694 w 1514475"/>
                  <a:gd name="connsiteY69" fmla="*/ 129064 h 1066800"/>
                  <a:gd name="connsiteX70" fmla="*/ 720646 w 1514475"/>
                  <a:gd name="connsiteY70" fmla="*/ 133826 h 1066800"/>
                  <a:gd name="connsiteX71" fmla="*/ 719694 w 1514475"/>
                  <a:gd name="connsiteY71" fmla="*/ 138589 h 1066800"/>
                  <a:gd name="connsiteX72" fmla="*/ 719694 w 1514475"/>
                  <a:gd name="connsiteY72" fmla="*/ 139541 h 1066800"/>
                  <a:gd name="connsiteX73" fmla="*/ 718742 w 1514475"/>
                  <a:gd name="connsiteY73" fmla="*/ 144304 h 1066800"/>
                  <a:gd name="connsiteX74" fmla="*/ 718742 w 1514475"/>
                  <a:gd name="connsiteY74" fmla="*/ 145256 h 1066800"/>
                  <a:gd name="connsiteX75" fmla="*/ 718742 w 1514475"/>
                  <a:gd name="connsiteY75" fmla="*/ 148114 h 1066800"/>
                  <a:gd name="connsiteX76" fmla="*/ 715884 w 1514475"/>
                  <a:gd name="connsiteY76" fmla="*/ 150971 h 1066800"/>
                  <a:gd name="connsiteX77" fmla="*/ 713026 w 1514475"/>
                  <a:gd name="connsiteY77" fmla="*/ 155734 h 1066800"/>
                  <a:gd name="connsiteX78" fmla="*/ 709217 w 1514475"/>
                  <a:gd name="connsiteY78" fmla="*/ 159544 h 1066800"/>
                  <a:gd name="connsiteX79" fmla="*/ 702549 w 1514475"/>
                  <a:gd name="connsiteY79" fmla="*/ 165259 h 1066800"/>
                  <a:gd name="connsiteX80" fmla="*/ 692071 w 1514475"/>
                  <a:gd name="connsiteY80" fmla="*/ 171926 h 1066800"/>
                  <a:gd name="connsiteX81" fmla="*/ 680642 w 1514475"/>
                  <a:gd name="connsiteY81" fmla="*/ 175736 h 1066800"/>
                  <a:gd name="connsiteX82" fmla="*/ 676831 w 1514475"/>
                  <a:gd name="connsiteY82" fmla="*/ 176689 h 1066800"/>
                  <a:gd name="connsiteX83" fmla="*/ 668259 w 1514475"/>
                  <a:gd name="connsiteY83" fmla="*/ 177641 h 1066800"/>
                  <a:gd name="connsiteX84" fmla="*/ 657781 w 1514475"/>
                  <a:gd name="connsiteY84" fmla="*/ 179546 h 1066800"/>
                  <a:gd name="connsiteX85" fmla="*/ 648256 w 1514475"/>
                  <a:gd name="connsiteY85" fmla="*/ 181451 h 1066800"/>
                  <a:gd name="connsiteX86" fmla="*/ 640636 w 1514475"/>
                  <a:gd name="connsiteY86" fmla="*/ 184309 h 1066800"/>
                  <a:gd name="connsiteX87" fmla="*/ 633017 w 1514475"/>
                  <a:gd name="connsiteY87" fmla="*/ 186214 h 1066800"/>
                  <a:gd name="connsiteX88" fmla="*/ 625396 w 1514475"/>
                  <a:gd name="connsiteY88" fmla="*/ 189071 h 1066800"/>
                  <a:gd name="connsiteX89" fmla="*/ 601584 w 1514475"/>
                  <a:gd name="connsiteY89" fmla="*/ 201454 h 1066800"/>
                  <a:gd name="connsiteX90" fmla="*/ 580629 w 1514475"/>
                  <a:gd name="connsiteY90" fmla="*/ 225266 h 1066800"/>
                  <a:gd name="connsiteX91" fmla="*/ 577771 w 1514475"/>
                  <a:gd name="connsiteY91" fmla="*/ 232886 h 1066800"/>
                  <a:gd name="connsiteX92" fmla="*/ 575867 w 1514475"/>
                  <a:gd name="connsiteY92" fmla="*/ 241459 h 1066800"/>
                  <a:gd name="connsiteX93" fmla="*/ 575867 w 1514475"/>
                  <a:gd name="connsiteY93" fmla="*/ 255746 h 1066800"/>
                  <a:gd name="connsiteX94" fmla="*/ 575867 w 1514475"/>
                  <a:gd name="connsiteY94" fmla="*/ 270034 h 1066800"/>
                  <a:gd name="connsiteX95" fmla="*/ 574914 w 1514475"/>
                  <a:gd name="connsiteY95" fmla="*/ 275749 h 1066800"/>
                  <a:gd name="connsiteX96" fmla="*/ 573009 w 1514475"/>
                  <a:gd name="connsiteY96" fmla="*/ 287179 h 1066800"/>
                  <a:gd name="connsiteX97" fmla="*/ 572056 w 1514475"/>
                  <a:gd name="connsiteY97" fmla="*/ 290036 h 1066800"/>
                  <a:gd name="connsiteX98" fmla="*/ 551101 w 1514475"/>
                  <a:gd name="connsiteY98" fmla="*/ 328136 h 1066800"/>
                  <a:gd name="connsiteX99" fmla="*/ 540624 w 1514475"/>
                  <a:gd name="connsiteY99" fmla="*/ 338614 h 1066800"/>
                  <a:gd name="connsiteX100" fmla="*/ 530146 w 1514475"/>
                  <a:gd name="connsiteY100" fmla="*/ 348139 h 1066800"/>
                  <a:gd name="connsiteX101" fmla="*/ 497761 w 1514475"/>
                  <a:gd name="connsiteY101" fmla="*/ 368141 h 1066800"/>
                  <a:gd name="connsiteX102" fmla="*/ 475854 w 1514475"/>
                  <a:gd name="connsiteY102" fmla="*/ 377666 h 1066800"/>
                  <a:gd name="connsiteX103" fmla="*/ 399654 w 1514475"/>
                  <a:gd name="connsiteY103" fmla="*/ 425291 h 1066800"/>
                  <a:gd name="connsiteX104" fmla="*/ 397749 w 1514475"/>
                  <a:gd name="connsiteY104" fmla="*/ 423386 h 1066800"/>
                  <a:gd name="connsiteX105" fmla="*/ 398701 w 1514475"/>
                  <a:gd name="connsiteY105" fmla="*/ 431006 h 1066800"/>
                  <a:gd name="connsiteX106" fmla="*/ 458709 w 1514475"/>
                  <a:gd name="connsiteY106" fmla="*/ 544354 h 1066800"/>
                  <a:gd name="connsiteX107" fmla="*/ 556817 w 1514475"/>
                  <a:gd name="connsiteY107" fmla="*/ 634841 h 1066800"/>
                  <a:gd name="connsiteX108" fmla="*/ 643494 w 1514475"/>
                  <a:gd name="connsiteY108" fmla="*/ 680561 h 1066800"/>
                  <a:gd name="connsiteX109" fmla="*/ 759699 w 1514475"/>
                  <a:gd name="connsiteY109" fmla="*/ 696754 h 1066800"/>
                  <a:gd name="connsiteX110" fmla="*/ 796846 w 1514475"/>
                  <a:gd name="connsiteY110" fmla="*/ 696754 h 1066800"/>
                  <a:gd name="connsiteX111" fmla="*/ 865426 w 1514475"/>
                  <a:gd name="connsiteY111" fmla="*/ 692944 h 1066800"/>
                  <a:gd name="connsiteX112" fmla="*/ 969249 w 1514475"/>
                  <a:gd name="connsiteY112" fmla="*/ 687229 h 1066800"/>
                  <a:gd name="connsiteX113" fmla="*/ 1017826 w 1514475"/>
                  <a:gd name="connsiteY113" fmla="*/ 683419 h 1066800"/>
                  <a:gd name="connsiteX114" fmla="*/ 1056879 w 1514475"/>
                  <a:gd name="connsiteY114" fmla="*/ 621506 h 1066800"/>
                  <a:gd name="connsiteX115" fmla="*/ 1080692 w 1514475"/>
                  <a:gd name="connsiteY115" fmla="*/ 575786 h 1066800"/>
                  <a:gd name="connsiteX116" fmla="*/ 1150224 w 1514475"/>
                  <a:gd name="connsiteY116" fmla="*/ 541496 h 1066800"/>
                  <a:gd name="connsiteX117" fmla="*/ 1137842 w 1514475"/>
                  <a:gd name="connsiteY117" fmla="*/ 570071 h 1066800"/>
                  <a:gd name="connsiteX118" fmla="*/ 1109267 w 1514475"/>
                  <a:gd name="connsiteY118" fmla="*/ 626269 h 1066800"/>
                  <a:gd name="connsiteX119" fmla="*/ 1106409 w 1514475"/>
                  <a:gd name="connsiteY119" fmla="*/ 642461 h 1066800"/>
                  <a:gd name="connsiteX120" fmla="*/ 1108314 w 1514475"/>
                  <a:gd name="connsiteY120" fmla="*/ 715804 h 1066800"/>
                  <a:gd name="connsiteX121" fmla="*/ 1118792 w 1514475"/>
                  <a:gd name="connsiteY121" fmla="*/ 787241 h 1066800"/>
                  <a:gd name="connsiteX122" fmla="*/ 1144509 w 1514475"/>
                  <a:gd name="connsiteY122" fmla="*/ 866299 h 1066800"/>
                  <a:gd name="connsiteX123" fmla="*/ 1234996 w 1514475"/>
                  <a:gd name="connsiteY123" fmla="*/ 875824 h 1066800"/>
                  <a:gd name="connsiteX124" fmla="*/ 1274049 w 1514475"/>
                  <a:gd name="connsiteY124" fmla="*/ 894874 h 1066800"/>
                  <a:gd name="connsiteX125" fmla="*/ 1320721 w 1514475"/>
                  <a:gd name="connsiteY125" fmla="*/ 927259 h 1066800"/>
                  <a:gd name="connsiteX126" fmla="*/ 1432164 w 1514475"/>
                  <a:gd name="connsiteY126" fmla="*/ 958691 h 1066800"/>
                  <a:gd name="connsiteX127" fmla="*/ 1458834 w 1514475"/>
                  <a:gd name="connsiteY127" fmla="*/ 959644 h 1066800"/>
                  <a:gd name="connsiteX128" fmla="*/ 1507411 w 1514475"/>
                  <a:gd name="connsiteY128" fmla="*/ 989171 h 1066800"/>
                  <a:gd name="connsiteX129" fmla="*/ 1485504 w 1514475"/>
                  <a:gd name="connsiteY129" fmla="*/ 998696 h 1066800"/>
                  <a:gd name="connsiteX130" fmla="*/ 1465501 w 1514475"/>
                  <a:gd name="connsiteY130" fmla="*/ 1004411 h 1066800"/>
                  <a:gd name="connsiteX131" fmla="*/ 1474074 w 1514475"/>
                  <a:gd name="connsiteY131" fmla="*/ 1019651 h 1066800"/>
                  <a:gd name="connsiteX132" fmla="*/ 1471217 w 1514475"/>
                  <a:gd name="connsiteY132" fmla="*/ 1041559 h 1066800"/>
                  <a:gd name="connsiteX133" fmla="*/ 1452167 w 1514475"/>
                  <a:gd name="connsiteY133" fmla="*/ 1047274 h 1066800"/>
                  <a:gd name="connsiteX134" fmla="*/ 1442642 w 1514475"/>
                  <a:gd name="connsiteY134" fmla="*/ 1049179 h 1066800"/>
                  <a:gd name="connsiteX135" fmla="*/ 1424544 w 1514475"/>
                  <a:gd name="connsiteY135" fmla="*/ 1044416 h 1066800"/>
                  <a:gd name="connsiteX136" fmla="*/ 1394064 w 1514475"/>
                  <a:gd name="connsiteY136" fmla="*/ 1033939 h 1066800"/>
                  <a:gd name="connsiteX137" fmla="*/ 1305482 w 1514475"/>
                  <a:gd name="connsiteY137" fmla="*/ 991076 h 1066800"/>
                  <a:gd name="connsiteX138" fmla="*/ 1260714 w 1514475"/>
                  <a:gd name="connsiteY138" fmla="*/ 967264 h 1066800"/>
                  <a:gd name="connsiteX139" fmla="*/ 1182609 w 1514475"/>
                  <a:gd name="connsiteY139" fmla="*/ 961549 h 1066800"/>
                  <a:gd name="connsiteX140" fmla="*/ 1116886 w 1514475"/>
                  <a:gd name="connsiteY140" fmla="*/ 973931 h 1066800"/>
                  <a:gd name="connsiteX141" fmla="*/ 972106 w 1514475"/>
                  <a:gd name="connsiteY141" fmla="*/ 944404 h 1066800"/>
                  <a:gd name="connsiteX142" fmla="*/ 835899 w 1514475"/>
                  <a:gd name="connsiteY142" fmla="*/ 917734 h 1066800"/>
                  <a:gd name="connsiteX143" fmla="*/ 786369 w 1514475"/>
                  <a:gd name="connsiteY143" fmla="*/ 932974 h 1066800"/>
                  <a:gd name="connsiteX144" fmla="*/ 770176 w 1514475"/>
                  <a:gd name="connsiteY144" fmla="*/ 939641 h 1066800"/>
                  <a:gd name="connsiteX145" fmla="*/ 693024 w 1514475"/>
                  <a:gd name="connsiteY145" fmla="*/ 942499 h 1066800"/>
                  <a:gd name="connsiteX146" fmla="*/ 566342 w 1514475"/>
                  <a:gd name="connsiteY146" fmla="*/ 921544 h 1066800"/>
                  <a:gd name="connsiteX147" fmla="*/ 532051 w 1514475"/>
                  <a:gd name="connsiteY147" fmla="*/ 915829 h 1066800"/>
                  <a:gd name="connsiteX148" fmla="*/ 512049 w 1514475"/>
                  <a:gd name="connsiteY148" fmla="*/ 911066 h 1066800"/>
                  <a:gd name="connsiteX149" fmla="*/ 469186 w 1514475"/>
                  <a:gd name="connsiteY149" fmla="*/ 916781 h 1066800"/>
                  <a:gd name="connsiteX150" fmla="*/ 356791 w 1514475"/>
                  <a:gd name="connsiteY150" fmla="*/ 912971 h 1066800"/>
                  <a:gd name="connsiteX151" fmla="*/ 219631 w 1514475"/>
                  <a:gd name="connsiteY151" fmla="*/ 962501 h 1066800"/>
                  <a:gd name="connsiteX152" fmla="*/ 178674 w 1514475"/>
                  <a:gd name="connsiteY152" fmla="*/ 999649 h 1066800"/>
                  <a:gd name="connsiteX153" fmla="*/ 159624 w 1514475"/>
                  <a:gd name="connsiteY153" fmla="*/ 1024414 h 1066800"/>
                  <a:gd name="connsiteX154" fmla="*/ 111999 w 1514475"/>
                  <a:gd name="connsiteY154" fmla="*/ 1057751 h 1066800"/>
                  <a:gd name="connsiteX155" fmla="*/ 79614 w 1514475"/>
                  <a:gd name="connsiteY155" fmla="*/ 1068229 h 1066800"/>
                  <a:gd name="connsiteX156" fmla="*/ 92949 w 1514475"/>
                  <a:gd name="connsiteY156" fmla="*/ 1042511 h 1066800"/>
                  <a:gd name="connsiteX157" fmla="*/ 114856 w 1514475"/>
                  <a:gd name="connsiteY157" fmla="*/ 1011079 h 1066800"/>
                  <a:gd name="connsiteX158" fmla="*/ 133906 w 1514475"/>
                  <a:gd name="connsiteY158" fmla="*/ 987266 h 1066800"/>
                  <a:gd name="connsiteX159" fmla="*/ 170101 w 1514475"/>
                  <a:gd name="connsiteY159" fmla="*/ 950119 h 1066800"/>
                  <a:gd name="connsiteX160" fmla="*/ 192961 w 1514475"/>
                  <a:gd name="connsiteY160" fmla="*/ 928211 h 1066800"/>
                  <a:gd name="connsiteX161" fmla="*/ 140574 w 1514475"/>
                  <a:gd name="connsiteY161" fmla="*/ 950119 h 1066800"/>
                  <a:gd name="connsiteX162" fmla="*/ 31036 w 1514475"/>
                  <a:gd name="connsiteY162" fmla="*/ 986314 h 1066800"/>
                  <a:gd name="connsiteX163" fmla="*/ 7224 w 1514475"/>
                  <a:gd name="connsiteY163" fmla="*/ 981551 h 1066800"/>
                  <a:gd name="connsiteX164" fmla="*/ 116761 w 1514475"/>
                  <a:gd name="connsiteY164" fmla="*/ 923449 h 1066800"/>
                  <a:gd name="connsiteX165" fmla="*/ 232966 w 1514475"/>
                  <a:gd name="connsiteY165" fmla="*/ 871061 h 1066800"/>
                  <a:gd name="connsiteX166" fmla="*/ 347266 w 1514475"/>
                  <a:gd name="connsiteY166" fmla="*/ 845344 h 1066800"/>
                  <a:gd name="connsiteX167" fmla="*/ 389176 w 1514475"/>
                  <a:gd name="connsiteY167" fmla="*/ 834866 h 1066800"/>
                  <a:gd name="connsiteX168" fmla="*/ 379651 w 1514475"/>
                  <a:gd name="connsiteY168" fmla="*/ 783431 h 1066800"/>
                  <a:gd name="connsiteX169" fmla="*/ 355839 w 1514475"/>
                  <a:gd name="connsiteY169" fmla="*/ 748189 h 1066800"/>
                  <a:gd name="connsiteX170" fmla="*/ 332979 w 1514475"/>
                  <a:gd name="connsiteY170" fmla="*/ 723424 h 1066800"/>
                  <a:gd name="connsiteX171" fmla="*/ 310119 w 1514475"/>
                  <a:gd name="connsiteY171" fmla="*/ 633889 h 1066800"/>
                  <a:gd name="connsiteX172" fmla="*/ 307261 w 1514475"/>
                  <a:gd name="connsiteY172" fmla="*/ 567214 h 1066800"/>
                  <a:gd name="connsiteX173" fmla="*/ 286306 w 1514475"/>
                  <a:gd name="connsiteY173" fmla="*/ 545306 h 1066800"/>
                  <a:gd name="connsiteX174" fmla="*/ 197724 w 1514475"/>
                  <a:gd name="connsiteY174" fmla="*/ 531971 h 1066800"/>
                  <a:gd name="connsiteX175" fmla="*/ 178674 w 1514475"/>
                  <a:gd name="connsiteY175" fmla="*/ 511016 h 1066800"/>
                  <a:gd name="connsiteX176" fmla="*/ 215821 w 1514475"/>
                  <a:gd name="connsiteY176" fmla="*/ 471964 h 1066800"/>
                  <a:gd name="connsiteX177" fmla="*/ 294879 w 1514475"/>
                  <a:gd name="connsiteY177" fmla="*/ 438626 h 1066800"/>
                  <a:gd name="connsiteX178" fmla="*/ 282496 w 1514475"/>
                  <a:gd name="connsiteY178" fmla="*/ 436721 h 1066800"/>
                  <a:gd name="connsiteX179" fmla="*/ 232014 w 1514475"/>
                  <a:gd name="connsiteY179" fmla="*/ 432911 h 1066800"/>
                  <a:gd name="connsiteX180" fmla="*/ 203439 w 1514475"/>
                  <a:gd name="connsiteY180" fmla="*/ 431006 h 1066800"/>
                  <a:gd name="connsiteX181" fmla="*/ 180579 w 1514475"/>
                  <a:gd name="connsiteY181" fmla="*/ 427196 h 1066800"/>
                  <a:gd name="connsiteX182" fmla="*/ 166291 w 1514475"/>
                  <a:gd name="connsiteY182" fmla="*/ 421481 h 1066800"/>
                  <a:gd name="connsiteX183" fmla="*/ 161529 w 1514475"/>
                  <a:gd name="connsiteY183" fmla="*/ 411004 h 1066800"/>
                  <a:gd name="connsiteX184" fmla="*/ 169149 w 1514475"/>
                  <a:gd name="connsiteY184" fmla="*/ 403384 h 1066800"/>
                  <a:gd name="connsiteX185" fmla="*/ 184389 w 1514475"/>
                  <a:gd name="connsiteY185" fmla="*/ 404336 h 1066800"/>
                  <a:gd name="connsiteX186" fmla="*/ 178674 w 1514475"/>
                  <a:gd name="connsiteY186" fmla="*/ 394811 h 1066800"/>
                  <a:gd name="connsiteX187" fmla="*/ 173911 w 1514475"/>
                  <a:gd name="connsiteY187" fmla="*/ 385286 h 1066800"/>
                  <a:gd name="connsiteX188" fmla="*/ 170101 w 1514475"/>
                  <a:gd name="connsiteY188" fmla="*/ 374809 h 1066800"/>
                  <a:gd name="connsiteX189" fmla="*/ 161529 w 1514475"/>
                  <a:gd name="connsiteY189" fmla="*/ 332899 h 1066800"/>
                  <a:gd name="connsiteX190" fmla="*/ 152956 w 1514475"/>
                  <a:gd name="connsiteY190" fmla="*/ 323374 h 1066800"/>
                  <a:gd name="connsiteX191" fmla="*/ 148194 w 1514475"/>
                  <a:gd name="connsiteY191" fmla="*/ 313849 h 1066800"/>
                  <a:gd name="connsiteX192" fmla="*/ 152956 w 1514475"/>
                  <a:gd name="connsiteY192" fmla="*/ 305276 h 1066800"/>
                  <a:gd name="connsiteX193" fmla="*/ 163434 w 1514475"/>
                  <a:gd name="connsiteY193" fmla="*/ 306229 h 1066800"/>
                  <a:gd name="connsiteX194" fmla="*/ 176769 w 1514475"/>
                  <a:gd name="connsiteY194" fmla="*/ 312896 h 1066800"/>
                  <a:gd name="connsiteX195" fmla="*/ 192009 w 1514475"/>
                  <a:gd name="connsiteY195" fmla="*/ 318611 h 1066800"/>
                  <a:gd name="connsiteX196" fmla="*/ 203439 w 1514475"/>
                  <a:gd name="connsiteY196" fmla="*/ 320516 h 1066800"/>
                  <a:gd name="connsiteX197" fmla="*/ 197724 w 1514475"/>
                  <a:gd name="connsiteY197" fmla="*/ 313849 h 1066800"/>
                  <a:gd name="connsiteX198" fmla="*/ 192009 w 1514475"/>
                  <a:gd name="connsiteY198" fmla="*/ 303371 h 1066800"/>
                  <a:gd name="connsiteX199" fmla="*/ 185341 w 1514475"/>
                  <a:gd name="connsiteY199" fmla="*/ 289084 h 1066800"/>
                  <a:gd name="connsiteX200" fmla="*/ 182484 w 1514475"/>
                  <a:gd name="connsiteY200" fmla="*/ 282416 h 1066800"/>
                  <a:gd name="connsiteX201" fmla="*/ 186294 w 1514475"/>
                  <a:gd name="connsiteY201" fmla="*/ 272891 h 1066800"/>
                  <a:gd name="connsiteX202" fmla="*/ 194866 w 1514475"/>
                  <a:gd name="connsiteY202" fmla="*/ 272891 h 1066800"/>
                  <a:gd name="connsiteX203" fmla="*/ 204391 w 1514475"/>
                  <a:gd name="connsiteY203" fmla="*/ 280511 h 1066800"/>
                  <a:gd name="connsiteX204" fmla="*/ 215821 w 1514475"/>
                  <a:gd name="connsiteY204" fmla="*/ 294799 h 1066800"/>
                  <a:gd name="connsiteX205" fmla="*/ 229156 w 1514475"/>
                  <a:gd name="connsiteY205" fmla="*/ 308134 h 1066800"/>
                  <a:gd name="connsiteX206" fmla="*/ 252969 w 1514475"/>
                  <a:gd name="connsiteY206" fmla="*/ 327184 h 1066800"/>
                  <a:gd name="connsiteX207" fmla="*/ 274876 w 1514475"/>
                  <a:gd name="connsiteY207" fmla="*/ 337661 h 1066800"/>
                  <a:gd name="connsiteX208" fmla="*/ 277734 w 1514475"/>
                  <a:gd name="connsiteY208" fmla="*/ 337661 h 1066800"/>
                  <a:gd name="connsiteX209" fmla="*/ 287259 w 1514475"/>
                  <a:gd name="connsiteY209" fmla="*/ 333851 h 1066800"/>
                  <a:gd name="connsiteX210" fmla="*/ 289164 w 1514475"/>
                  <a:gd name="connsiteY210" fmla="*/ 330041 h 1066800"/>
                  <a:gd name="connsiteX211" fmla="*/ 289164 w 1514475"/>
                  <a:gd name="connsiteY211" fmla="*/ 325279 h 1066800"/>
                  <a:gd name="connsiteX212" fmla="*/ 288211 w 1514475"/>
                  <a:gd name="connsiteY212" fmla="*/ 309086 h 1066800"/>
                  <a:gd name="connsiteX213" fmla="*/ 293926 w 1514475"/>
                  <a:gd name="connsiteY213" fmla="*/ 292894 h 1066800"/>
                  <a:gd name="connsiteX214" fmla="*/ 306309 w 1514475"/>
                  <a:gd name="connsiteY214" fmla="*/ 291941 h 1066800"/>
                  <a:gd name="connsiteX215" fmla="*/ 310119 w 1514475"/>
                  <a:gd name="connsiteY215" fmla="*/ 300514 h 1066800"/>
                  <a:gd name="connsiteX216" fmla="*/ 315834 w 1514475"/>
                  <a:gd name="connsiteY216" fmla="*/ 350044 h 1066800"/>
                  <a:gd name="connsiteX217" fmla="*/ 376794 w 1514475"/>
                  <a:gd name="connsiteY217" fmla="*/ 364331 h 1066800"/>
                  <a:gd name="connsiteX218" fmla="*/ 385366 w 1514475"/>
                  <a:gd name="connsiteY218" fmla="*/ 358616 h 1066800"/>
                  <a:gd name="connsiteX219" fmla="*/ 397749 w 1514475"/>
                  <a:gd name="connsiteY219" fmla="*/ 346234 h 1066800"/>
                  <a:gd name="connsiteX220" fmla="*/ 424419 w 1514475"/>
                  <a:gd name="connsiteY220" fmla="*/ 312896 h 1066800"/>
                  <a:gd name="connsiteX221" fmla="*/ 436801 w 1514475"/>
                  <a:gd name="connsiteY221" fmla="*/ 286226 h 1066800"/>
                  <a:gd name="connsiteX222" fmla="*/ 437754 w 1514475"/>
                  <a:gd name="connsiteY222" fmla="*/ 284321 h 1066800"/>
                  <a:gd name="connsiteX223" fmla="*/ 439659 w 1514475"/>
                  <a:gd name="connsiteY223" fmla="*/ 265271 h 1066800"/>
                  <a:gd name="connsiteX224" fmla="*/ 433944 w 1514475"/>
                  <a:gd name="connsiteY224" fmla="*/ 246221 h 1066800"/>
                  <a:gd name="connsiteX225" fmla="*/ 424419 w 1514475"/>
                  <a:gd name="connsiteY225" fmla="*/ 232886 h 1066800"/>
                  <a:gd name="connsiteX226" fmla="*/ 408226 w 1514475"/>
                  <a:gd name="connsiteY226" fmla="*/ 215741 h 1066800"/>
                  <a:gd name="connsiteX227" fmla="*/ 386319 w 1514475"/>
                  <a:gd name="connsiteY227" fmla="*/ 205264 h 1066800"/>
                  <a:gd name="connsiteX228" fmla="*/ 366316 w 1514475"/>
                  <a:gd name="connsiteY228" fmla="*/ 198596 h 1066800"/>
                  <a:gd name="connsiteX229" fmla="*/ 355839 w 1514475"/>
                  <a:gd name="connsiteY229" fmla="*/ 195739 h 1066800"/>
                  <a:gd name="connsiteX230" fmla="*/ 340599 w 1514475"/>
                  <a:gd name="connsiteY230" fmla="*/ 192881 h 1066800"/>
                  <a:gd name="connsiteX231" fmla="*/ 316786 w 1514475"/>
                  <a:gd name="connsiteY231" fmla="*/ 189071 h 1066800"/>
                  <a:gd name="connsiteX232" fmla="*/ 306309 w 1514475"/>
                  <a:gd name="connsiteY232" fmla="*/ 187166 h 1066800"/>
                  <a:gd name="connsiteX233" fmla="*/ 292021 w 1514475"/>
                  <a:gd name="connsiteY233" fmla="*/ 179546 h 1066800"/>
                  <a:gd name="connsiteX234" fmla="*/ 289164 w 1514475"/>
                  <a:gd name="connsiteY234" fmla="*/ 170021 h 1066800"/>
                  <a:gd name="connsiteX235" fmla="*/ 298689 w 1514475"/>
                  <a:gd name="connsiteY235" fmla="*/ 160496 h 1066800"/>
                  <a:gd name="connsiteX236" fmla="*/ 313929 w 1514475"/>
                  <a:gd name="connsiteY236" fmla="*/ 158591 h 1066800"/>
                  <a:gd name="connsiteX237" fmla="*/ 331074 w 1514475"/>
                  <a:gd name="connsiteY237" fmla="*/ 160496 h 1066800"/>
                  <a:gd name="connsiteX238" fmla="*/ 368221 w 1514475"/>
                  <a:gd name="connsiteY238" fmla="*/ 140494 h 1066800"/>
                  <a:gd name="connsiteX239" fmla="*/ 364411 w 1514475"/>
                  <a:gd name="connsiteY239" fmla="*/ 131921 h 1066800"/>
                  <a:gd name="connsiteX240" fmla="*/ 355839 w 1514475"/>
                  <a:gd name="connsiteY240" fmla="*/ 103346 h 1066800"/>
                  <a:gd name="connsiteX241" fmla="*/ 360601 w 1514475"/>
                  <a:gd name="connsiteY241" fmla="*/ 93821 h 1066800"/>
                  <a:gd name="connsiteX242" fmla="*/ 369174 w 1514475"/>
                  <a:gd name="connsiteY242" fmla="*/ 92869 h 1066800"/>
                  <a:gd name="connsiteX243" fmla="*/ 376794 w 1514475"/>
                  <a:gd name="connsiteY243" fmla="*/ 97631 h 1066800"/>
                  <a:gd name="connsiteX244" fmla="*/ 382509 w 1514475"/>
                  <a:gd name="connsiteY244" fmla="*/ 108109 h 1066800"/>
                  <a:gd name="connsiteX245" fmla="*/ 389176 w 1514475"/>
                  <a:gd name="connsiteY245" fmla="*/ 120491 h 1066800"/>
                  <a:gd name="connsiteX246" fmla="*/ 396796 w 1514475"/>
                  <a:gd name="connsiteY246" fmla="*/ 130969 h 1066800"/>
                  <a:gd name="connsiteX247" fmla="*/ 402511 w 1514475"/>
                  <a:gd name="connsiteY247" fmla="*/ 137636 h 1066800"/>
                  <a:gd name="connsiteX248" fmla="*/ 406321 w 1514475"/>
                  <a:gd name="connsiteY248" fmla="*/ 136684 h 1066800"/>
                  <a:gd name="connsiteX249" fmla="*/ 412989 w 1514475"/>
                  <a:gd name="connsiteY249" fmla="*/ 136684 h 1066800"/>
                  <a:gd name="connsiteX250" fmla="*/ 432039 w 1514475"/>
                  <a:gd name="connsiteY250" fmla="*/ 139541 h 1066800"/>
                  <a:gd name="connsiteX251" fmla="*/ 450136 w 1514475"/>
                  <a:gd name="connsiteY251" fmla="*/ 143351 h 1066800"/>
                  <a:gd name="connsiteX252" fmla="*/ 472996 w 1514475"/>
                  <a:gd name="connsiteY252" fmla="*/ 147161 h 1066800"/>
                  <a:gd name="connsiteX253" fmla="*/ 493951 w 1514475"/>
                  <a:gd name="connsiteY253" fmla="*/ 147161 h 1066800"/>
                  <a:gd name="connsiteX254" fmla="*/ 496809 w 1514475"/>
                  <a:gd name="connsiteY254" fmla="*/ 143351 h 1066800"/>
                  <a:gd name="connsiteX255" fmla="*/ 499666 w 1514475"/>
                  <a:gd name="connsiteY255" fmla="*/ 135731 h 1066800"/>
                  <a:gd name="connsiteX256" fmla="*/ 500619 w 1514475"/>
                  <a:gd name="connsiteY256" fmla="*/ 134779 h 1066800"/>
                  <a:gd name="connsiteX257" fmla="*/ 501571 w 1514475"/>
                  <a:gd name="connsiteY257" fmla="*/ 127159 h 1066800"/>
                  <a:gd name="connsiteX258" fmla="*/ 500619 w 1514475"/>
                  <a:gd name="connsiteY258" fmla="*/ 118586 h 1066800"/>
                  <a:gd name="connsiteX259" fmla="*/ 498714 w 1514475"/>
                  <a:gd name="connsiteY259" fmla="*/ 111919 h 1066800"/>
                  <a:gd name="connsiteX260" fmla="*/ 496809 w 1514475"/>
                  <a:gd name="connsiteY260" fmla="*/ 109061 h 1066800"/>
                  <a:gd name="connsiteX261" fmla="*/ 492046 w 1514475"/>
                  <a:gd name="connsiteY261" fmla="*/ 105251 h 1066800"/>
                  <a:gd name="connsiteX262" fmla="*/ 486331 w 1514475"/>
                  <a:gd name="connsiteY262" fmla="*/ 99536 h 1066800"/>
                  <a:gd name="connsiteX263" fmla="*/ 479664 w 1514475"/>
                  <a:gd name="connsiteY263" fmla="*/ 95726 h 1066800"/>
                  <a:gd name="connsiteX264" fmla="*/ 465376 w 1514475"/>
                  <a:gd name="connsiteY264" fmla="*/ 92869 h 1066800"/>
                  <a:gd name="connsiteX265" fmla="*/ 457756 w 1514475"/>
                  <a:gd name="connsiteY265" fmla="*/ 88106 h 1066800"/>
                  <a:gd name="connsiteX266" fmla="*/ 447279 w 1514475"/>
                  <a:gd name="connsiteY266" fmla="*/ 78581 h 1066800"/>
                  <a:gd name="connsiteX267" fmla="*/ 442516 w 1514475"/>
                  <a:gd name="connsiteY267" fmla="*/ 71914 h 1066800"/>
                  <a:gd name="connsiteX268" fmla="*/ 442516 w 1514475"/>
                  <a:gd name="connsiteY268" fmla="*/ 63341 h 1066800"/>
                  <a:gd name="connsiteX269" fmla="*/ 457756 w 1514475"/>
                  <a:gd name="connsiteY269" fmla="*/ 57626 h 1066800"/>
                  <a:gd name="connsiteX270" fmla="*/ 492046 w 1514475"/>
                  <a:gd name="connsiteY270" fmla="*/ 76676 h 1066800"/>
                  <a:gd name="connsiteX271" fmla="*/ 494904 w 1514475"/>
                  <a:gd name="connsiteY271" fmla="*/ 77629 h 1066800"/>
                  <a:gd name="connsiteX272" fmla="*/ 496809 w 1514475"/>
                  <a:gd name="connsiteY272" fmla="*/ 77629 h 1066800"/>
                  <a:gd name="connsiteX273" fmla="*/ 508239 w 1514475"/>
                  <a:gd name="connsiteY273" fmla="*/ 70009 h 1066800"/>
                  <a:gd name="connsiteX274" fmla="*/ 511096 w 1514475"/>
                  <a:gd name="connsiteY274" fmla="*/ 62389 h 1066800"/>
                  <a:gd name="connsiteX275" fmla="*/ 511096 w 1514475"/>
                  <a:gd name="connsiteY275" fmla="*/ 61436 h 1066800"/>
                  <a:gd name="connsiteX276" fmla="*/ 511096 w 1514475"/>
                  <a:gd name="connsiteY276" fmla="*/ 52864 h 1066800"/>
                  <a:gd name="connsiteX277" fmla="*/ 507286 w 1514475"/>
                  <a:gd name="connsiteY277" fmla="*/ 46196 h 1066800"/>
                  <a:gd name="connsiteX278" fmla="*/ 499666 w 1514475"/>
                  <a:gd name="connsiteY278" fmla="*/ 37624 h 1066800"/>
                  <a:gd name="connsiteX279" fmla="*/ 487284 w 1514475"/>
                  <a:gd name="connsiteY279" fmla="*/ 22384 h 1066800"/>
                  <a:gd name="connsiteX280" fmla="*/ 486331 w 1514475"/>
                  <a:gd name="connsiteY280" fmla="*/ 15716 h 1066800"/>
                  <a:gd name="connsiteX281" fmla="*/ 491094 w 1514475"/>
                  <a:gd name="connsiteY281" fmla="*/ 10001 h 1066800"/>
                  <a:gd name="connsiteX282" fmla="*/ 493951 w 1514475"/>
                  <a:gd name="connsiteY282" fmla="*/ 10001 h 1066800"/>
                  <a:gd name="connsiteX283" fmla="*/ 493951 w 1514475"/>
                  <a:gd name="connsiteY283" fmla="*/ 10001 h 1066800"/>
                  <a:gd name="connsiteX284" fmla="*/ 493951 w 1514475"/>
                  <a:gd name="connsiteY284" fmla="*/ 10001 h 1066800"/>
                  <a:gd name="connsiteX285" fmla="*/ 394891 w 1514475"/>
                  <a:gd name="connsiteY285" fmla="*/ 174784 h 1066800"/>
                  <a:gd name="connsiteX286" fmla="*/ 391081 w 1514475"/>
                  <a:gd name="connsiteY286" fmla="*/ 177641 h 1066800"/>
                  <a:gd name="connsiteX287" fmla="*/ 392034 w 1514475"/>
                  <a:gd name="connsiteY287" fmla="*/ 181451 h 1066800"/>
                  <a:gd name="connsiteX288" fmla="*/ 407274 w 1514475"/>
                  <a:gd name="connsiteY288" fmla="*/ 191929 h 1066800"/>
                  <a:gd name="connsiteX289" fmla="*/ 422514 w 1514475"/>
                  <a:gd name="connsiteY289" fmla="*/ 198596 h 1066800"/>
                  <a:gd name="connsiteX290" fmla="*/ 427276 w 1514475"/>
                  <a:gd name="connsiteY290" fmla="*/ 199549 h 1066800"/>
                  <a:gd name="connsiteX291" fmla="*/ 444421 w 1514475"/>
                  <a:gd name="connsiteY291" fmla="*/ 198596 h 1066800"/>
                  <a:gd name="connsiteX292" fmla="*/ 449184 w 1514475"/>
                  <a:gd name="connsiteY292" fmla="*/ 198596 h 1066800"/>
                  <a:gd name="connsiteX293" fmla="*/ 449184 w 1514475"/>
                  <a:gd name="connsiteY293" fmla="*/ 199549 h 1066800"/>
                  <a:gd name="connsiteX294" fmla="*/ 456804 w 1514475"/>
                  <a:gd name="connsiteY294" fmla="*/ 204311 h 1066800"/>
                  <a:gd name="connsiteX295" fmla="*/ 458709 w 1514475"/>
                  <a:gd name="connsiteY295" fmla="*/ 207169 h 1066800"/>
                  <a:gd name="connsiteX296" fmla="*/ 456804 w 1514475"/>
                  <a:gd name="connsiteY296" fmla="*/ 211931 h 1066800"/>
                  <a:gd name="connsiteX297" fmla="*/ 456804 w 1514475"/>
                  <a:gd name="connsiteY297" fmla="*/ 212884 h 1066800"/>
                  <a:gd name="connsiteX298" fmla="*/ 453946 w 1514475"/>
                  <a:gd name="connsiteY298" fmla="*/ 220504 h 1066800"/>
                  <a:gd name="connsiteX299" fmla="*/ 452994 w 1514475"/>
                  <a:gd name="connsiteY299" fmla="*/ 227171 h 1066800"/>
                  <a:gd name="connsiteX300" fmla="*/ 452994 w 1514475"/>
                  <a:gd name="connsiteY300" fmla="*/ 230981 h 1066800"/>
                  <a:gd name="connsiteX301" fmla="*/ 456804 w 1514475"/>
                  <a:gd name="connsiteY301" fmla="*/ 240506 h 1066800"/>
                  <a:gd name="connsiteX302" fmla="*/ 462519 w 1514475"/>
                  <a:gd name="connsiteY302" fmla="*/ 268129 h 1066800"/>
                  <a:gd name="connsiteX303" fmla="*/ 463471 w 1514475"/>
                  <a:gd name="connsiteY303" fmla="*/ 273844 h 1066800"/>
                  <a:gd name="connsiteX304" fmla="*/ 479664 w 1514475"/>
                  <a:gd name="connsiteY304" fmla="*/ 266224 h 1066800"/>
                  <a:gd name="connsiteX305" fmla="*/ 488236 w 1514475"/>
                  <a:gd name="connsiteY305" fmla="*/ 260509 h 1066800"/>
                  <a:gd name="connsiteX306" fmla="*/ 495856 w 1514475"/>
                  <a:gd name="connsiteY306" fmla="*/ 259556 h 1066800"/>
                  <a:gd name="connsiteX307" fmla="*/ 502524 w 1514475"/>
                  <a:gd name="connsiteY307" fmla="*/ 268129 h 1066800"/>
                  <a:gd name="connsiteX308" fmla="*/ 501571 w 1514475"/>
                  <a:gd name="connsiteY308" fmla="*/ 273844 h 1066800"/>
                  <a:gd name="connsiteX309" fmla="*/ 499666 w 1514475"/>
                  <a:gd name="connsiteY309" fmla="*/ 276701 h 1066800"/>
                  <a:gd name="connsiteX310" fmla="*/ 493951 w 1514475"/>
                  <a:gd name="connsiteY310" fmla="*/ 283369 h 1066800"/>
                  <a:gd name="connsiteX311" fmla="*/ 478711 w 1514475"/>
                  <a:gd name="connsiteY311" fmla="*/ 296704 h 1066800"/>
                  <a:gd name="connsiteX312" fmla="*/ 463471 w 1514475"/>
                  <a:gd name="connsiteY312" fmla="*/ 310991 h 1066800"/>
                  <a:gd name="connsiteX313" fmla="*/ 438706 w 1514475"/>
                  <a:gd name="connsiteY313" fmla="*/ 339566 h 1066800"/>
                  <a:gd name="connsiteX314" fmla="*/ 423466 w 1514475"/>
                  <a:gd name="connsiteY314" fmla="*/ 359569 h 1066800"/>
                  <a:gd name="connsiteX315" fmla="*/ 416799 w 1514475"/>
                  <a:gd name="connsiteY315" fmla="*/ 367189 h 1066800"/>
                  <a:gd name="connsiteX316" fmla="*/ 417751 w 1514475"/>
                  <a:gd name="connsiteY316" fmla="*/ 367189 h 1066800"/>
                  <a:gd name="connsiteX317" fmla="*/ 482521 w 1514475"/>
                  <a:gd name="connsiteY317" fmla="*/ 343376 h 1066800"/>
                  <a:gd name="connsiteX318" fmla="*/ 504429 w 1514475"/>
                  <a:gd name="connsiteY318" fmla="*/ 330041 h 1066800"/>
                  <a:gd name="connsiteX319" fmla="*/ 527289 w 1514475"/>
                  <a:gd name="connsiteY319" fmla="*/ 308134 h 1066800"/>
                  <a:gd name="connsiteX320" fmla="*/ 538719 w 1514475"/>
                  <a:gd name="connsiteY320" fmla="*/ 288131 h 1066800"/>
                  <a:gd name="connsiteX321" fmla="*/ 541576 w 1514475"/>
                  <a:gd name="connsiteY321" fmla="*/ 280511 h 1066800"/>
                  <a:gd name="connsiteX322" fmla="*/ 542529 w 1514475"/>
                  <a:gd name="connsiteY322" fmla="*/ 255746 h 1066800"/>
                  <a:gd name="connsiteX323" fmla="*/ 523479 w 1514475"/>
                  <a:gd name="connsiteY323" fmla="*/ 212884 h 1066800"/>
                  <a:gd name="connsiteX324" fmla="*/ 497761 w 1514475"/>
                  <a:gd name="connsiteY324" fmla="*/ 193834 h 1066800"/>
                  <a:gd name="connsiteX325" fmla="*/ 466329 w 1514475"/>
                  <a:gd name="connsiteY325" fmla="*/ 181451 h 1066800"/>
                  <a:gd name="connsiteX326" fmla="*/ 456804 w 1514475"/>
                  <a:gd name="connsiteY326" fmla="*/ 179546 h 1066800"/>
                  <a:gd name="connsiteX327" fmla="*/ 428229 w 1514475"/>
                  <a:gd name="connsiteY327" fmla="*/ 174784 h 1066800"/>
                  <a:gd name="connsiteX328" fmla="*/ 423466 w 1514475"/>
                  <a:gd name="connsiteY328" fmla="*/ 174784 h 1066800"/>
                  <a:gd name="connsiteX329" fmla="*/ 418704 w 1514475"/>
                  <a:gd name="connsiteY329" fmla="*/ 174784 h 1066800"/>
                  <a:gd name="connsiteX330" fmla="*/ 414894 w 1514475"/>
                  <a:gd name="connsiteY330" fmla="*/ 175736 h 1066800"/>
                  <a:gd name="connsiteX331" fmla="*/ 402511 w 1514475"/>
                  <a:gd name="connsiteY331" fmla="*/ 175736 h 1066800"/>
                  <a:gd name="connsiteX332" fmla="*/ 394891 w 1514475"/>
                  <a:gd name="connsiteY332" fmla="*/ 174784 h 1066800"/>
                  <a:gd name="connsiteX333" fmla="*/ 394891 w 1514475"/>
                  <a:gd name="connsiteY333" fmla="*/ 174784 h 1066800"/>
                  <a:gd name="connsiteX334" fmla="*/ 192009 w 1514475"/>
                  <a:gd name="connsiteY334" fmla="*/ 347186 h 1066800"/>
                  <a:gd name="connsiteX335" fmla="*/ 194866 w 1514475"/>
                  <a:gd name="connsiteY335" fmla="*/ 374809 h 1066800"/>
                  <a:gd name="connsiteX336" fmla="*/ 213916 w 1514475"/>
                  <a:gd name="connsiteY336" fmla="*/ 403384 h 1066800"/>
                  <a:gd name="connsiteX337" fmla="*/ 222489 w 1514475"/>
                  <a:gd name="connsiteY337" fmla="*/ 409099 h 1066800"/>
                  <a:gd name="connsiteX338" fmla="*/ 229156 w 1514475"/>
                  <a:gd name="connsiteY338" fmla="*/ 411004 h 1066800"/>
                  <a:gd name="connsiteX339" fmla="*/ 232966 w 1514475"/>
                  <a:gd name="connsiteY339" fmla="*/ 411956 h 1066800"/>
                  <a:gd name="connsiteX340" fmla="*/ 234871 w 1514475"/>
                  <a:gd name="connsiteY340" fmla="*/ 412909 h 1066800"/>
                  <a:gd name="connsiteX341" fmla="*/ 238681 w 1514475"/>
                  <a:gd name="connsiteY341" fmla="*/ 411956 h 1066800"/>
                  <a:gd name="connsiteX342" fmla="*/ 234871 w 1514475"/>
                  <a:gd name="connsiteY342" fmla="*/ 401479 h 1066800"/>
                  <a:gd name="connsiteX343" fmla="*/ 228204 w 1514475"/>
                  <a:gd name="connsiteY343" fmla="*/ 387191 h 1066800"/>
                  <a:gd name="connsiteX344" fmla="*/ 228204 w 1514475"/>
                  <a:gd name="connsiteY344" fmla="*/ 383381 h 1066800"/>
                  <a:gd name="connsiteX345" fmla="*/ 232966 w 1514475"/>
                  <a:gd name="connsiteY345" fmla="*/ 378619 h 1066800"/>
                  <a:gd name="connsiteX346" fmla="*/ 243444 w 1514475"/>
                  <a:gd name="connsiteY346" fmla="*/ 377666 h 1066800"/>
                  <a:gd name="connsiteX347" fmla="*/ 246301 w 1514475"/>
                  <a:gd name="connsiteY347" fmla="*/ 378619 h 1066800"/>
                  <a:gd name="connsiteX348" fmla="*/ 258684 w 1514475"/>
                  <a:gd name="connsiteY348" fmla="*/ 386239 h 1066800"/>
                  <a:gd name="connsiteX349" fmla="*/ 270114 w 1514475"/>
                  <a:gd name="connsiteY349" fmla="*/ 395764 h 1066800"/>
                  <a:gd name="connsiteX350" fmla="*/ 278686 w 1514475"/>
                  <a:gd name="connsiteY350" fmla="*/ 406241 h 1066800"/>
                  <a:gd name="connsiteX351" fmla="*/ 281544 w 1514475"/>
                  <a:gd name="connsiteY351" fmla="*/ 410051 h 1066800"/>
                  <a:gd name="connsiteX352" fmla="*/ 325359 w 1514475"/>
                  <a:gd name="connsiteY352" fmla="*/ 420529 h 1066800"/>
                  <a:gd name="connsiteX353" fmla="*/ 335836 w 1514475"/>
                  <a:gd name="connsiteY353" fmla="*/ 421481 h 1066800"/>
                  <a:gd name="connsiteX354" fmla="*/ 342504 w 1514475"/>
                  <a:gd name="connsiteY354" fmla="*/ 421481 h 1066800"/>
                  <a:gd name="connsiteX355" fmla="*/ 340599 w 1514475"/>
                  <a:gd name="connsiteY355" fmla="*/ 411956 h 1066800"/>
                  <a:gd name="connsiteX356" fmla="*/ 334884 w 1514475"/>
                  <a:gd name="connsiteY356" fmla="*/ 401479 h 1066800"/>
                  <a:gd name="connsiteX357" fmla="*/ 321549 w 1514475"/>
                  <a:gd name="connsiteY357" fmla="*/ 390049 h 1066800"/>
                  <a:gd name="connsiteX358" fmla="*/ 302499 w 1514475"/>
                  <a:gd name="connsiteY358" fmla="*/ 379571 h 1066800"/>
                  <a:gd name="connsiteX359" fmla="*/ 263446 w 1514475"/>
                  <a:gd name="connsiteY359" fmla="*/ 365284 h 1066800"/>
                  <a:gd name="connsiteX360" fmla="*/ 255826 w 1514475"/>
                  <a:gd name="connsiteY360" fmla="*/ 363379 h 1066800"/>
                  <a:gd name="connsiteX361" fmla="*/ 250111 w 1514475"/>
                  <a:gd name="connsiteY361" fmla="*/ 361474 h 1066800"/>
                  <a:gd name="connsiteX362" fmla="*/ 237729 w 1514475"/>
                  <a:gd name="connsiteY362" fmla="*/ 358616 h 1066800"/>
                  <a:gd name="connsiteX363" fmla="*/ 207249 w 1514475"/>
                  <a:gd name="connsiteY363" fmla="*/ 350996 h 1066800"/>
                  <a:gd name="connsiteX364" fmla="*/ 192009 w 1514475"/>
                  <a:gd name="connsiteY364" fmla="*/ 347186 h 1066800"/>
                  <a:gd name="connsiteX365" fmla="*/ 192009 w 1514475"/>
                  <a:gd name="connsiteY365" fmla="*/ 347186 h 1066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</a:cxnLst>
                <a:rect l="l" t="t" r="r" b="b"/>
                <a:pathLst>
                  <a:path w="1514475" h="1066800">
                    <a:moveTo>
                      <a:pt x="493951" y="10001"/>
                    </a:moveTo>
                    <a:cubicBezTo>
                      <a:pt x="496809" y="10001"/>
                      <a:pt x="498714" y="10001"/>
                      <a:pt x="500619" y="10001"/>
                    </a:cubicBezTo>
                    <a:cubicBezTo>
                      <a:pt x="502524" y="10954"/>
                      <a:pt x="503476" y="11906"/>
                      <a:pt x="505381" y="12859"/>
                    </a:cubicBezTo>
                    <a:cubicBezTo>
                      <a:pt x="508239" y="13811"/>
                      <a:pt x="509191" y="15716"/>
                      <a:pt x="511096" y="17621"/>
                    </a:cubicBezTo>
                    <a:cubicBezTo>
                      <a:pt x="513954" y="21431"/>
                      <a:pt x="519669" y="24289"/>
                      <a:pt x="524431" y="26194"/>
                    </a:cubicBezTo>
                    <a:lnTo>
                      <a:pt x="526336" y="25241"/>
                    </a:lnTo>
                    <a:lnTo>
                      <a:pt x="527289" y="24289"/>
                    </a:lnTo>
                    <a:cubicBezTo>
                      <a:pt x="528242" y="23336"/>
                      <a:pt x="529194" y="21431"/>
                      <a:pt x="529194" y="20479"/>
                    </a:cubicBezTo>
                    <a:cubicBezTo>
                      <a:pt x="532051" y="14764"/>
                      <a:pt x="535861" y="10954"/>
                      <a:pt x="541576" y="8096"/>
                    </a:cubicBezTo>
                    <a:cubicBezTo>
                      <a:pt x="543481" y="7144"/>
                      <a:pt x="546339" y="7144"/>
                      <a:pt x="549196" y="7144"/>
                    </a:cubicBezTo>
                    <a:cubicBezTo>
                      <a:pt x="550149" y="7144"/>
                      <a:pt x="550149" y="7144"/>
                      <a:pt x="551101" y="7144"/>
                    </a:cubicBezTo>
                    <a:cubicBezTo>
                      <a:pt x="553959" y="8096"/>
                      <a:pt x="555864" y="10001"/>
                      <a:pt x="557769" y="11906"/>
                    </a:cubicBezTo>
                    <a:cubicBezTo>
                      <a:pt x="558721" y="12859"/>
                      <a:pt x="559674" y="14764"/>
                      <a:pt x="559674" y="15716"/>
                    </a:cubicBezTo>
                    <a:cubicBezTo>
                      <a:pt x="559674" y="19526"/>
                      <a:pt x="559674" y="22384"/>
                      <a:pt x="558721" y="25241"/>
                    </a:cubicBezTo>
                    <a:lnTo>
                      <a:pt x="553959" y="42386"/>
                    </a:lnTo>
                    <a:cubicBezTo>
                      <a:pt x="553959" y="43339"/>
                      <a:pt x="553959" y="43339"/>
                      <a:pt x="553006" y="44291"/>
                    </a:cubicBezTo>
                    <a:cubicBezTo>
                      <a:pt x="552054" y="47149"/>
                      <a:pt x="552054" y="50006"/>
                      <a:pt x="551101" y="52864"/>
                    </a:cubicBezTo>
                    <a:cubicBezTo>
                      <a:pt x="548244" y="60484"/>
                      <a:pt x="543481" y="68104"/>
                      <a:pt x="538719" y="75724"/>
                    </a:cubicBezTo>
                    <a:cubicBezTo>
                      <a:pt x="534909" y="83344"/>
                      <a:pt x="531099" y="90964"/>
                      <a:pt x="528242" y="98584"/>
                    </a:cubicBezTo>
                    <a:cubicBezTo>
                      <a:pt x="527289" y="101441"/>
                      <a:pt x="527289" y="104299"/>
                      <a:pt x="527289" y="107156"/>
                    </a:cubicBezTo>
                    <a:cubicBezTo>
                      <a:pt x="526336" y="110014"/>
                      <a:pt x="526336" y="113824"/>
                      <a:pt x="526336" y="116681"/>
                    </a:cubicBezTo>
                    <a:cubicBezTo>
                      <a:pt x="527289" y="124301"/>
                      <a:pt x="526336" y="129064"/>
                      <a:pt x="527289" y="135731"/>
                    </a:cubicBezTo>
                    <a:cubicBezTo>
                      <a:pt x="527289" y="132874"/>
                      <a:pt x="527289" y="134779"/>
                      <a:pt x="527289" y="136684"/>
                    </a:cubicBezTo>
                    <a:cubicBezTo>
                      <a:pt x="527289" y="140494"/>
                      <a:pt x="528242" y="144304"/>
                      <a:pt x="527289" y="149066"/>
                    </a:cubicBezTo>
                    <a:cubicBezTo>
                      <a:pt x="527289" y="150971"/>
                      <a:pt x="526336" y="152876"/>
                      <a:pt x="526336" y="153829"/>
                    </a:cubicBezTo>
                    <a:cubicBezTo>
                      <a:pt x="526336" y="156686"/>
                      <a:pt x="525384" y="160496"/>
                      <a:pt x="524431" y="163354"/>
                    </a:cubicBezTo>
                    <a:cubicBezTo>
                      <a:pt x="524431" y="164306"/>
                      <a:pt x="523479" y="165259"/>
                      <a:pt x="523479" y="167164"/>
                    </a:cubicBezTo>
                    <a:lnTo>
                      <a:pt x="529194" y="172879"/>
                    </a:lnTo>
                    <a:cubicBezTo>
                      <a:pt x="531099" y="174784"/>
                      <a:pt x="532051" y="176689"/>
                      <a:pt x="533956" y="177641"/>
                    </a:cubicBezTo>
                    <a:cubicBezTo>
                      <a:pt x="536814" y="179546"/>
                      <a:pt x="538719" y="181451"/>
                      <a:pt x="540624" y="183356"/>
                    </a:cubicBezTo>
                    <a:cubicBezTo>
                      <a:pt x="543481" y="185261"/>
                      <a:pt x="546339" y="187166"/>
                      <a:pt x="549196" y="189071"/>
                    </a:cubicBezTo>
                    <a:cubicBezTo>
                      <a:pt x="550149" y="190024"/>
                      <a:pt x="552054" y="190976"/>
                      <a:pt x="553959" y="190976"/>
                    </a:cubicBezTo>
                    <a:cubicBezTo>
                      <a:pt x="555864" y="191929"/>
                      <a:pt x="558721" y="191929"/>
                      <a:pt x="560626" y="190976"/>
                    </a:cubicBezTo>
                    <a:cubicBezTo>
                      <a:pt x="564436" y="190976"/>
                      <a:pt x="567294" y="190024"/>
                      <a:pt x="570151" y="188119"/>
                    </a:cubicBezTo>
                    <a:cubicBezTo>
                      <a:pt x="573961" y="187166"/>
                      <a:pt x="576819" y="185261"/>
                      <a:pt x="579676" y="184309"/>
                    </a:cubicBezTo>
                    <a:cubicBezTo>
                      <a:pt x="579676" y="184309"/>
                      <a:pt x="580629" y="183356"/>
                      <a:pt x="582534" y="183356"/>
                    </a:cubicBezTo>
                    <a:cubicBezTo>
                      <a:pt x="583486" y="182404"/>
                      <a:pt x="585392" y="181451"/>
                      <a:pt x="586344" y="180499"/>
                    </a:cubicBezTo>
                    <a:cubicBezTo>
                      <a:pt x="587296" y="179546"/>
                      <a:pt x="589201" y="178594"/>
                      <a:pt x="590154" y="177641"/>
                    </a:cubicBezTo>
                    <a:cubicBezTo>
                      <a:pt x="592059" y="175736"/>
                      <a:pt x="593964" y="174784"/>
                      <a:pt x="595869" y="172879"/>
                    </a:cubicBezTo>
                    <a:cubicBezTo>
                      <a:pt x="597774" y="170974"/>
                      <a:pt x="599679" y="169069"/>
                      <a:pt x="600631" y="168116"/>
                    </a:cubicBezTo>
                    <a:cubicBezTo>
                      <a:pt x="601584" y="167164"/>
                      <a:pt x="602536" y="166211"/>
                      <a:pt x="604442" y="164306"/>
                    </a:cubicBezTo>
                    <a:cubicBezTo>
                      <a:pt x="607299" y="161449"/>
                      <a:pt x="609204" y="158591"/>
                      <a:pt x="611109" y="155734"/>
                    </a:cubicBezTo>
                    <a:cubicBezTo>
                      <a:pt x="615871" y="148114"/>
                      <a:pt x="620634" y="140494"/>
                      <a:pt x="622539" y="131921"/>
                    </a:cubicBezTo>
                    <a:cubicBezTo>
                      <a:pt x="622539" y="130969"/>
                      <a:pt x="623492" y="129064"/>
                      <a:pt x="624444" y="127159"/>
                    </a:cubicBezTo>
                    <a:cubicBezTo>
                      <a:pt x="625396" y="125254"/>
                      <a:pt x="625396" y="123349"/>
                      <a:pt x="625396" y="121444"/>
                    </a:cubicBezTo>
                    <a:cubicBezTo>
                      <a:pt x="626349" y="115729"/>
                      <a:pt x="628254" y="110014"/>
                      <a:pt x="629206" y="103346"/>
                    </a:cubicBezTo>
                    <a:cubicBezTo>
                      <a:pt x="630159" y="100489"/>
                      <a:pt x="631111" y="98584"/>
                      <a:pt x="633017" y="96679"/>
                    </a:cubicBezTo>
                    <a:cubicBezTo>
                      <a:pt x="633969" y="94774"/>
                      <a:pt x="633969" y="93821"/>
                      <a:pt x="634921" y="92869"/>
                    </a:cubicBezTo>
                    <a:cubicBezTo>
                      <a:pt x="635874" y="90964"/>
                      <a:pt x="637779" y="89059"/>
                      <a:pt x="639684" y="87154"/>
                    </a:cubicBezTo>
                    <a:cubicBezTo>
                      <a:pt x="641589" y="85249"/>
                      <a:pt x="642542" y="84296"/>
                      <a:pt x="644446" y="82391"/>
                    </a:cubicBezTo>
                    <a:cubicBezTo>
                      <a:pt x="646351" y="83344"/>
                      <a:pt x="648256" y="83344"/>
                      <a:pt x="650161" y="83344"/>
                    </a:cubicBezTo>
                    <a:cubicBezTo>
                      <a:pt x="651114" y="83344"/>
                      <a:pt x="651114" y="83344"/>
                      <a:pt x="652067" y="83344"/>
                    </a:cubicBezTo>
                    <a:cubicBezTo>
                      <a:pt x="653019" y="84296"/>
                      <a:pt x="653971" y="84296"/>
                      <a:pt x="653971" y="84296"/>
                    </a:cubicBezTo>
                    <a:cubicBezTo>
                      <a:pt x="654924" y="85249"/>
                      <a:pt x="654924" y="85249"/>
                      <a:pt x="655876" y="86201"/>
                    </a:cubicBezTo>
                    <a:cubicBezTo>
                      <a:pt x="656829" y="88106"/>
                      <a:pt x="656829" y="89059"/>
                      <a:pt x="657781" y="89059"/>
                    </a:cubicBezTo>
                    <a:cubicBezTo>
                      <a:pt x="657781" y="89059"/>
                      <a:pt x="658734" y="90011"/>
                      <a:pt x="658734" y="90964"/>
                    </a:cubicBezTo>
                    <a:cubicBezTo>
                      <a:pt x="658734" y="92869"/>
                      <a:pt x="658734" y="95726"/>
                      <a:pt x="657781" y="97631"/>
                    </a:cubicBezTo>
                    <a:cubicBezTo>
                      <a:pt x="656829" y="107156"/>
                      <a:pt x="654924" y="115729"/>
                      <a:pt x="653019" y="125254"/>
                    </a:cubicBezTo>
                    <a:lnTo>
                      <a:pt x="650161" y="135731"/>
                    </a:lnTo>
                    <a:cubicBezTo>
                      <a:pt x="649209" y="138589"/>
                      <a:pt x="649209" y="142399"/>
                      <a:pt x="651114" y="145256"/>
                    </a:cubicBezTo>
                    <a:cubicBezTo>
                      <a:pt x="651114" y="146209"/>
                      <a:pt x="652067" y="147161"/>
                      <a:pt x="653019" y="148114"/>
                    </a:cubicBezTo>
                    <a:cubicBezTo>
                      <a:pt x="653971" y="149066"/>
                      <a:pt x="655876" y="150019"/>
                      <a:pt x="656829" y="150019"/>
                    </a:cubicBezTo>
                    <a:cubicBezTo>
                      <a:pt x="658734" y="150019"/>
                      <a:pt x="659686" y="150019"/>
                      <a:pt x="661592" y="150019"/>
                    </a:cubicBezTo>
                    <a:cubicBezTo>
                      <a:pt x="664449" y="150019"/>
                      <a:pt x="666354" y="150019"/>
                      <a:pt x="669211" y="149066"/>
                    </a:cubicBezTo>
                    <a:cubicBezTo>
                      <a:pt x="672069" y="148114"/>
                      <a:pt x="674926" y="147161"/>
                      <a:pt x="677784" y="145256"/>
                    </a:cubicBezTo>
                    <a:cubicBezTo>
                      <a:pt x="684451" y="142399"/>
                      <a:pt x="690167" y="139541"/>
                      <a:pt x="695881" y="134779"/>
                    </a:cubicBezTo>
                    <a:cubicBezTo>
                      <a:pt x="700644" y="131921"/>
                      <a:pt x="705406" y="129064"/>
                      <a:pt x="711121" y="126206"/>
                    </a:cubicBezTo>
                    <a:cubicBezTo>
                      <a:pt x="712074" y="125254"/>
                      <a:pt x="713026" y="125254"/>
                      <a:pt x="714931" y="125254"/>
                    </a:cubicBezTo>
                    <a:cubicBezTo>
                      <a:pt x="715884" y="126206"/>
                      <a:pt x="716836" y="126206"/>
                      <a:pt x="717789" y="127159"/>
                    </a:cubicBezTo>
                    <a:cubicBezTo>
                      <a:pt x="718742" y="128111"/>
                      <a:pt x="719694" y="128111"/>
                      <a:pt x="719694" y="129064"/>
                    </a:cubicBezTo>
                    <a:cubicBezTo>
                      <a:pt x="720646" y="130969"/>
                      <a:pt x="720646" y="131921"/>
                      <a:pt x="720646" y="133826"/>
                    </a:cubicBezTo>
                    <a:cubicBezTo>
                      <a:pt x="720646" y="135731"/>
                      <a:pt x="719694" y="136684"/>
                      <a:pt x="719694" y="138589"/>
                    </a:cubicBezTo>
                    <a:cubicBezTo>
                      <a:pt x="719694" y="138589"/>
                      <a:pt x="719694" y="139541"/>
                      <a:pt x="719694" y="139541"/>
                    </a:cubicBezTo>
                    <a:cubicBezTo>
                      <a:pt x="719694" y="141446"/>
                      <a:pt x="718742" y="142399"/>
                      <a:pt x="718742" y="144304"/>
                    </a:cubicBezTo>
                    <a:cubicBezTo>
                      <a:pt x="718742" y="144304"/>
                      <a:pt x="718742" y="144304"/>
                      <a:pt x="718742" y="145256"/>
                    </a:cubicBezTo>
                    <a:cubicBezTo>
                      <a:pt x="718742" y="146209"/>
                      <a:pt x="718742" y="147161"/>
                      <a:pt x="718742" y="148114"/>
                    </a:cubicBezTo>
                    <a:cubicBezTo>
                      <a:pt x="717789" y="149066"/>
                      <a:pt x="716836" y="150019"/>
                      <a:pt x="715884" y="150971"/>
                    </a:cubicBezTo>
                    <a:cubicBezTo>
                      <a:pt x="714931" y="152876"/>
                      <a:pt x="713979" y="153829"/>
                      <a:pt x="713026" y="155734"/>
                    </a:cubicBezTo>
                    <a:cubicBezTo>
                      <a:pt x="712074" y="156686"/>
                      <a:pt x="711121" y="158591"/>
                      <a:pt x="709217" y="159544"/>
                    </a:cubicBezTo>
                    <a:cubicBezTo>
                      <a:pt x="707311" y="161449"/>
                      <a:pt x="704454" y="163354"/>
                      <a:pt x="702549" y="165259"/>
                    </a:cubicBezTo>
                    <a:cubicBezTo>
                      <a:pt x="698739" y="168116"/>
                      <a:pt x="695881" y="170021"/>
                      <a:pt x="692071" y="171926"/>
                    </a:cubicBezTo>
                    <a:cubicBezTo>
                      <a:pt x="688261" y="173831"/>
                      <a:pt x="684451" y="174784"/>
                      <a:pt x="680642" y="175736"/>
                    </a:cubicBezTo>
                    <a:cubicBezTo>
                      <a:pt x="678736" y="175736"/>
                      <a:pt x="678736" y="176689"/>
                      <a:pt x="676831" y="176689"/>
                    </a:cubicBezTo>
                    <a:cubicBezTo>
                      <a:pt x="673974" y="176689"/>
                      <a:pt x="671117" y="176689"/>
                      <a:pt x="668259" y="177641"/>
                    </a:cubicBezTo>
                    <a:cubicBezTo>
                      <a:pt x="665401" y="178594"/>
                      <a:pt x="661592" y="178594"/>
                      <a:pt x="657781" y="179546"/>
                    </a:cubicBezTo>
                    <a:cubicBezTo>
                      <a:pt x="654924" y="180499"/>
                      <a:pt x="651114" y="180499"/>
                      <a:pt x="648256" y="181451"/>
                    </a:cubicBezTo>
                    <a:cubicBezTo>
                      <a:pt x="646351" y="182404"/>
                      <a:pt x="643494" y="183356"/>
                      <a:pt x="640636" y="184309"/>
                    </a:cubicBezTo>
                    <a:cubicBezTo>
                      <a:pt x="637779" y="185261"/>
                      <a:pt x="635874" y="186214"/>
                      <a:pt x="633017" y="186214"/>
                    </a:cubicBezTo>
                    <a:cubicBezTo>
                      <a:pt x="630159" y="187166"/>
                      <a:pt x="627301" y="188119"/>
                      <a:pt x="625396" y="189071"/>
                    </a:cubicBezTo>
                    <a:cubicBezTo>
                      <a:pt x="616824" y="192881"/>
                      <a:pt x="609204" y="196691"/>
                      <a:pt x="601584" y="201454"/>
                    </a:cubicBezTo>
                    <a:cubicBezTo>
                      <a:pt x="593011" y="207169"/>
                      <a:pt x="585392" y="215741"/>
                      <a:pt x="580629" y="225266"/>
                    </a:cubicBezTo>
                    <a:cubicBezTo>
                      <a:pt x="579676" y="228124"/>
                      <a:pt x="578724" y="230029"/>
                      <a:pt x="577771" y="232886"/>
                    </a:cubicBezTo>
                    <a:cubicBezTo>
                      <a:pt x="576819" y="235744"/>
                      <a:pt x="575867" y="238601"/>
                      <a:pt x="575867" y="241459"/>
                    </a:cubicBezTo>
                    <a:cubicBezTo>
                      <a:pt x="575867" y="246221"/>
                      <a:pt x="575867" y="250984"/>
                      <a:pt x="575867" y="255746"/>
                    </a:cubicBezTo>
                    <a:cubicBezTo>
                      <a:pt x="575867" y="260509"/>
                      <a:pt x="575867" y="265271"/>
                      <a:pt x="575867" y="270034"/>
                    </a:cubicBezTo>
                    <a:cubicBezTo>
                      <a:pt x="575867" y="271939"/>
                      <a:pt x="575867" y="273844"/>
                      <a:pt x="574914" y="275749"/>
                    </a:cubicBezTo>
                    <a:cubicBezTo>
                      <a:pt x="573961" y="279559"/>
                      <a:pt x="573961" y="283369"/>
                      <a:pt x="573009" y="287179"/>
                    </a:cubicBezTo>
                    <a:cubicBezTo>
                      <a:pt x="573009" y="288131"/>
                      <a:pt x="572056" y="289084"/>
                      <a:pt x="572056" y="290036"/>
                    </a:cubicBezTo>
                    <a:cubicBezTo>
                      <a:pt x="568246" y="304324"/>
                      <a:pt x="561579" y="316706"/>
                      <a:pt x="551101" y="328136"/>
                    </a:cubicBezTo>
                    <a:lnTo>
                      <a:pt x="540624" y="338614"/>
                    </a:lnTo>
                    <a:lnTo>
                      <a:pt x="530146" y="348139"/>
                    </a:lnTo>
                    <a:cubicBezTo>
                      <a:pt x="520621" y="355759"/>
                      <a:pt x="509191" y="363379"/>
                      <a:pt x="497761" y="368141"/>
                    </a:cubicBezTo>
                    <a:cubicBezTo>
                      <a:pt x="492046" y="370046"/>
                      <a:pt x="484426" y="373856"/>
                      <a:pt x="475854" y="377666"/>
                    </a:cubicBezTo>
                    <a:cubicBezTo>
                      <a:pt x="424419" y="400526"/>
                      <a:pt x="418704" y="415766"/>
                      <a:pt x="399654" y="425291"/>
                    </a:cubicBezTo>
                    <a:lnTo>
                      <a:pt x="397749" y="423386"/>
                    </a:lnTo>
                    <a:cubicBezTo>
                      <a:pt x="397749" y="428149"/>
                      <a:pt x="397749" y="430054"/>
                      <a:pt x="398701" y="431006"/>
                    </a:cubicBezTo>
                    <a:cubicBezTo>
                      <a:pt x="403464" y="432911"/>
                      <a:pt x="441564" y="506254"/>
                      <a:pt x="458709" y="544354"/>
                    </a:cubicBezTo>
                    <a:cubicBezTo>
                      <a:pt x="488236" y="611981"/>
                      <a:pt x="515859" y="636746"/>
                      <a:pt x="556817" y="634841"/>
                    </a:cubicBezTo>
                    <a:cubicBezTo>
                      <a:pt x="579676" y="633889"/>
                      <a:pt x="621586" y="655796"/>
                      <a:pt x="643494" y="680561"/>
                    </a:cubicBezTo>
                    <a:cubicBezTo>
                      <a:pt x="653019" y="691991"/>
                      <a:pt x="709217" y="699611"/>
                      <a:pt x="759699" y="696754"/>
                    </a:cubicBezTo>
                    <a:cubicBezTo>
                      <a:pt x="776844" y="695801"/>
                      <a:pt x="793989" y="695801"/>
                      <a:pt x="796846" y="696754"/>
                    </a:cubicBezTo>
                    <a:cubicBezTo>
                      <a:pt x="799704" y="697706"/>
                      <a:pt x="831136" y="695801"/>
                      <a:pt x="865426" y="692944"/>
                    </a:cubicBezTo>
                    <a:cubicBezTo>
                      <a:pt x="899717" y="690086"/>
                      <a:pt x="946389" y="688181"/>
                      <a:pt x="969249" y="687229"/>
                    </a:cubicBezTo>
                    <a:cubicBezTo>
                      <a:pt x="991156" y="687229"/>
                      <a:pt x="1013064" y="685324"/>
                      <a:pt x="1017826" y="683419"/>
                    </a:cubicBezTo>
                    <a:cubicBezTo>
                      <a:pt x="1031161" y="679609"/>
                      <a:pt x="1042592" y="660559"/>
                      <a:pt x="1056879" y="621506"/>
                    </a:cubicBezTo>
                    <a:cubicBezTo>
                      <a:pt x="1063547" y="602456"/>
                      <a:pt x="1074024" y="582454"/>
                      <a:pt x="1080692" y="575786"/>
                    </a:cubicBezTo>
                    <a:cubicBezTo>
                      <a:pt x="1099742" y="558641"/>
                      <a:pt x="1142604" y="537686"/>
                      <a:pt x="1150224" y="541496"/>
                    </a:cubicBezTo>
                    <a:cubicBezTo>
                      <a:pt x="1159749" y="546259"/>
                      <a:pt x="1156892" y="551021"/>
                      <a:pt x="1137842" y="570071"/>
                    </a:cubicBezTo>
                    <a:cubicBezTo>
                      <a:pt x="1118792" y="588169"/>
                      <a:pt x="1105457" y="614839"/>
                      <a:pt x="1109267" y="626269"/>
                    </a:cubicBezTo>
                    <a:cubicBezTo>
                      <a:pt x="1111171" y="631031"/>
                      <a:pt x="1109267" y="637699"/>
                      <a:pt x="1106409" y="642461"/>
                    </a:cubicBezTo>
                    <a:cubicBezTo>
                      <a:pt x="1091169" y="662464"/>
                      <a:pt x="1091169" y="676751"/>
                      <a:pt x="1108314" y="715804"/>
                    </a:cubicBezTo>
                    <a:cubicBezTo>
                      <a:pt x="1124507" y="751999"/>
                      <a:pt x="1124507" y="752951"/>
                      <a:pt x="1118792" y="787241"/>
                    </a:cubicBezTo>
                    <a:cubicBezTo>
                      <a:pt x="1112124" y="832961"/>
                      <a:pt x="1118792" y="852964"/>
                      <a:pt x="1144509" y="866299"/>
                    </a:cubicBezTo>
                    <a:cubicBezTo>
                      <a:pt x="1163559" y="876776"/>
                      <a:pt x="1206421" y="881539"/>
                      <a:pt x="1234996" y="875824"/>
                    </a:cubicBezTo>
                    <a:cubicBezTo>
                      <a:pt x="1246426" y="872966"/>
                      <a:pt x="1253094" y="875824"/>
                      <a:pt x="1274049" y="894874"/>
                    </a:cubicBezTo>
                    <a:cubicBezTo>
                      <a:pt x="1288336" y="907256"/>
                      <a:pt x="1309292" y="922496"/>
                      <a:pt x="1320721" y="927259"/>
                    </a:cubicBezTo>
                    <a:cubicBezTo>
                      <a:pt x="1352154" y="942499"/>
                      <a:pt x="1421686" y="961549"/>
                      <a:pt x="1432164" y="958691"/>
                    </a:cubicBezTo>
                    <a:cubicBezTo>
                      <a:pt x="1436926" y="956786"/>
                      <a:pt x="1449309" y="957739"/>
                      <a:pt x="1458834" y="959644"/>
                    </a:cubicBezTo>
                    <a:cubicBezTo>
                      <a:pt x="1478836" y="964406"/>
                      <a:pt x="1511221" y="983456"/>
                      <a:pt x="1507411" y="989171"/>
                    </a:cubicBezTo>
                    <a:cubicBezTo>
                      <a:pt x="1506459" y="991076"/>
                      <a:pt x="1496934" y="995839"/>
                      <a:pt x="1485504" y="998696"/>
                    </a:cubicBezTo>
                    <a:lnTo>
                      <a:pt x="1465501" y="1004411"/>
                    </a:lnTo>
                    <a:lnTo>
                      <a:pt x="1474074" y="1019651"/>
                    </a:lnTo>
                    <a:cubicBezTo>
                      <a:pt x="1482646" y="1034891"/>
                      <a:pt x="1482646" y="1035844"/>
                      <a:pt x="1471217" y="1041559"/>
                    </a:cubicBezTo>
                    <a:cubicBezTo>
                      <a:pt x="1464549" y="1044416"/>
                      <a:pt x="1455976" y="1047274"/>
                      <a:pt x="1452167" y="1047274"/>
                    </a:cubicBezTo>
                    <a:cubicBezTo>
                      <a:pt x="1448357" y="1047274"/>
                      <a:pt x="1444546" y="1048226"/>
                      <a:pt x="1442642" y="1049179"/>
                    </a:cubicBezTo>
                    <a:cubicBezTo>
                      <a:pt x="1440736" y="1050131"/>
                      <a:pt x="1433117" y="1047274"/>
                      <a:pt x="1424544" y="1044416"/>
                    </a:cubicBezTo>
                    <a:cubicBezTo>
                      <a:pt x="1416924" y="1041559"/>
                      <a:pt x="1402636" y="1035844"/>
                      <a:pt x="1394064" y="1033939"/>
                    </a:cubicBezTo>
                    <a:cubicBezTo>
                      <a:pt x="1363584" y="1025366"/>
                      <a:pt x="1315007" y="1001554"/>
                      <a:pt x="1305482" y="991076"/>
                    </a:cubicBezTo>
                    <a:cubicBezTo>
                      <a:pt x="1299767" y="985361"/>
                      <a:pt x="1279764" y="974884"/>
                      <a:pt x="1260714" y="967264"/>
                    </a:cubicBezTo>
                    <a:cubicBezTo>
                      <a:pt x="1227376" y="953929"/>
                      <a:pt x="1226424" y="953929"/>
                      <a:pt x="1182609" y="961549"/>
                    </a:cubicBezTo>
                    <a:cubicBezTo>
                      <a:pt x="1157844" y="966311"/>
                      <a:pt x="1128317" y="972026"/>
                      <a:pt x="1116886" y="973931"/>
                    </a:cubicBezTo>
                    <a:cubicBezTo>
                      <a:pt x="1045449" y="989171"/>
                      <a:pt x="1014017" y="982504"/>
                      <a:pt x="972106" y="944404"/>
                    </a:cubicBezTo>
                    <a:cubicBezTo>
                      <a:pt x="933054" y="908209"/>
                      <a:pt x="903526" y="903446"/>
                      <a:pt x="835899" y="917734"/>
                    </a:cubicBezTo>
                    <a:cubicBezTo>
                      <a:pt x="810181" y="923449"/>
                      <a:pt x="788274" y="930116"/>
                      <a:pt x="786369" y="932974"/>
                    </a:cubicBezTo>
                    <a:cubicBezTo>
                      <a:pt x="784464" y="935831"/>
                      <a:pt x="776844" y="938689"/>
                      <a:pt x="770176" y="939641"/>
                    </a:cubicBezTo>
                    <a:cubicBezTo>
                      <a:pt x="755889" y="942499"/>
                      <a:pt x="707311" y="944404"/>
                      <a:pt x="693024" y="942499"/>
                    </a:cubicBezTo>
                    <a:cubicBezTo>
                      <a:pt x="671117" y="938689"/>
                      <a:pt x="591106" y="925354"/>
                      <a:pt x="566342" y="921544"/>
                    </a:cubicBezTo>
                    <a:cubicBezTo>
                      <a:pt x="552054" y="918686"/>
                      <a:pt x="535861" y="916781"/>
                      <a:pt x="532051" y="915829"/>
                    </a:cubicBezTo>
                    <a:cubicBezTo>
                      <a:pt x="528242" y="915829"/>
                      <a:pt x="518716" y="912971"/>
                      <a:pt x="512049" y="911066"/>
                    </a:cubicBezTo>
                    <a:cubicBezTo>
                      <a:pt x="504429" y="909161"/>
                      <a:pt x="487284" y="912019"/>
                      <a:pt x="469186" y="916781"/>
                    </a:cubicBezTo>
                    <a:cubicBezTo>
                      <a:pt x="437754" y="925354"/>
                      <a:pt x="413941" y="925354"/>
                      <a:pt x="356791" y="912971"/>
                    </a:cubicBezTo>
                    <a:cubicBezTo>
                      <a:pt x="298689" y="900589"/>
                      <a:pt x="270114" y="911066"/>
                      <a:pt x="219631" y="962501"/>
                    </a:cubicBezTo>
                    <a:cubicBezTo>
                      <a:pt x="200581" y="982504"/>
                      <a:pt x="181531" y="998696"/>
                      <a:pt x="178674" y="999649"/>
                    </a:cubicBezTo>
                    <a:cubicBezTo>
                      <a:pt x="175816" y="1000601"/>
                      <a:pt x="167244" y="1012031"/>
                      <a:pt x="159624" y="1024414"/>
                    </a:cubicBezTo>
                    <a:cubicBezTo>
                      <a:pt x="145336" y="1047274"/>
                      <a:pt x="143431" y="1048226"/>
                      <a:pt x="111999" y="1057751"/>
                    </a:cubicBezTo>
                    <a:lnTo>
                      <a:pt x="79614" y="1068229"/>
                    </a:lnTo>
                    <a:lnTo>
                      <a:pt x="92949" y="1042511"/>
                    </a:lnTo>
                    <a:cubicBezTo>
                      <a:pt x="100569" y="1028224"/>
                      <a:pt x="110094" y="1014889"/>
                      <a:pt x="114856" y="1011079"/>
                    </a:cubicBezTo>
                    <a:cubicBezTo>
                      <a:pt x="119619" y="1008221"/>
                      <a:pt x="128191" y="997744"/>
                      <a:pt x="133906" y="987266"/>
                    </a:cubicBezTo>
                    <a:cubicBezTo>
                      <a:pt x="139621" y="976789"/>
                      <a:pt x="155814" y="960596"/>
                      <a:pt x="170101" y="950119"/>
                    </a:cubicBezTo>
                    <a:cubicBezTo>
                      <a:pt x="183436" y="939641"/>
                      <a:pt x="193914" y="930116"/>
                      <a:pt x="192961" y="928211"/>
                    </a:cubicBezTo>
                    <a:cubicBezTo>
                      <a:pt x="191056" y="922496"/>
                      <a:pt x="186294" y="925354"/>
                      <a:pt x="140574" y="950119"/>
                    </a:cubicBezTo>
                    <a:cubicBezTo>
                      <a:pt x="90091" y="977741"/>
                      <a:pt x="60564" y="988219"/>
                      <a:pt x="31036" y="986314"/>
                    </a:cubicBezTo>
                    <a:cubicBezTo>
                      <a:pt x="17701" y="985361"/>
                      <a:pt x="7224" y="983456"/>
                      <a:pt x="7224" y="981551"/>
                    </a:cubicBezTo>
                    <a:cubicBezTo>
                      <a:pt x="4366" y="973931"/>
                      <a:pt x="78661" y="934879"/>
                      <a:pt x="116761" y="923449"/>
                    </a:cubicBezTo>
                    <a:cubicBezTo>
                      <a:pt x="152004" y="912971"/>
                      <a:pt x="216774" y="884396"/>
                      <a:pt x="232966" y="871061"/>
                    </a:cubicBezTo>
                    <a:cubicBezTo>
                      <a:pt x="250111" y="857726"/>
                      <a:pt x="246301" y="858679"/>
                      <a:pt x="347266" y="845344"/>
                    </a:cubicBezTo>
                    <a:cubicBezTo>
                      <a:pt x="366316" y="842486"/>
                      <a:pt x="384414" y="837724"/>
                      <a:pt x="389176" y="834866"/>
                    </a:cubicBezTo>
                    <a:cubicBezTo>
                      <a:pt x="400606" y="826294"/>
                      <a:pt x="397749" y="809149"/>
                      <a:pt x="379651" y="783431"/>
                    </a:cubicBezTo>
                    <a:cubicBezTo>
                      <a:pt x="371079" y="771049"/>
                      <a:pt x="359649" y="755809"/>
                      <a:pt x="355839" y="748189"/>
                    </a:cubicBezTo>
                    <a:cubicBezTo>
                      <a:pt x="351076" y="741521"/>
                      <a:pt x="340599" y="730091"/>
                      <a:pt x="332979" y="723424"/>
                    </a:cubicBezTo>
                    <a:cubicBezTo>
                      <a:pt x="304404" y="699611"/>
                      <a:pt x="301546" y="688181"/>
                      <a:pt x="310119" y="633889"/>
                    </a:cubicBezTo>
                    <a:cubicBezTo>
                      <a:pt x="317739" y="586264"/>
                      <a:pt x="317739" y="583406"/>
                      <a:pt x="307261" y="567214"/>
                    </a:cubicBezTo>
                    <a:cubicBezTo>
                      <a:pt x="300594" y="558641"/>
                      <a:pt x="291069" y="548164"/>
                      <a:pt x="286306" y="545306"/>
                    </a:cubicBezTo>
                    <a:cubicBezTo>
                      <a:pt x="275829" y="539591"/>
                      <a:pt x="207249" y="529114"/>
                      <a:pt x="197724" y="531971"/>
                    </a:cubicBezTo>
                    <a:cubicBezTo>
                      <a:pt x="191056" y="533876"/>
                      <a:pt x="184389" y="525304"/>
                      <a:pt x="178674" y="511016"/>
                    </a:cubicBezTo>
                    <a:cubicBezTo>
                      <a:pt x="171054" y="490061"/>
                      <a:pt x="175816" y="485299"/>
                      <a:pt x="215821" y="471964"/>
                    </a:cubicBezTo>
                    <a:cubicBezTo>
                      <a:pt x="244396" y="462439"/>
                      <a:pt x="273924" y="450056"/>
                      <a:pt x="294879" y="438626"/>
                    </a:cubicBezTo>
                    <a:lnTo>
                      <a:pt x="282496" y="436721"/>
                    </a:lnTo>
                    <a:lnTo>
                      <a:pt x="232014" y="432911"/>
                    </a:lnTo>
                    <a:cubicBezTo>
                      <a:pt x="222489" y="431959"/>
                      <a:pt x="212964" y="431959"/>
                      <a:pt x="203439" y="431006"/>
                    </a:cubicBezTo>
                    <a:cubicBezTo>
                      <a:pt x="194866" y="431006"/>
                      <a:pt x="187246" y="429101"/>
                      <a:pt x="180579" y="427196"/>
                    </a:cubicBezTo>
                    <a:cubicBezTo>
                      <a:pt x="175816" y="425291"/>
                      <a:pt x="171054" y="423386"/>
                      <a:pt x="166291" y="421481"/>
                    </a:cubicBezTo>
                    <a:cubicBezTo>
                      <a:pt x="162481" y="419576"/>
                      <a:pt x="160576" y="414814"/>
                      <a:pt x="161529" y="411004"/>
                    </a:cubicBezTo>
                    <a:cubicBezTo>
                      <a:pt x="162481" y="407194"/>
                      <a:pt x="165339" y="404336"/>
                      <a:pt x="169149" y="403384"/>
                    </a:cubicBezTo>
                    <a:cubicBezTo>
                      <a:pt x="173911" y="402431"/>
                      <a:pt x="179626" y="402431"/>
                      <a:pt x="184389" y="404336"/>
                    </a:cubicBezTo>
                    <a:lnTo>
                      <a:pt x="178674" y="394811"/>
                    </a:lnTo>
                    <a:lnTo>
                      <a:pt x="173911" y="385286"/>
                    </a:lnTo>
                    <a:lnTo>
                      <a:pt x="170101" y="374809"/>
                    </a:lnTo>
                    <a:cubicBezTo>
                      <a:pt x="165339" y="361474"/>
                      <a:pt x="162481" y="347186"/>
                      <a:pt x="161529" y="332899"/>
                    </a:cubicBezTo>
                    <a:lnTo>
                      <a:pt x="152956" y="323374"/>
                    </a:lnTo>
                    <a:cubicBezTo>
                      <a:pt x="150099" y="320516"/>
                      <a:pt x="149146" y="317659"/>
                      <a:pt x="148194" y="313849"/>
                    </a:cubicBezTo>
                    <a:cubicBezTo>
                      <a:pt x="147241" y="310039"/>
                      <a:pt x="149146" y="306229"/>
                      <a:pt x="152956" y="305276"/>
                    </a:cubicBezTo>
                    <a:cubicBezTo>
                      <a:pt x="156766" y="303371"/>
                      <a:pt x="160576" y="304324"/>
                      <a:pt x="163434" y="306229"/>
                    </a:cubicBezTo>
                    <a:lnTo>
                      <a:pt x="176769" y="312896"/>
                    </a:lnTo>
                    <a:cubicBezTo>
                      <a:pt x="181531" y="315754"/>
                      <a:pt x="187246" y="317659"/>
                      <a:pt x="192009" y="318611"/>
                    </a:cubicBezTo>
                    <a:cubicBezTo>
                      <a:pt x="195819" y="319564"/>
                      <a:pt x="199629" y="320516"/>
                      <a:pt x="203439" y="320516"/>
                    </a:cubicBezTo>
                    <a:lnTo>
                      <a:pt x="197724" y="313849"/>
                    </a:lnTo>
                    <a:lnTo>
                      <a:pt x="192009" y="303371"/>
                    </a:lnTo>
                    <a:lnTo>
                      <a:pt x="185341" y="289084"/>
                    </a:lnTo>
                    <a:lnTo>
                      <a:pt x="182484" y="282416"/>
                    </a:lnTo>
                    <a:cubicBezTo>
                      <a:pt x="181531" y="278606"/>
                      <a:pt x="183436" y="274796"/>
                      <a:pt x="186294" y="272891"/>
                    </a:cubicBezTo>
                    <a:cubicBezTo>
                      <a:pt x="189151" y="270986"/>
                      <a:pt x="192009" y="270986"/>
                      <a:pt x="194866" y="272891"/>
                    </a:cubicBezTo>
                    <a:cubicBezTo>
                      <a:pt x="198676" y="274796"/>
                      <a:pt x="201534" y="277654"/>
                      <a:pt x="204391" y="280511"/>
                    </a:cubicBezTo>
                    <a:cubicBezTo>
                      <a:pt x="208201" y="285274"/>
                      <a:pt x="212011" y="290036"/>
                      <a:pt x="215821" y="294799"/>
                    </a:cubicBezTo>
                    <a:cubicBezTo>
                      <a:pt x="219631" y="299561"/>
                      <a:pt x="224394" y="304324"/>
                      <a:pt x="229156" y="308134"/>
                    </a:cubicBezTo>
                    <a:cubicBezTo>
                      <a:pt x="237729" y="314801"/>
                      <a:pt x="245349" y="320516"/>
                      <a:pt x="252969" y="327184"/>
                    </a:cubicBezTo>
                    <a:cubicBezTo>
                      <a:pt x="258684" y="330994"/>
                      <a:pt x="266304" y="335756"/>
                      <a:pt x="274876" y="337661"/>
                    </a:cubicBezTo>
                    <a:cubicBezTo>
                      <a:pt x="275829" y="337661"/>
                      <a:pt x="276781" y="338614"/>
                      <a:pt x="277734" y="337661"/>
                    </a:cubicBezTo>
                    <a:cubicBezTo>
                      <a:pt x="281544" y="338614"/>
                      <a:pt x="285354" y="336709"/>
                      <a:pt x="287259" y="333851"/>
                    </a:cubicBezTo>
                    <a:cubicBezTo>
                      <a:pt x="288211" y="332899"/>
                      <a:pt x="289164" y="331946"/>
                      <a:pt x="289164" y="330041"/>
                    </a:cubicBezTo>
                    <a:cubicBezTo>
                      <a:pt x="289164" y="328136"/>
                      <a:pt x="289164" y="327184"/>
                      <a:pt x="289164" y="325279"/>
                    </a:cubicBezTo>
                    <a:cubicBezTo>
                      <a:pt x="288211" y="320516"/>
                      <a:pt x="287259" y="314801"/>
                      <a:pt x="288211" y="309086"/>
                    </a:cubicBezTo>
                    <a:cubicBezTo>
                      <a:pt x="288211" y="303371"/>
                      <a:pt x="291069" y="297656"/>
                      <a:pt x="293926" y="292894"/>
                    </a:cubicBezTo>
                    <a:cubicBezTo>
                      <a:pt x="296784" y="288131"/>
                      <a:pt x="303451" y="288131"/>
                      <a:pt x="306309" y="291941"/>
                    </a:cubicBezTo>
                    <a:cubicBezTo>
                      <a:pt x="308214" y="293846"/>
                      <a:pt x="310119" y="297656"/>
                      <a:pt x="310119" y="300514"/>
                    </a:cubicBezTo>
                    <a:cubicBezTo>
                      <a:pt x="311071" y="317659"/>
                      <a:pt x="312976" y="333851"/>
                      <a:pt x="315834" y="350044"/>
                    </a:cubicBezTo>
                    <a:lnTo>
                      <a:pt x="376794" y="364331"/>
                    </a:lnTo>
                    <a:lnTo>
                      <a:pt x="385366" y="358616"/>
                    </a:lnTo>
                    <a:lnTo>
                      <a:pt x="397749" y="346234"/>
                    </a:lnTo>
                    <a:cubicBezTo>
                      <a:pt x="408226" y="335756"/>
                      <a:pt x="417751" y="324326"/>
                      <a:pt x="424419" y="312896"/>
                    </a:cubicBezTo>
                    <a:cubicBezTo>
                      <a:pt x="429181" y="304324"/>
                      <a:pt x="432991" y="295751"/>
                      <a:pt x="436801" y="286226"/>
                    </a:cubicBezTo>
                    <a:cubicBezTo>
                      <a:pt x="437754" y="285274"/>
                      <a:pt x="437754" y="284321"/>
                      <a:pt x="437754" y="284321"/>
                    </a:cubicBezTo>
                    <a:cubicBezTo>
                      <a:pt x="439659" y="277654"/>
                      <a:pt x="439659" y="270986"/>
                      <a:pt x="439659" y="265271"/>
                    </a:cubicBezTo>
                    <a:cubicBezTo>
                      <a:pt x="438706" y="258604"/>
                      <a:pt x="437754" y="251936"/>
                      <a:pt x="433944" y="246221"/>
                    </a:cubicBezTo>
                    <a:cubicBezTo>
                      <a:pt x="431086" y="241459"/>
                      <a:pt x="427276" y="237649"/>
                      <a:pt x="424419" y="232886"/>
                    </a:cubicBezTo>
                    <a:cubicBezTo>
                      <a:pt x="419656" y="227171"/>
                      <a:pt x="413941" y="220504"/>
                      <a:pt x="408226" y="215741"/>
                    </a:cubicBezTo>
                    <a:cubicBezTo>
                      <a:pt x="401559" y="210979"/>
                      <a:pt x="393939" y="208121"/>
                      <a:pt x="386319" y="205264"/>
                    </a:cubicBezTo>
                    <a:cubicBezTo>
                      <a:pt x="380604" y="203359"/>
                      <a:pt x="372984" y="200501"/>
                      <a:pt x="366316" y="198596"/>
                    </a:cubicBezTo>
                    <a:cubicBezTo>
                      <a:pt x="361554" y="197644"/>
                      <a:pt x="358696" y="196691"/>
                      <a:pt x="355839" y="195739"/>
                    </a:cubicBezTo>
                    <a:cubicBezTo>
                      <a:pt x="351076" y="194786"/>
                      <a:pt x="346314" y="192881"/>
                      <a:pt x="340599" y="192881"/>
                    </a:cubicBezTo>
                    <a:cubicBezTo>
                      <a:pt x="332979" y="191929"/>
                      <a:pt x="324406" y="190976"/>
                      <a:pt x="316786" y="189071"/>
                    </a:cubicBezTo>
                    <a:lnTo>
                      <a:pt x="306309" y="187166"/>
                    </a:lnTo>
                    <a:cubicBezTo>
                      <a:pt x="301546" y="186214"/>
                      <a:pt x="295831" y="183356"/>
                      <a:pt x="292021" y="179546"/>
                    </a:cubicBezTo>
                    <a:cubicBezTo>
                      <a:pt x="289164" y="176689"/>
                      <a:pt x="288211" y="172879"/>
                      <a:pt x="289164" y="170021"/>
                    </a:cubicBezTo>
                    <a:cubicBezTo>
                      <a:pt x="290116" y="165259"/>
                      <a:pt x="293926" y="161449"/>
                      <a:pt x="298689" y="160496"/>
                    </a:cubicBezTo>
                    <a:cubicBezTo>
                      <a:pt x="303451" y="158591"/>
                      <a:pt x="308214" y="157639"/>
                      <a:pt x="313929" y="158591"/>
                    </a:cubicBezTo>
                    <a:cubicBezTo>
                      <a:pt x="319644" y="158591"/>
                      <a:pt x="325359" y="159544"/>
                      <a:pt x="331074" y="160496"/>
                    </a:cubicBezTo>
                    <a:lnTo>
                      <a:pt x="368221" y="140494"/>
                    </a:lnTo>
                    <a:lnTo>
                      <a:pt x="364411" y="131921"/>
                    </a:lnTo>
                    <a:cubicBezTo>
                      <a:pt x="359649" y="122396"/>
                      <a:pt x="356791" y="112871"/>
                      <a:pt x="355839" y="103346"/>
                    </a:cubicBezTo>
                    <a:cubicBezTo>
                      <a:pt x="355839" y="99536"/>
                      <a:pt x="357744" y="96679"/>
                      <a:pt x="360601" y="93821"/>
                    </a:cubicBezTo>
                    <a:cubicBezTo>
                      <a:pt x="363459" y="91916"/>
                      <a:pt x="366316" y="91916"/>
                      <a:pt x="369174" y="92869"/>
                    </a:cubicBezTo>
                    <a:cubicBezTo>
                      <a:pt x="372031" y="93821"/>
                      <a:pt x="374889" y="95726"/>
                      <a:pt x="376794" y="97631"/>
                    </a:cubicBezTo>
                    <a:cubicBezTo>
                      <a:pt x="378699" y="100489"/>
                      <a:pt x="380604" y="104299"/>
                      <a:pt x="382509" y="108109"/>
                    </a:cubicBezTo>
                    <a:cubicBezTo>
                      <a:pt x="384414" y="112871"/>
                      <a:pt x="386319" y="116681"/>
                      <a:pt x="389176" y="120491"/>
                    </a:cubicBezTo>
                    <a:cubicBezTo>
                      <a:pt x="392034" y="124301"/>
                      <a:pt x="393939" y="128111"/>
                      <a:pt x="396796" y="130969"/>
                    </a:cubicBezTo>
                    <a:cubicBezTo>
                      <a:pt x="398701" y="132874"/>
                      <a:pt x="400606" y="135731"/>
                      <a:pt x="402511" y="137636"/>
                    </a:cubicBezTo>
                    <a:lnTo>
                      <a:pt x="406321" y="136684"/>
                    </a:lnTo>
                    <a:lnTo>
                      <a:pt x="412989" y="136684"/>
                    </a:lnTo>
                    <a:lnTo>
                      <a:pt x="432039" y="139541"/>
                    </a:lnTo>
                    <a:lnTo>
                      <a:pt x="450136" y="143351"/>
                    </a:lnTo>
                    <a:lnTo>
                      <a:pt x="472996" y="147161"/>
                    </a:lnTo>
                    <a:cubicBezTo>
                      <a:pt x="479664" y="149066"/>
                      <a:pt x="487284" y="149066"/>
                      <a:pt x="493951" y="147161"/>
                    </a:cubicBezTo>
                    <a:lnTo>
                      <a:pt x="496809" y="143351"/>
                    </a:lnTo>
                    <a:cubicBezTo>
                      <a:pt x="498714" y="140494"/>
                      <a:pt x="498714" y="138589"/>
                      <a:pt x="499666" y="135731"/>
                    </a:cubicBezTo>
                    <a:cubicBezTo>
                      <a:pt x="499666" y="134779"/>
                      <a:pt x="500619" y="134779"/>
                      <a:pt x="500619" y="134779"/>
                    </a:cubicBezTo>
                    <a:cubicBezTo>
                      <a:pt x="500619" y="131921"/>
                      <a:pt x="501571" y="129064"/>
                      <a:pt x="501571" y="127159"/>
                    </a:cubicBezTo>
                    <a:cubicBezTo>
                      <a:pt x="501571" y="124301"/>
                      <a:pt x="501571" y="121444"/>
                      <a:pt x="500619" y="118586"/>
                    </a:cubicBezTo>
                    <a:cubicBezTo>
                      <a:pt x="500619" y="116681"/>
                      <a:pt x="499666" y="113824"/>
                      <a:pt x="498714" y="111919"/>
                    </a:cubicBezTo>
                    <a:cubicBezTo>
                      <a:pt x="498714" y="110966"/>
                      <a:pt x="497761" y="110014"/>
                      <a:pt x="496809" y="109061"/>
                    </a:cubicBezTo>
                    <a:cubicBezTo>
                      <a:pt x="494904" y="108109"/>
                      <a:pt x="493951" y="107156"/>
                      <a:pt x="492046" y="105251"/>
                    </a:cubicBezTo>
                    <a:cubicBezTo>
                      <a:pt x="490141" y="103346"/>
                      <a:pt x="488236" y="101441"/>
                      <a:pt x="486331" y="99536"/>
                    </a:cubicBezTo>
                    <a:cubicBezTo>
                      <a:pt x="484426" y="98584"/>
                      <a:pt x="481569" y="96679"/>
                      <a:pt x="479664" y="95726"/>
                    </a:cubicBezTo>
                    <a:lnTo>
                      <a:pt x="465376" y="92869"/>
                    </a:lnTo>
                    <a:lnTo>
                      <a:pt x="457756" y="88106"/>
                    </a:lnTo>
                    <a:cubicBezTo>
                      <a:pt x="453946" y="85249"/>
                      <a:pt x="449184" y="82391"/>
                      <a:pt x="447279" y="78581"/>
                    </a:cubicBezTo>
                    <a:cubicBezTo>
                      <a:pt x="445374" y="76676"/>
                      <a:pt x="444421" y="74771"/>
                      <a:pt x="442516" y="71914"/>
                    </a:cubicBezTo>
                    <a:cubicBezTo>
                      <a:pt x="441564" y="70009"/>
                      <a:pt x="440611" y="66199"/>
                      <a:pt x="442516" y="63341"/>
                    </a:cubicBezTo>
                    <a:cubicBezTo>
                      <a:pt x="445374" y="58579"/>
                      <a:pt x="452041" y="55721"/>
                      <a:pt x="457756" y="57626"/>
                    </a:cubicBezTo>
                    <a:cubicBezTo>
                      <a:pt x="470139" y="62389"/>
                      <a:pt x="481569" y="68104"/>
                      <a:pt x="492046" y="76676"/>
                    </a:cubicBezTo>
                    <a:cubicBezTo>
                      <a:pt x="492999" y="76676"/>
                      <a:pt x="493951" y="77629"/>
                      <a:pt x="494904" y="77629"/>
                    </a:cubicBezTo>
                    <a:cubicBezTo>
                      <a:pt x="495856" y="77629"/>
                      <a:pt x="495856" y="77629"/>
                      <a:pt x="496809" y="77629"/>
                    </a:cubicBezTo>
                    <a:cubicBezTo>
                      <a:pt x="501571" y="77629"/>
                      <a:pt x="507286" y="74771"/>
                      <a:pt x="508239" y="70009"/>
                    </a:cubicBezTo>
                    <a:cubicBezTo>
                      <a:pt x="509191" y="67151"/>
                      <a:pt x="510144" y="64294"/>
                      <a:pt x="511096" y="62389"/>
                    </a:cubicBezTo>
                    <a:cubicBezTo>
                      <a:pt x="511096" y="62389"/>
                      <a:pt x="511096" y="62389"/>
                      <a:pt x="511096" y="61436"/>
                    </a:cubicBezTo>
                    <a:cubicBezTo>
                      <a:pt x="512049" y="58579"/>
                      <a:pt x="512049" y="55721"/>
                      <a:pt x="511096" y="52864"/>
                    </a:cubicBezTo>
                    <a:cubicBezTo>
                      <a:pt x="511096" y="50959"/>
                      <a:pt x="509191" y="48101"/>
                      <a:pt x="507286" y="46196"/>
                    </a:cubicBezTo>
                    <a:cubicBezTo>
                      <a:pt x="504429" y="43339"/>
                      <a:pt x="502524" y="40481"/>
                      <a:pt x="499666" y="37624"/>
                    </a:cubicBezTo>
                    <a:cubicBezTo>
                      <a:pt x="494904" y="32861"/>
                      <a:pt x="490141" y="28099"/>
                      <a:pt x="487284" y="22384"/>
                    </a:cubicBezTo>
                    <a:cubicBezTo>
                      <a:pt x="486331" y="20479"/>
                      <a:pt x="485379" y="17621"/>
                      <a:pt x="486331" y="15716"/>
                    </a:cubicBezTo>
                    <a:cubicBezTo>
                      <a:pt x="487284" y="13811"/>
                      <a:pt x="489189" y="11906"/>
                      <a:pt x="491094" y="10001"/>
                    </a:cubicBezTo>
                    <a:cubicBezTo>
                      <a:pt x="491094" y="10954"/>
                      <a:pt x="492046" y="10954"/>
                      <a:pt x="493951" y="10001"/>
                    </a:cubicBezTo>
                    <a:lnTo>
                      <a:pt x="493951" y="10001"/>
                    </a:lnTo>
                    <a:lnTo>
                      <a:pt x="493951" y="10001"/>
                    </a:lnTo>
                    <a:close/>
                    <a:moveTo>
                      <a:pt x="394891" y="174784"/>
                    </a:moveTo>
                    <a:cubicBezTo>
                      <a:pt x="392986" y="174784"/>
                      <a:pt x="392034" y="175736"/>
                      <a:pt x="391081" y="177641"/>
                    </a:cubicBezTo>
                    <a:cubicBezTo>
                      <a:pt x="390129" y="178594"/>
                      <a:pt x="390129" y="180499"/>
                      <a:pt x="392034" y="181451"/>
                    </a:cubicBezTo>
                    <a:cubicBezTo>
                      <a:pt x="396796" y="185261"/>
                      <a:pt x="402511" y="189071"/>
                      <a:pt x="407274" y="191929"/>
                    </a:cubicBezTo>
                    <a:cubicBezTo>
                      <a:pt x="412036" y="194786"/>
                      <a:pt x="417751" y="196691"/>
                      <a:pt x="422514" y="198596"/>
                    </a:cubicBezTo>
                    <a:cubicBezTo>
                      <a:pt x="424419" y="198596"/>
                      <a:pt x="425371" y="199549"/>
                      <a:pt x="427276" y="199549"/>
                    </a:cubicBezTo>
                    <a:cubicBezTo>
                      <a:pt x="432991" y="199549"/>
                      <a:pt x="438706" y="198596"/>
                      <a:pt x="444421" y="198596"/>
                    </a:cubicBezTo>
                    <a:cubicBezTo>
                      <a:pt x="446326" y="198596"/>
                      <a:pt x="447279" y="197644"/>
                      <a:pt x="449184" y="198596"/>
                    </a:cubicBezTo>
                    <a:cubicBezTo>
                      <a:pt x="449184" y="198596"/>
                      <a:pt x="449184" y="199549"/>
                      <a:pt x="449184" y="199549"/>
                    </a:cubicBezTo>
                    <a:cubicBezTo>
                      <a:pt x="452041" y="200501"/>
                      <a:pt x="454899" y="201454"/>
                      <a:pt x="456804" y="204311"/>
                    </a:cubicBezTo>
                    <a:cubicBezTo>
                      <a:pt x="457756" y="205264"/>
                      <a:pt x="458709" y="206216"/>
                      <a:pt x="458709" y="207169"/>
                    </a:cubicBezTo>
                    <a:cubicBezTo>
                      <a:pt x="458709" y="208121"/>
                      <a:pt x="457756" y="210979"/>
                      <a:pt x="456804" y="211931"/>
                    </a:cubicBezTo>
                    <a:cubicBezTo>
                      <a:pt x="456804" y="211931"/>
                      <a:pt x="456804" y="212884"/>
                      <a:pt x="456804" y="212884"/>
                    </a:cubicBezTo>
                    <a:cubicBezTo>
                      <a:pt x="455851" y="215741"/>
                      <a:pt x="454899" y="217646"/>
                      <a:pt x="453946" y="220504"/>
                    </a:cubicBezTo>
                    <a:cubicBezTo>
                      <a:pt x="452994" y="222409"/>
                      <a:pt x="452994" y="225266"/>
                      <a:pt x="452994" y="227171"/>
                    </a:cubicBezTo>
                    <a:lnTo>
                      <a:pt x="452994" y="230981"/>
                    </a:lnTo>
                    <a:cubicBezTo>
                      <a:pt x="453946" y="233839"/>
                      <a:pt x="455851" y="237649"/>
                      <a:pt x="456804" y="240506"/>
                    </a:cubicBezTo>
                    <a:cubicBezTo>
                      <a:pt x="460614" y="249079"/>
                      <a:pt x="462519" y="258604"/>
                      <a:pt x="462519" y="268129"/>
                    </a:cubicBezTo>
                    <a:lnTo>
                      <a:pt x="463471" y="273844"/>
                    </a:lnTo>
                    <a:cubicBezTo>
                      <a:pt x="469186" y="271939"/>
                      <a:pt x="474901" y="269081"/>
                      <a:pt x="479664" y="266224"/>
                    </a:cubicBezTo>
                    <a:cubicBezTo>
                      <a:pt x="482521" y="264319"/>
                      <a:pt x="485379" y="262414"/>
                      <a:pt x="488236" y="260509"/>
                    </a:cubicBezTo>
                    <a:cubicBezTo>
                      <a:pt x="490141" y="259556"/>
                      <a:pt x="492999" y="258604"/>
                      <a:pt x="495856" y="259556"/>
                    </a:cubicBezTo>
                    <a:cubicBezTo>
                      <a:pt x="499666" y="260509"/>
                      <a:pt x="502524" y="264319"/>
                      <a:pt x="502524" y="268129"/>
                    </a:cubicBezTo>
                    <a:cubicBezTo>
                      <a:pt x="502524" y="270034"/>
                      <a:pt x="502524" y="271939"/>
                      <a:pt x="501571" y="273844"/>
                    </a:cubicBezTo>
                    <a:cubicBezTo>
                      <a:pt x="501571" y="274796"/>
                      <a:pt x="500619" y="275749"/>
                      <a:pt x="499666" y="276701"/>
                    </a:cubicBezTo>
                    <a:cubicBezTo>
                      <a:pt x="498714" y="279559"/>
                      <a:pt x="496809" y="281464"/>
                      <a:pt x="493951" y="283369"/>
                    </a:cubicBezTo>
                    <a:cubicBezTo>
                      <a:pt x="488236" y="287179"/>
                      <a:pt x="483474" y="291941"/>
                      <a:pt x="478711" y="296704"/>
                    </a:cubicBezTo>
                    <a:cubicBezTo>
                      <a:pt x="473949" y="301466"/>
                      <a:pt x="468234" y="306229"/>
                      <a:pt x="463471" y="310991"/>
                    </a:cubicBezTo>
                    <a:cubicBezTo>
                      <a:pt x="453946" y="319564"/>
                      <a:pt x="445374" y="330041"/>
                      <a:pt x="438706" y="339566"/>
                    </a:cubicBezTo>
                    <a:cubicBezTo>
                      <a:pt x="433944" y="346234"/>
                      <a:pt x="428229" y="352901"/>
                      <a:pt x="423466" y="359569"/>
                    </a:cubicBezTo>
                    <a:lnTo>
                      <a:pt x="416799" y="367189"/>
                    </a:lnTo>
                    <a:lnTo>
                      <a:pt x="417751" y="367189"/>
                    </a:lnTo>
                    <a:cubicBezTo>
                      <a:pt x="439659" y="361474"/>
                      <a:pt x="461566" y="353854"/>
                      <a:pt x="482521" y="343376"/>
                    </a:cubicBezTo>
                    <a:cubicBezTo>
                      <a:pt x="490141" y="339566"/>
                      <a:pt x="497761" y="334804"/>
                      <a:pt x="504429" y="330041"/>
                    </a:cubicBezTo>
                    <a:cubicBezTo>
                      <a:pt x="513001" y="323374"/>
                      <a:pt x="520621" y="316706"/>
                      <a:pt x="527289" y="308134"/>
                    </a:cubicBezTo>
                    <a:cubicBezTo>
                      <a:pt x="532051" y="301466"/>
                      <a:pt x="535861" y="294799"/>
                      <a:pt x="538719" y="288131"/>
                    </a:cubicBezTo>
                    <a:cubicBezTo>
                      <a:pt x="539671" y="286226"/>
                      <a:pt x="540624" y="283369"/>
                      <a:pt x="541576" y="280511"/>
                    </a:cubicBezTo>
                    <a:cubicBezTo>
                      <a:pt x="543481" y="272891"/>
                      <a:pt x="543481" y="264319"/>
                      <a:pt x="542529" y="255746"/>
                    </a:cubicBezTo>
                    <a:cubicBezTo>
                      <a:pt x="540624" y="239554"/>
                      <a:pt x="533956" y="225266"/>
                      <a:pt x="523479" y="212884"/>
                    </a:cubicBezTo>
                    <a:cubicBezTo>
                      <a:pt x="515859" y="205264"/>
                      <a:pt x="507286" y="198596"/>
                      <a:pt x="497761" y="193834"/>
                    </a:cubicBezTo>
                    <a:cubicBezTo>
                      <a:pt x="488236" y="189071"/>
                      <a:pt x="476806" y="184309"/>
                      <a:pt x="466329" y="181451"/>
                    </a:cubicBezTo>
                    <a:cubicBezTo>
                      <a:pt x="463471" y="180499"/>
                      <a:pt x="459661" y="179546"/>
                      <a:pt x="456804" y="179546"/>
                    </a:cubicBezTo>
                    <a:cubicBezTo>
                      <a:pt x="447279" y="177641"/>
                      <a:pt x="437754" y="175736"/>
                      <a:pt x="428229" y="174784"/>
                    </a:cubicBezTo>
                    <a:cubicBezTo>
                      <a:pt x="426324" y="174784"/>
                      <a:pt x="424419" y="174784"/>
                      <a:pt x="423466" y="174784"/>
                    </a:cubicBezTo>
                    <a:cubicBezTo>
                      <a:pt x="421561" y="174784"/>
                      <a:pt x="420609" y="174784"/>
                      <a:pt x="418704" y="174784"/>
                    </a:cubicBezTo>
                    <a:cubicBezTo>
                      <a:pt x="417751" y="174784"/>
                      <a:pt x="415846" y="174784"/>
                      <a:pt x="414894" y="175736"/>
                    </a:cubicBezTo>
                    <a:cubicBezTo>
                      <a:pt x="411084" y="175736"/>
                      <a:pt x="407274" y="175736"/>
                      <a:pt x="402511" y="175736"/>
                    </a:cubicBezTo>
                    <a:cubicBezTo>
                      <a:pt x="399654" y="174784"/>
                      <a:pt x="397749" y="174784"/>
                      <a:pt x="394891" y="174784"/>
                    </a:cubicBezTo>
                    <a:lnTo>
                      <a:pt x="394891" y="174784"/>
                    </a:lnTo>
                    <a:close/>
                    <a:moveTo>
                      <a:pt x="192009" y="347186"/>
                    </a:moveTo>
                    <a:cubicBezTo>
                      <a:pt x="191056" y="356711"/>
                      <a:pt x="192009" y="366236"/>
                      <a:pt x="194866" y="374809"/>
                    </a:cubicBezTo>
                    <a:cubicBezTo>
                      <a:pt x="198676" y="385286"/>
                      <a:pt x="205344" y="395764"/>
                      <a:pt x="213916" y="403384"/>
                    </a:cubicBezTo>
                    <a:cubicBezTo>
                      <a:pt x="216774" y="405289"/>
                      <a:pt x="219631" y="407194"/>
                      <a:pt x="222489" y="409099"/>
                    </a:cubicBezTo>
                    <a:cubicBezTo>
                      <a:pt x="225346" y="410051"/>
                      <a:pt x="227251" y="410051"/>
                      <a:pt x="229156" y="411004"/>
                    </a:cubicBezTo>
                    <a:cubicBezTo>
                      <a:pt x="230109" y="411004"/>
                      <a:pt x="232014" y="411956"/>
                      <a:pt x="232966" y="411956"/>
                    </a:cubicBezTo>
                    <a:cubicBezTo>
                      <a:pt x="233919" y="411956"/>
                      <a:pt x="233919" y="411956"/>
                      <a:pt x="234871" y="412909"/>
                    </a:cubicBezTo>
                    <a:lnTo>
                      <a:pt x="238681" y="411956"/>
                    </a:lnTo>
                    <a:cubicBezTo>
                      <a:pt x="238681" y="408146"/>
                      <a:pt x="237729" y="405289"/>
                      <a:pt x="234871" y="401479"/>
                    </a:cubicBezTo>
                    <a:cubicBezTo>
                      <a:pt x="232014" y="396716"/>
                      <a:pt x="229156" y="391954"/>
                      <a:pt x="228204" y="387191"/>
                    </a:cubicBezTo>
                    <a:cubicBezTo>
                      <a:pt x="228204" y="386239"/>
                      <a:pt x="227251" y="384334"/>
                      <a:pt x="228204" y="383381"/>
                    </a:cubicBezTo>
                    <a:cubicBezTo>
                      <a:pt x="229156" y="381476"/>
                      <a:pt x="230109" y="379571"/>
                      <a:pt x="232966" y="378619"/>
                    </a:cubicBezTo>
                    <a:cubicBezTo>
                      <a:pt x="235824" y="377666"/>
                      <a:pt x="239634" y="376714"/>
                      <a:pt x="243444" y="377666"/>
                    </a:cubicBezTo>
                    <a:cubicBezTo>
                      <a:pt x="244396" y="377666"/>
                      <a:pt x="245349" y="378619"/>
                      <a:pt x="246301" y="378619"/>
                    </a:cubicBezTo>
                    <a:cubicBezTo>
                      <a:pt x="251064" y="380524"/>
                      <a:pt x="254874" y="382429"/>
                      <a:pt x="258684" y="386239"/>
                    </a:cubicBezTo>
                    <a:cubicBezTo>
                      <a:pt x="262494" y="389096"/>
                      <a:pt x="267256" y="392906"/>
                      <a:pt x="270114" y="395764"/>
                    </a:cubicBezTo>
                    <a:cubicBezTo>
                      <a:pt x="272971" y="399574"/>
                      <a:pt x="275829" y="403384"/>
                      <a:pt x="278686" y="406241"/>
                    </a:cubicBezTo>
                    <a:lnTo>
                      <a:pt x="281544" y="410051"/>
                    </a:lnTo>
                    <a:cubicBezTo>
                      <a:pt x="295831" y="415766"/>
                      <a:pt x="310119" y="418624"/>
                      <a:pt x="325359" y="420529"/>
                    </a:cubicBezTo>
                    <a:lnTo>
                      <a:pt x="335836" y="421481"/>
                    </a:lnTo>
                    <a:lnTo>
                      <a:pt x="342504" y="421481"/>
                    </a:lnTo>
                    <a:cubicBezTo>
                      <a:pt x="342504" y="418624"/>
                      <a:pt x="342504" y="414814"/>
                      <a:pt x="340599" y="411956"/>
                    </a:cubicBezTo>
                    <a:cubicBezTo>
                      <a:pt x="338694" y="408146"/>
                      <a:pt x="337741" y="404336"/>
                      <a:pt x="334884" y="401479"/>
                    </a:cubicBezTo>
                    <a:cubicBezTo>
                      <a:pt x="331074" y="397669"/>
                      <a:pt x="326311" y="392906"/>
                      <a:pt x="321549" y="390049"/>
                    </a:cubicBezTo>
                    <a:cubicBezTo>
                      <a:pt x="315834" y="385286"/>
                      <a:pt x="309166" y="382429"/>
                      <a:pt x="302499" y="379571"/>
                    </a:cubicBezTo>
                    <a:cubicBezTo>
                      <a:pt x="290116" y="373856"/>
                      <a:pt x="276781" y="369094"/>
                      <a:pt x="263446" y="365284"/>
                    </a:cubicBezTo>
                    <a:lnTo>
                      <a:pt x="255826" y="363379"/>
                    </a:lnTo>
                    <a:lnTo>
                      <a:pt x="250111" y="361474"/>
                    </a:lnTo>
                    <a:lnTo>
                      <a:pt x="237729" y="358616"/>
                    </a:lnTo>
                    <a:lnTo>
                      <a:pt x="207249" y="350996"/>
                    </a:lnTo>
                    <a:lnTo>
                      <a:pt x="192009" y="347186"/>
                    </a:lnTo>
                    <a:lnTo>
                      <a:pt x="192009" y="34718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87755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27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2">
                <a:extLst>
                  <a:ext uri="{FF2B5EF4-FFF2-40B4-BE49-F238E27FC236}">
                    <a16:creationId xmlns:a16="http://schemas.microsoft.com/office/drawing/2014/main" id="{A6416972-2B8A-4B4E-97E8-768B89AABBAD}"/>
                  </a:ext>
                </a:extLst>
              </p:cNvPr>
              <p:cNvSpPr/>
              <p:nvPr/>
            </p:nvSpPr>
            <p:spPr>
              <a:xfrm>
                <a:off x="829775" y="3208066"/>
                <a:ext cx="1504950" cy="1114425"/>
              </a:xfrm>
              <a:custGeom>
                <a:avLst/>
                <a:gdLst>
                  <a:gd name="connsiteX0" fmla="*/ 408293 w 1504950"/>
                  <a:gd name="connsiteY0" fmla="*/ 15716 h 1114425"/>
                  <a:gd name="connsiteX1" fmla="*/ 414960 w 1504950"/>
                  <a:gd name="connsiteY1" fmla="*/ 15716 h 1114425"/>
                  <a:gd name="connsiteX2" fmla="*/ 420675 w 1504950"/>
                  <a:gd name="connsiteY2" fmla="*/ 17621 h 1114425"/>
                  <a:gd name="connsiteX3" fmla="*/ 426390 w 1504950"/>
                  <a:gd name="connsiteY3" fmla="*/ 22384 h 1114425"/>
                  <a:gd name="connsiteX4" fmla="*/ 440678 w 1504950"/>
                  <a:gd name="connsiteY4" fmla="*/ 30004 h 1114425"/>
                  <a:gd name="connsiteX5" fmla="*/ 441630 w 1504950"/>
                  <a:gd name="connsiteY5" fmla="*/ 29051 h 1114425"/>
                  <a:gd name="connsiteX6" fmla="*/ 442583 w 1504950"/>
                  <a:gd name="connsiteY6" fmla="*/ 27146 h 1114425"/>
                  <a:gd name="connsiteX7" fmla="*/ 444488 w 1504950"/>
                  <a:gd name="connsiteY7" fmla="*/ 22384 h 1114425"/>
                  <a:gd name="connsiteX8" fmla="*/ 455918 w 1504950"/>
                  <a:gd name="connsiteY8" fmla="*/ 9049 h 1114425"/>
                  <a:gd name="connsiteX9" fmla="*/ 462585 w 1504950"/>
                  <a:gd name="connsiteY9" fmla="*/ 7144 h 1114425"/>
                  <a:gd name="connsiteX10" fmla="*/ 464490 w 1504950"/>
                  <a:gd name="connsiteY10" fmla="*/ 7144 h 1114425"/>
                  <a:gd name="connsiteX11" fmla="*/ 471158 w 1504950"/>
                  <a:gd name="connsiteY11" fmla="*/ 10954 h 1114425"/>
                  <a:gd name="connsiteX12" fmla="*/ 473063 w 1504950"/>
                  <a:gd name="connsiteY12" fmla="*/ 14764 h 1114425"/>
                  <a:gd name="connsiteX13" fmla="*/ 473063 w 1504950"/>
                  <a:gd name="connsiteY13" fmla="*/ 24289 h 1114425"/>
                  <a:gd name="connsiteX14" fmla="*/ 470205 w 1504950"/>
                  <a:gd name="connsiteY14" fmla="*/ 42386 h 1114425"/>
                  <a:gd name="connsiteX15" fmla="*/ 470205 w 1504950"/>
                  <a:gd name="connsiteY15" fmla="*/ 44291 h 1114425"/>
                  <a:gd name="connsiteX16" fmla="*/ 469253 w 1504950"/>
                  <a:gd name="connsiteY16" fmla="*/ 52864 h 1114425"/>
                  <a:gd name="connsiteX17" fmla="*/ 458775 w 1504950"/>
                  <a:gd name="connsiteY17" fmla="*/ 76676 h 1114425"/>
                  <a:gd name="connsiteX18" fmla="*/ 451155 w 1504950"/>
                  <a:gd name="connsiteY18" fmla="*/ 100489 h 1114425"/>
                  <a:gd name="connsiteX19" fmla="*/ 450203 w 1504950"/>
                  <a:gd name="connsiteY19" fmla="*/ 109061 h 1114425"/>
                  <a:gd name="connsiteX20" fmla="*/ 450203 w 1504950"/>
                  <a:gd name="connsiteY20" fmla="*/ 118586 h 1114425"/>
                  <a:gd name="connsiteX21" fmla="*/ 453060 w 1504950"/>
                  <a:gd name="connsiteY21" fmla="*/ 136684 h 1114425"/>
                  <a:gd name="connsiteX22" fmla="*/ 453060 w 1504950"/>
                  <a:gd name="connsiteY22" fmla="*/ 137636 h 1114425"/>
                  <a:gd name="connsiteX23" fmla="*/ 454013 w 1504950"/>
                  <a:gd name="connsiteY23" fmla="*/ 150019 h 1114425"/>
                  <a:gd name="connsiteX24" fmla="*/ 453060 w 1504950"/>
                  <a:gd name="connsiteY24" fmla="*/ 154781 h 1114425"/>
                  <a:gd name="connsiteX25" fmla="*/ 452108 w 1504950"/>
                  <a:gd name="connsiteY25" fmla="*/ 165259 h 1114425"/>
                  <a:gd name="connsiteX26" fmla="*/ 451155 w 1504950"/>
                  <a:gd name="connsiteY26" fmla="*/ 169069 h 1114425"/>
                  <a:gd name="connsiteX27" fmla="*/ 456870 w 1504950"/>
                  <a:gd name="connsiteY27" fmla="*/ 173831 h 1114425"/>
                  <a:gd name="connsiteX28" fmla="*/ 462585 w 1504950"/>
                  <a:gd name="connsiteY28" fmla="*/ 178594 h 1114425"/>
                  <a:gd name="connsiteX29" fmla="*/ 470205 w 1504950"/>
                  <a:gd name="connsiteY29" fmla="*/ 184309 h 1114425"/>
                  <a:gd name="connsiteX30" fmla="*/ 479730 w 1504950"/>
                  <a:gd name="connsiteY30" fmla="*/ 190024 h 1114425"/>
                  <a:gd name="connsiteX31" fmla="*/ 484493 w 1504950"/>
                  <a:gd name="connsiteY31" fmla="*/ 191929 h 1114425"/>
                  <a:gd name="connsiteX32" fmla="*/ 491160 w 1504950"/>
                  <a:gd name="connsiteY32" fmla="*/ 191929 h 1114425"/>
                  <a:gd name="connsiteX33" fmla="*/ 500685 w 1504950"/>
                  <a:gd name="connsiteY33" fmla="*/ 189071 h 1114425"/>
                  <a:gd name="connsiteX34" fmla="*/ 509258 w 1504950"/>
                  <a:gd name="connsiteY34" fmla="*/ 184309 h 1114425"/>
                  <a:gd name="connsiteX35" fmla="*/ 512115 w 1504950"/>
                  <a:gd name="connsiteY35" fmla="*/ 182404 h 1114425"/>
                  <a:gd name="connsiteX36" fmla="*/ 515925 w 1504950"/>
                  <a:gd name="connsiteY36" fmla="*/ 179546 h 1114425"/>
                  <a:gd name="connsiteX37" fmla="*/ 519735 w 1504950"/>
                  <a:gd name="connsiteY37" fmla="*/ 176689 h 1114425"/>
                  <a:gd name="connsiteX38" fmla="*/ 524498 w 1504950"/>
                  <a:gd name="connsiteY38" fmla="*/ 171926 h 1114425"/>
                  <a:gd name="connsiteX39" fmla="*/ 529260 w 1504950"/>
                  <a:gd name="connsiteY39" fmla="*/ 166211 h 1114425"/>
                  <a:gd name="connsiteX40" fmla="*/ 532118 w 1504950"/>
                  <a:gd name="connsiteY40" fmla="*/ 161449 h 1114425"/>
                  <a:gd name="connsiteX41" fmla="*/ 538785 w 1504950"/>
                  <a:gd name="connsiteY41" fmla="*/ 151924 h 1114425"/>
                  <a:gd name="connsiteX42" fmla="*/ 548310 w 1504950"/>
                  <a:gd name="connsiteY42" fmla="*/ 127159 h 1114425"/>
                  <a:gd name="connsiteX43" fmla="*/ 549263 w 1504950"/>
                  <a:gd name="connsiteY43" fmla="*/ 122396 h 1114425"/>
                  <a:gd name="connsiteX44" fmla="*/ 550215 w 1504950"/>
                  <a:gd name="connsiteY44" fmla="*/ 116681 h 1114425"/>
                  <a:gd name="connsiteX45" fmla="*/ 552120 w 1504950"/>
                  <a:gd name="connsiteY45" fmla="*/ 98584 h 1114425"/>
                  <a:gd name="connsiteX46" fmla="*/ 554978 w 1504950"/>
                  <a:gd name="connsiteY46" fmla="*/ 90964 h 1114425"/>
                  <a:gd name="connsiteX47" fmla="*/ 556883 w 1504950"/>
                  <a:gd name="connsiteY47" fmla="*/ 87154 h 1114425"/>
                  <a:gd name="connsiteX48" fmla="*/ 560693 w 1504950"/>
                  <a:gd name="connsiteY48" fmla="*/ 81439 h 1114425"/>
                  <a:gd name="connsiteX49" fmla="*/ 565455 w 1504950"/>
                  <a:gd name="connsiteY49" fmla="*/ 76676 h 1114425"/>
                  <a:gd name="connsiteX50" fmla="*/ 571170 w 1504950"/>
                  <a:gd name="connsiteY50" fmla="*/ 73819 h 1114425"/>
                  <a:gd name="connsiteX51" fmla="*/ 573075 w 1504950"/>
                  <a:gd name="connsiteY51" fmla="*/ 73819 h 1114425"/>
                  <a:gd name="connsiteX52" fmla="*/ 574980 w 1504950"/>
                  <a:gd name="connsiteY52" fmla="*/ 74771 h 1114425"/>
                  <a:gd name="connsiteX53" fmla="*/ 576885 w 1504950"/>
                  <a:gd name="connsiteY53" fmla="*/ 76676 h 1114425"/>
                  <a:gd name="connsiteX54" fmla="*/ 578790 w 1504950"/>
                  <a:gd name="connsiteY54" fmla="*/ 81439 h 1114425"/>
                  <a:gd name="connsiteX55" fmla="*/ 579743 w 1504950"/>
                  <a:gd name="connsiteY55" fmla="*/ 83344 h 1114425"/>
                  <a:gd name="connsiteX56" fmla="*/ 579743 w 1504950"/>
                  <a:gd name="connsiteY56" fmla="*/ 90011 h 1114425"/>
                  <a:gd name="connsiteX57" fmla="*/ 577838 w 1504950"/>
                  <a:gd name="connsiteY57" fmla="*/ 117634 h 1114425"/>
                  <a:gd name="connsiteX58" fmla="*/ 575933 w 1504950"/>
                  <a:gd name="connsiteY58" fmla="*/ 129064 h 1114425"/>
                  <a:gd name="connsiteX59" fmla="*/ 577838 w 1504950"/>
                  <a:gd name="connsiteY59" fmla="*/ 138589 h 1114425"/>
                  <a:gd name="connsiteX60" fmla="*/ 580695 w 1504950"/>
                  <a:gd name="connsiteY60" fmla="*/ 141446 h 1114425"/>
                  <a:gd name="connsiteX61" fmla="*/ 584505 w 1504950"/>
                  <a:gd name="connsiteY61" fmla="*/ 143351 h 1114425"/>
                  <a:gd name="connsiteX62" fmla="*/ 589268 w 1504950"/>
                  <a:gd name="connsiteY62" fmla="*/ 143351 h 1114425"/>
                  <a:gd name="connsiteX63" fmla="*/ 595935 w 1504950"/>
                  <a:gd name="connsiteY63" fmla="*/ 141446 h 1114425"/>
                  <a:gd name="connsiteX64" fmla="*/ 604508 w 1504950"/>
                  <a:gd name="connsiteY64" fmla="*/ 136684 h 1114425"/>
                  <a:gd name="connsiteX65" fmla="*/ 621653 w 1504950"/>
                  <a:gd name="connsiteY65" fmla="*/ 125254 h 1114425"/>
                  <a:gd name="connsiteX66" fmla="*/ 635940 w 1504950"/>
                  <a:gd name="connsiteY66" fmla="*/ 115729 h 1114425"/>
                  <a:gd name="connsiteX67" fmla="*/ 639750 w 1504950"/>
                  <a:gd name="connsiteY67" fmla="*/ 114776 h 1114425"/>
                  <a:gd name="connsiteX68" fmla="*/ 643560 w 1504950"/>
                  <a:gd name="connsiteY68" fmla="*/ 116681 h 1114425"/>
                  <a:gd name="connsiteX69" fmla="*/ 645465 w 1504950"/>
                  <a:gd name="connsiteY69" fmla="*/ 118586 h 1114425"/>
                  <a:gd name="connsiteX70" fmla="*/ 646418 w 1504950"/>
                  <a:gd name="connsiteY70" fmla="*/ 123349 h 1114425"/>
                  <a:gd name="connsiteX71" fmla="*/ 645465 w 1504950"/>
                  <a:gd name="connsiteY71" fmla="*/ 128111 h 1114425"/>
                  <a:gd name="connsiteX72" fmla="*/ 645465 w 1504950"/>
                  <a:gd name="connsiteY72" fmla="*/ 129064 h 1114425"/>
                  <a:gd name="connsiteX73" fmla="*/ 644513 w 1504950"/>
                  <a:gd name="connsiteY73" fmla="*/ 133826 h 1114425"/>
                  <a:gd name="connsiteX74" fmla="*/ 644513 w 1504950"/>
                  <a:gd name="connsiteY74" fmla="*/ 134779 h 1114425"/>
                  <a:gd name="connsiteX75" fmla="*/ 644513 w 1504950"/>
                  <a:gd name="connsiteY75" fmla="*/ 137636 h 1114425"/>
                  <a:gd name="connsiteX76" fmla="*/ 642608 w 1504950"/>
                  <a:gd name="connsiteY76" fmla="*/ 141446 h 1114425"/>
                  <a:gd name="connsiteX77" fmla="*/ 640703 w 1504950"/>
                  <a:gd name="connsiteY77" fmla="*/ 146209 h 1114425"/>
                  <a:gd name="connsiteX78" fmla="*/ 637845 w 1504950"/>
                  <a:gd name="connsiteY78" fmla="*/ 150971 h 1114425"/>
                  <a:gd name="connsiteX79" fmla="*/ 632130 w 1504950"/>
                  <a:gd name="connsiteY79" fmla="*/ 157639 h 1114425"/>
                  <a:gd name="connsiteX80" fmla="*/ 621653 w 1504950"/>
                  <a:gd name="connsiteY80" fmla="*/ 165259 h 1114425"/>
                  <a:gd name="connsiteX81" fmla="*/ 610223 w 1504950"/>
                  <a:gd name="connsiteY81" fmla="*/ 170021 h 1114425"/>
                  <a:gd name="connsiteX82" fmla="*/ 607365 w 1504950"/>
                  <a:gd name="connsiteY82" fmla="*/ 170974 h 1114425"/>
                  <a:gd name="connsiteX83" fmla="*/ 598793 w 1504950"/>
                  <a:gd name="connsiteY83" fmla="*/ 172879 h 1114425"/>
                  <a:gd name="connsiteX84" fmla="*/ 588315 w 1504950"/>
                  <a:gd name="connsiteY84" fmla="*/ 175736 h 1114425"/>
                  <a:gd name="connsiteX85" fmla="*/ 578790 w 1504950"/>
                  <a:gd name="connsiteY85" fmla="*/ 178594 h 1114425"/>
                  <a:gd name="connsiteX86" fmla="*/ 571170 w 1504950"/>
                  <a:gd name="connsiteY86" fmla="*/ 182404 h 1114425"/>
                  <a:gd name="connsiteX87" fmla="*/ 564503 w 1504950"/>
                  <a:gd name="connsiteY87" fmla="*/ 185261 h 1114425"/>
                  <a:gd name="connsiteX88" fmla="*/ 556883 w 1504950"/>
                  <a:gd name="connsiteY88" fmla="*/ 188119 h 1114425"/>
                  <a:gd name="connsiteX89" fmla="*/ 534023 w 1504950"/>
                  <a:gd name="connsiteY89" fmla="*/ 202406 h 1114425"/>
                  <a:gd name="connsiteX90" fmla="*/ 515925 w 1504950"/>
                  <a:gd name="connsiteY90" fmla="*/ 227171 h 1114425"/>
                  <a:gd name="connsiteX91" fmla="*/ 514020 w 1504950"/>
                  <a:gd name="connsiteY91" fmla="*/ 234791 h 1114425"/>
                  <a:gd name="connsiteX92" fmla="*/ 513068 w 1504950"/>
                  <a:gd name="connsiteY92" fmla="*/ 243364 h 1114425"/>
                  <a:gd name="connsiteX93" fmla="*/ 514020 w 1504950"/>
                  <a:gd name="connsiteY93" fmla="*/ 257651 h 1114425"/>
                  <a:gd name="connsiteX94" fmla="*/ 514973 w 1504950"/>
                  <a:gd name="connsiteY94" fmla="*/ 271939 h 1114425"/>
                  <a:gd name="connsiteX95" fmla="*/ 514973 w 1504950"/>
                  <a:gd name="connsiteY95" fmla="*/ 277654 h 1114425"/>
                  <a:gd name="connsiteX96" fmla="*/ 514020 w 1504950"/>
                  <a:gd name="connsiteY96" fmla="*/ 289084 h 1114425"/>
                  <a:gd name="connsiteX97" fmla="*/ 513068 w 1504950"/>
                  <a:gd name="connsiteY97" fmla="*/ 291941 h 1114425"/>
                  <a:gd name="connsiteX98" fmla="*/ 495923 w 1504950"/>
                  <a:gd name="connsiteY98" fmla="*/ 330994 h 1114425"/>
                  <a:gd name="connsiteX99" fmla="*/ 486398 w 1504950"/>
                  <a:gd name="connsiteY99" fmla="*/ 342424 h 1114425"/>
                  <a:gd name="connsiteX100" fmla="*/ 474015 w 1504950"/>
                  <a:gd name="connsiteY100" fmla="*/ 350044 h 1114425"/>
                  <a:gd name="connsiteX101" fmla="*/ 443535 w 1504950"/>
                  <a:gd name="connsiteY101" fmla="*/ 371951 h 1114425"/>
                  <a:gd name="connsiteX102" fmla="*/ 422580 w 1504950"/>
                  <a:gd name="connsiteY102" fmla="*/ 382429 h 1114425"/>
                  <a:gd name="connsiteX103" fmla="*/ 351143 w 1504950"/>
                  <a:gd name="connsiteY103" fmla="*/ 436721 h 1114425"/>
                  <a:gd name="connsiteX104" fmla="*/ 348285 w 1504950"/>
                  <a:gd name="connsiteY104" fmla="*/ 435769 h 1114425"/>
                  <a:gd name="connsiteX105" fmla="*/ 349238 w 1504950"/>
                  <a:gd name="connsiteY105" fmla="*/ 443389 h 1114425"/>
                  <a:gd name="connsiteX106" fmla="*/ 418770 w 1504950"/>
                  <a:gd name="connsiteY106" fmla="*/ 551974 h 1114425"/>
                  <a:gd name="connsiteX107" fmla="*/ 524498 w 1504950"/>
                  <a:gd name="connsiteY107" fmla="*/ 634841 h 1114425"/>
                  <a:gd name="connsiteX108" fmla="*/ 614985 w 1504950"/>
                  <a:gd name="connsiteY108" fmla="*/ 673894 h 1114425"/>
                  <a:gd name="connsiteX109" fmla="*/ 733095 w 1504950"/>
                  <a:gd name="connsiteY109" fmla="*/ 680561 h 1114425"/>
                  <a:gd name="connsiteX110" fmla="*/ 770243 w 1504950"/>
                  <a:gd name="connsiteY110" fmla="*/ 677704 h 1114425"/>
                  <a:gd name="connsiteX111" fmla="*/ 838823 w 1504950"/>
                  <a:gd name="connsiteY111" fmla="*/ 668179 h 1114425"/>
                  <a:gd name="connsiteX112" fmla="*/ 941693 w 1504950"/>
                  <a:gd name="connsiteY112" fmla="*/ 654844 h 1114425"/>
                  <a:gd name="connsiteX113" fmla="*/ 990270 w 1504950"/>
                  <a:gd name="connsiteY113" fmla="*/ 647224 h 1114425"/>
                  <a:gd name="connsiteX114" fmla="*/ 1023608 w 1504950"/>
                  <a:gd name="connsiteY114" fmla="*/ 582454 h 1114425"/>
                  <a:gd name="connsiteX115" fmla="*/ 1043610 w 1504950"/>
                  <a:gd name="connsiteY115" fmla="*/ 535781 h 1114425"/>
                  <a:gd name="connsiteX116" fmla="*/ 1110285 w 1504950"/>
                  <a:gd name="connsiteY116" fmla="*/ 495776 h 1114425"/>
                  <a:gd name="connsiteX117" fmla="*/ 1099808 w 1504950"/>
                  <a:gd name="connsiteY117" fmla="*/ 525304 h 1114425"/>
                  <a:gd name="connsiteX118" fmla="*/ 1076948 w 1504950"/>
                  <a:gd name="connsiteY118" fmla="*/ 584359 h 1114425"/>
                  <a:gd name="connsiteX119" fmla="*/ 1075043 w 1504950"/>
                  <a:gd name="connsiteY119" fmla="*/ 600551 h 1114425"/>
                  <a:gd name="connsiteX120" fmla="*/ 1083615 w 1504950"/>
                  <a:gd name="connsiteY120" fmla="*/ 672941 h 1114425"/>
                  <a:gd name="connsiteX121" fmla="*/ 1100760 w 1504950"/>
                  <a:gd name="connsiteY121" fmla="*/ 743426 h 1114425"/>
                  <a:gd name="connsiteX122" fmla="*/ 1133145 w 1504950"/>
                  <a:gd name="connsiteY122" fmla="*/ 820579 h 1114425"/>
                  <a:gd name="connsiteX123" fmla="*/ 1223633 w 1504950"/>
                  <a:gd name="connsiteY123" fmla="*/ 822484 h 1114425"/>
                  <a:gd name="connsiteX124" fmla="*/ 1264590 w 1504950"/>
                  <a:gd name="connsiteY124" fmla="*/ 838676 h 1114425"/>
                  <a:gd name="connsiteX125" fmla="*/ 1314120 w 1504950"/>
                  <a:gd name="connsiteY125" fmla="*/ 867251 h 1114425"/>
                  <a:gd name="connsiteX126" fmla="*/ 1428420 w 1504950"/>
                  <a:gd name="connsiteY126" fmla="*/ 889159 h 1114425"/>
                  <a:gd name="connsiteX127" fmla="*/ 1455090 w 1504950"/>
                  <a:gd name="connsiteY127" fmla="*/ 888206 h 1114425"/>
                  <a:gd name="connsiteX128" fmla="*/ 1506525 w 1504950"/>
                  <a:gd name="connsiteY128" fmla="*/ 912971 h 1114425"/>
                  <a:gd name="connsiteX129" fmla="*/ 1485570 w 1504950"/>
                  <a:gd name="connsiteY129" fmla="*/ 924401 h 1114425"/>
                  <a:gd name="connsiteX130" fmla="*/ 1466520 w 1504950"/>
                  <a:gd name="connsiteY130" fmla="*/ 932021 h 1114425"/>
                  <a:gd name="connsiteX131" fmla="*/ 1476045 w 1504950"/>
                  <a:gd name="connsiteY131" fmla="*/ 947261 h 1114425"/>
                  <a:gd name="connsiteX132" fmla="*/ 1475093 w 1504950"/>
                  <a:gd name="connsiteY132" fmla="*/ 969169 h 1114425"/>
                  <a:gd name="connsiteX133" fmla="*/ 1456995 w 1504950"/>
                  <a:gd name="connsiteY133" fmla="*/ 976789 h 1114425"/>
                  <a:gd name="connsiteX134" fmla="*/ 1447470 w 1504950"/>
                  <a:gd name="connsiteY134" fmla="*/ 979646 h 1114425"/>
                  <a:gd name="connsiteX135" fmla="*/ 1429373 w 1504950"/>
                  <a:gd name="connsiteY135" fmla="*/ 975836 h 1114425"/>
                  <a:gd name="connsiteX136" fmla="*/ 1397940 w 1504950"/>
                  <a:gd name="connsiteY136" fmla="*/ 968216 h 1114425"/>
                  <a:gd name="connsiteX137" fmla="*/ 1305548 w 1504950"/>
                  <a:gd name="connsiteY137" fmla="*/ 932021 h 1114425"/>
                  <a:gd name="connsiteX138" fmla="*/ 1258875 w 1504950"/>
                  <a:gd name="connsiteY138" fmla="*/ 912019 h 1114425"/>
                  <a:gd name="connsiteX139" fmla="*/ 1179818 w 1504950"/>
                  <a:gd name="connsiteY139" fmla="*/ 912971 h 1114425"/>
                  <a:gd name="connsiteX140" fmla="*/ 1115048 w 1504950"/>
                  <a:gd name="connsiteY140" fmla="*/ 931069 h 1114425"/>
                  <a:gd name="connsiteX141" fmla="*/ 967410 w 1504950"/>
                  <a:gd name="connsiteY141" fmla="*/ 912971 h 1114425"/>
                  <a:gd name="connsiteX142" fmla="*/ 829298 w 1504950"/>
                  <a:gd name="connsiteY142" fmla="*/ 897731 h 1114425"/>
                  <a:gd name="connsiteX143" fmla="*/ 780720 w 1504950"/>
                  <a:gd name="connsiteY143" fmla="*/ 916781 h 1114425"/>
                  <a:gd name="connsiteX144" fmla="*/ 765480 w 1504950"/>
                  <a:gd name="connsiteY144" fmla="*/ 924401 h 1114425"/>
                  <a:gd name="connsiteX145" fmla="*/ 689280 w 1504950"/>
                  <a:gd name="connsiteY145" fmla="*/ 932974 h 1114425"/>
                  <a:gd name="connsiteX146" fmla="*/ 560693 w 1504950"/>
                  <a:gd name="connsiteY146" fmla="*/ 921544 h 1114425"/>
                  <a:gd name="connsiteX147" fmla="*/ 525450 w 1504950"/>
                  <a:gd name="connsiteY147" fmla="*/ 918686 h 1114425"/>
                  <a:gd name="connsiteX148" fmla="*/ 504495 w 1504950"/>
                  <a:gd name="connsiteY148" fmla="*/ 915829 h 1114425"/>
                  <a:gd name="connsiteX149" fmla="*/ 461633 w 1504950"/>
                  <a:gd name="connsiteY149" fmla="*/ 925354 h 1114425"/>
                  <a:gd name="connsiteX150" fmla="*/ 349238 w 1504950"/>
                  <a:gd name="connsiteY150" fmla="*/ 930116 h 1114425"/>
                  <a:gd name="connsiteX151" fmla="*/ 216840 w 1504950"/>
                  <a:gd name="connsiteY151" fmla="*/ 991076 h 1114425"/>
                  <a:gd name="connsiteX152" fmla="*/ 179693 w 1504950"/>
                  <a:gd name="connsiteY152" fmla="*/ 1032034 h 1114425"/>
                  <a:gd name="connsiteX153" fmla="*/ 162548 w 1504950"/>
                  <a:gd name="connsiteY153" fmla="*/ 1058704 h 1114425"/>
                  <a:gd name="connsiteX154" fmla="*/ 118733 w 1504950"/>
                  <a:gd name="connsiteY154" fmla="*/ 1095851 h 1114425"/>
                  <a:gd name="connsiteX155" fmla="*/ 87300 w 1504950"/>
                  <a:gd name="connsiteY155" fmla="*/ 1108234 h 1114425"/>
                  <a:gd name="connsiteX156" fmla="*/ 97778 w 1504950"/>
                  <a:gd name="connsiteY156" fmla="*/ 1081564 h 1114425"/>
                  <a:gd name="connsiteX157" fmla="*/ 116828 w 1504950"/>
                  <a:gd name="connsiteY157" fmla="*/ 1049179 h 1114425"/>
                  <a:gd name="connsiteX158" fmla="*/ 133973 w 1504950"/>
                  <a:gd name="connsiteY158" fmla="*/ 1024414 h 1114425"/>
                  <a:gd name="connsiteX159" fmla="*/ 166358 w 1504950"/>
                  <a:gd name="connsiteY159" fmla="*/ 984409 h 1114425"/>
                  <a:gd name="connsiteX160" fmla="*/ 187313 w 1504950"/>
                  <a:gd name="connsiteY160" fmla="*/ 960596 h 1114425"/>
                  <a:gd name="connsiteX161" fmla="*/ 137783 w 1504950"/>
                  <a:gd name="connsiteY161" fmla="*/ 986314 h 1114425"/>
                  <a:gd name="connsiteX162" fmla="*/ 32055 w 1504950"/>
                  <a:gd name="connsiteY162" fmla="*/ 1031081 h 1114425"/>
                  <a:gd name="connsiteX163" fmla="*/ 7290 w 1504950"/>
                  <a:gd name="connsiteY163" fmla="*/ 1028224 h 1114425"/>
                  <a:gd name="connsiteX164" fmla="*/ 111113 w 1504950"/>
                  <a:gd name="connsiteY164" fmla="*/ 962501 h 1114425"/>
                  <a:gd name="connsiteX165" fmla="*/ 222555 w 1504950"/>
                  <a:gd name="connsiteY165" fmla="*/ 901541 h 1114425"/>
                  <a:gd name="connsiteX166" fmla="*/ 333998 w 1504950"/>
                  <a:gd name="connsiteY166" fmla="*/ 866299 h 1114425"/>
                  <a:gd name="connsiteX167" fmla="*/ 374003 w 1504950"/>
                  <a:gd name="connsiteY167" fmla="*/ 852964 h 1114425"/>
                  <a:gd name="connsiteX168" fmla="*/ 359715 w 1504950"/>
                  <a:gd name="connsiteY168" fmla="*/ 802481 h 1114425"/>
                  <a:gd name="connsiteX169" fmla="*/ 332093 w 1504950"/>
                  <a:gd name="connsiteY169" fmla="*/ 769144 h 1114425"/>
                  <a:gd name="connsiteX170" fmla="*/ 307328 w 1504950"/>
                  <a:gd name="connsiteY170" fmla="*/ 746284 h 1114425"/>
                  <a:gd name="connsiteX171" fmla="*/ 276848 w 1504950"/>
                  <a:gd name="connsiteY171" fmla="*/ 658654 h 1114425"/>
                  <a:gd name="connsiteX172" fmla="*/ 267323 w 1504950"/>
                  <a:gd name="connsiteY172" fmla="*/ 592931 h 1114425"/>
                  <a:gd name="connsiteX173" fmla="*/ 244463 w 1504950"/>
                  <a:gd name="connsiteY173" fmla="*/ 572929 h 1114425"/>
                  <a:gd name="connsiteX174" fmla="*/ 154928 w 1504950"/>
                  <a:gd name="connsiteY174" fmla="*/ 567214 h 1114425"/>
                  <a:gd name="connsiteX175" fmla="*/ 133973 w 1504950"/>
                  <a:gd name="connsiteY175" fmla="*/ 547211 h 1114425"/>
                  <a:gd name="connsiteX176" fmla="*/ 167310 w 1504950"/>
                  <a:gd name="connsiteY176" fmla="*/ 505301 h 1114425"/>
                  <a:gd name="connsiteX177" fmla="*/ 242558 w 1504950"/>
                  <a:gd name="connsiteY177" fmla="*/ 466249 h 1114425"/>
                  <a:gd name="connsiteX178" fmla="*/ 230175 w 1504950"/>
                  <a:gd name="connsiteY178" fmla="*/ 465296 h 1114425"/>
                  <a:gd name="connsiteX179" fmla="*/ 179693 w 1504950"/>
                  <a:gd name="connsiteY179" fmla="*/ 466249 h 1114425"/>
                  <a:gd name="connsiteX180" fmla="*/ 151118 w 1504950"/>
                  <a:gd name="connsiteY180" fmla="*/ 467201 h 1114425"/>
                  <a:gd name="connsiteX181" fmla="*/ 127305 w 1504950"/>
                  <a:gd name="connsiteY181" fmla="*/ 465296 h 1114425"/>
                  <a:gd name="connsiteX182" fmla="*/ 112065 w 1504950"/>
                  <a:gd name="connsiteY182" fmla="*/ 460534 h 1114425"/>
                  <a:gd name="connsiteX183" fmla="*/ 107303 w 1504950"/>
                  <a:gd name="connsiteY183" fmla="*/ 450056 h 1114425"/>
                  <a:gd name="connsiteX184" fmla="*/ 114923 w 1504950"/>
                  <a:gd name="connsiteY184" fmla="*/ 441484 h 1114425"/>
                  <a:gd name="connsiteX185" fmla="*/ 130163 w 1504950"/>
                  <a:gd name="connsiteY185" fmla="*/ 440531 h 1114425"/>
                  <a:gd name="connsiteX186" fmla="*/ 123495 w 1504950"/>
                  <a:gd name="connsiteY186" fmla="*/ 431959 h 1114425"/>
                  <a:gd name="connsiteX187" fmla="*/ 117780 w 1504950"/>
                  <a:gd name="connsiteY187" fmla="*/ 422434 h 1114425"/>
                  <a:gd name="connsiteX188" fmla="*/ 113018 w 1504950"/>
                  <a:gd name="connsiteY188" fmla="*/ 412909 h 1114425"/>
                  <a:gd name="connsiteX189" fmla="*/ 100635 w 1504950"/>
                  <a:gd name="connsiteY189" fmla="*/ 371951 h 1114425"/>
                  <a:gd name="connsiteX190" fmla="*/ 91110 w 1504950"/>
                  <a:gd name="connsiteY190" fmla="*/ 363379 h 1114425"/>
                  <a:gd name="connsiteX191" fmla="*/ 85395 w 1504950"/>
                  <a:gd name="connsiteY191" fmla="*/ 354806 h 1114425"/>
                  <a:gd name="connsiteX192" fmla="*/ 89205 w 1504950"/>
                  <a:gd name="connsiteY192" fmla="*/ 345281 h 1114425"/>
                  <a:gd name="connsiteX193" fmla="*/ 99683 w 1504950"/>
                  <a:gd name="connsiteY193" fmla="*/ 345281 h 1114425"/>
                  <a:gd name="connsiteX194" fmla="*/ 113970 w 1504950"/>
                  <a:gd name="connsiteY194" fmla="*/ 350996 h 1114425"/>
                  <a:gd name="connsiteX195" fmla="*/ 129210 w 1504950"/>
                  <a:gd name="connsiteY195" fmla="*/ 355759 h 1114425"/>
                  <a:gd name="connsiteX196" fmla="*/ 140640 w 1504950"/>
                  <a:gd name="connsiteY196" fmla="*/ 356711 h 1114425"/>
                  <a:gd name="connsiteX197" fmla="*/ 134925 w 1504950"/>
                  <a:gd name="connsiteY197" fmla="*/ 350996 h 1114425"/>
                  <a:gd name="connsiteX198" fmla="*/ 128258 w 1504950"/>
                  <a:gd name="connsiteY198" fmla="*/ 341471 h 1114425"/>
                  <a:gd name="connsiteX199" fmla="*/ 121590 w 1504950"/>
                  <a:gd name="connsiteY199" fmla="*/ 324326 h 1114425"/>
                  <a:gd name="connsiteX200" fmla="*/ 117780 w 1504950"/>
                  <a:gd name="connsiteY200" fmla="*/ 317659 h 1114425"/>
                  <a:gd name="connsiteX201" fmla="*/ 120638 w 1504950"/>
                  <a:gd name="connsiteY201" fmla="*/ 308134 h 1114425"/>
                  <a:gd name="connsiteX202" fmla="*/ 129210 w 1504950"/>
                  <a:gd name="connsiteY202" fmla="*/ 307181 h 1114425"/>
                  <a:gd name="connsiteX203" fmla="*/ 139688 w 1504950"/>
                  <a:gd name="connsiteY203" fmla="*/ 313849 h 1114425"/>
                  <a:gd name="connsiteX204" fmla="*/ 152070 w 1504950"/>
                  <a:gd name="connsiteY204" fmla="*/ 327184 h 1114425"/>
                  <a:gd name="connsiteX205" fmla="*/ 166358 w 1504950"/>
                  <a:gd name="connsiteY205" fmla="*/ 339566 h 1114425"/>
                  <a:gd name="connsiteX206" fmla="*/ 191123 w 1504950"/>
                  <a:gd name="connsiteY206" fmla="*/ 356711 h 1114425"/>
                  <a:gd name="connsiteX207" fmla="*/ 213983 w 1504950"/>
                  <a:gd name="connsiteY207" fmla="*/ 366236 h 1114425"/>
                  <a:gd name="connsiteX208" fmla="*/ 216840 w 1504950"/>
                  <a:gd name="connsiteY208" fmla="*/ 366236 h 1114425"/>
                  <a:gd name="connsiteX209" fmla="*/ 226365 w 1504950"/>
                  <a:gd name="connsiteY209" fmla="*/ 361474 h 1114425"/>
                  <a:gd name="connsiteX210" fmla="*/ 228270 w 1504950"/>
                  <a:gd name="connsiteY210" fmla="*/ 357664 h 1114425"/>
                  <a:gd name="connsiteX211" fmla="*/ 227318 w 1504950"/>
                  <a:gd name="connsiteY211" fmla="*/ 352901 h 1114425"/>
                  <a:gd name="connsiteX212" fmla="*/ 224460 w 1504950"/>
                  <a:gd name="connsiteY212" fmla="*/ 336709 h 1114425"/>
                  <a:gd name="connsiteX213" fmla="*/ 229223 w 1504950"/>
                  <a:gd name="connsiteY213" fmla="*/ 319564 h 1114425"/>
                  <a:gd name="connsiteX214" fmla="*/ 241605 w 1504950"/>
                  <a:gd name="connsiteY214" fmla="*/ 317659 h 1114425"/>
                  <a:gd name="connsiteX215" fmla="*/ 245415 w 1504950"/>
                  <a:gd name="connsiteY215" fmla="*/ 325279 h 1114425"/>
                  <a:gd name="connsiteX216" fmla="*/ 254940 w 1504950"/>
                  <a:gd name="connsiteY216" fmla="*/ 373856 h 1114425"/>
                  <a:gd name="connsiteX217" fmla="*/ 316853 w 1504950"/>
                  <a:gd name="connsiteY217" fmla="*/ 383381 h 1114425"/>
                  <a:gd name="connsiteX218" fmla="*/ 324473 w 1504950"/>
                  <a:gd name="connsiteY218" fmla="*/ 376714 h 1114425"/>
                  <a:gd name="connsiteX219" fmla="*/ 335903 w 1504950"/>
                  <a:gd name="connsiteY219" fmla="*/ 363379 h 1114425"/>
                  <a:gd name="connsiteX220" fmla="*/ 359715 w 1504950"/>
                  <a:gd name="connsiteY220" fmla="*/ 327184 h 1114425"/>
                  <a:gd name="connsiteX221" fmla="*/ 369240 w 1504950"/>
                  <a:gd name="connsiteY221" fmla="*/ 299561 h 1114425"/>
                  <a:gd name="connsiteX222" fmla="*/ 370193 w 1504950"/>
                  <a:gd name="connsiteY222" fmla="*/ 297656 h 1114425"/>
                  <a:gd name="connsiteX223" fmla="*/ 370193 w 1504950"/>
                  <a:gd name="connsiteY223" fmla="*/ 277654 h 1114425"/>
                  <a:gd name="connsiteX224" fmla="*/ 362573 w 1504950"/>
                  <a:gd name="connsiteY224" fmla="*/ 259556 h 1114425"/>
                  <a:gd name="connsiteX225" fmla="*/ 352095 w 1504950"/>
                  <a:gd name="connsiteY225" fmla="*/ 247174 h 1114425"/>
                  <a:gd name="connsiteX226" fmla="*/ 333998 w 1504950"/>
                  <a:gd name="connsiteY226" fmla="*/ 231934 h 1114425"/>
                  <a:gd name="connsiteX227" fmla="*/ 311138 w 1504950"/>
                  <a:gd name="connsiteY227" fmla="*/ 223361 h 1114425"/>
                  <a:gd name="connsiteX228" fmla="*/ 291135 w 1504950"/>
                  <a:gd name="connsiteY228" fmla="*/ 218599 h 1114425"/>
                  <a:gd name="connsiteX229" fmla="*/ 281610 w 1504950"/>
                  <a:gd name="connsiteY229" fmla="*/ 216694 h 1114425"/>
                  <a:gd name="connsiteX230" fmla="*/ 266370 w 1504950"/>
                  <a:gd name="connsiteY230" fmla="*/ 214789 h 1114425"/>
                  <a:gd name="connsiteX231" fmla="*/ 242558 w 1504950"/>
                  <a:gd name="connsiteY231" fmla="*/ 212884 h 1114425"/>
                  <a:gd name="connsiteX232" fmla="*/ 232080 w 1504950"/>
                  <a:gd name="connsiteY232" fmla="*/ 211931 h 1114425"/>
                  <a:gd name="connsiteX233" fmla="*/ 216840 w 1504950"/>
                  <a:gd name="connsiteY233" fmla="*/ 206216 h 1114425"/>
                  <a:gd name="connsiteX234" fmla="*/ 213030 w 1504950"/>
                  <a:gd name="connsiteY234" fmla="*/ 196691 h 1114425"/>
                  <a:gd name="connsiteX235" fmla="*/ 221603 w 1504950"/>
                  <a:gd name="connsiteY235" fmla="*/ 186214 h 1114425"/>
                  <a:gd name="connsiteX236" fmla="*/ 235890 w 1504950"/>
                  <a:gd name="connsiteY236" fmla="*/ 182404 h 1114425"/>
                  <a:gd name="connsiteX237" fmla="*/ 253035 w 1504950"/>
                  <a:gd name="connsiteY237" fmla="*/ 182404 h 1114425"/>
                  <a:gd name="connsiteX238" fmla="*/ 288278 w 1504950"/>
                  <a:gd name="connsiteY238" fmla="*/ 159544 h 1114425"/>
                  <a:gd name="connsiteX239" fmla="*/ 284468 w 1504950"/>
                  <a:gd name="connsiteY239" fmla="*/ 151924 h 1114425"/>
                  <a:gd name="connsiteX240" fmla="*/ 273990 w 1504950"/>
                  <a:gd name="connsiteY240" fmla="*/ 124301 h 1114425"/>
                  <a:gd name="connsiteX241" fmla="*/ 277800 w 1504950"/>
                  <a:gd name="connsiteY241" fmla="*/ 114776 h 1114425"/>
                  <a:gd name="connsiteX242" fmla="*/ 286373 w 1504950"/>
                  <a:gd name="connsiteY242" fmla="*/ 112871 h 1114425"/>
                  <a:gd name="connsiteX243" fmla="*/ 293993 w 1504950"/>
                  <a:gd name="connsiteY243" fmla="*/ 116681 h 1114425"/>
                  <a:gd name="connsiteX244" fmla="*/ 300660 w 1504950"/>
                  <a:gd name="connsiteY244" fmla="*/ 126206 h 1114425"/>
                  <a:gd name="connsiteX245" fmla="*/ 308280 w 1504950"/>
                  <a:gd name="connsiteY245" fmla="*/ 138589 h 1114425"/>
                  <a:gd name="connsiteX246" fmla="*/ 316853 w 1504950"/>
                  <a:gd name="connsiteY246" fmla="*/ 148114 h 1114425"/>
                  <a:gd name="connsiteX247" fmla="*/ 323520 w 1504950"/>
                  <a:gd name="connsiteY247" fmla="*/ 153829 h 1114425"/>
                  <a:gd name="connsiteX248" fmla="*/ 327330 w 1504950"/>
                  <a:gd name="connsiteY248" fmla="*/ 152876 h 1114425"/>
                  <a:gd name="connsiteX249" fmla="*/ 333998 w 1504950"/>
                  <a:gd name="connsiteY249" fmla="*/ 152876 h 1114425"/>
                  <a:gd name="connsiteX250" fmla="*/ 353048 w 1504950"/>
                  <a:gd name="connsiteY250" fmla="*/ 154781 h 1114425"/>
                  <a:gd name="connsiteX251" fmla="*/ 371145 w 1504950"/>
                  <a:gd name="connsiteY251" fmla="*/ 156686 h 1114425"/>
                  <a:gd name="connsiteX252" fmla="*/ 394005 w 1504950"/>
                  <a:gd name="connsiteY252" fmla="*/ 158591 h 1114425"/>
                  <a:gd name="connsiteX253" fmla="*/ 414960 w 1504950"/>
                  <a:gd name="connsiteY253" fmla="*/ 156686 h 1114425"/>
                  <a:gd name="connsiteX254" fmla="*/ 417818 w 1504950"/>
                  <a:gd name="connsiteY254" fmla="*/ 152876 h 1114425"/>
                  <a:gd name="connsiteX255" fmla="*/ 419723 w 1504950"/>
                  <a:gd name="connsiteY255" fmla="*/ 145256 h 1114425"/>
                  <a:gd name="connsiteX256" fmla="*/ 420675 w 1504950"/>
                  <a:gd name="connsiteY256" fmla="*/ 143351 h 1114425"/>
                  <a:gd name="connsiteX257" fmla="*/ 420675 w 1504950"/>
                  <a:gd name="connsiteY257" fmla="*/ 135731 h 1114425"/>
                  <a:gd name="connsiteX258" fmla="*/ 419723 w 1504950"/>
                  <a:gd name="connsiteY258" fmla="*/ 127159 h 1114425"/>
                  <a:gd name="connsiteX259" fmla="*/ 417818 w 1504950"/>
                  <a:gd name="connsiteY259" fmla="*/ 120491 h 1114425"/>
                  <a:gd name="connsiteX260" fmla="*/ 414960 w 1504950"/>
                  <a:gd name="connsiteY260" fmla="*/ 117634 h 1114425"/>
                  <a:gd name="connsiteX261" fmla="*/ 410198 w 1504950"/>
                  <a:gd name="connsiteY261" fmla="*/ 114776 h 1114425"/>
                  <a:gd name="connsiteX262" fmla="*/ 404483 w 1504950"/>
                  <a:gd name="connsiteY262" fmla="*/ 110014 h 1114425"/>
                  <a:gd name="connsiteX263" fmla="*/ 397815 w 1504950"/>
                  <a:gd name="connsiteY263" fmla="*/ 106204 h 1114425"/>
                  <a:gd name="connsiteX264" fmla="*/ 386385 w 1504950"/>
                  <a:gd name="connsiteY264" fmla="*/ 100489 h 1114425"/>
                  <a:gd name="connsiteX265" fmla="*/ 378765 w 1504950"/>
                  <a:gd name="connsiteY265" fmla="*/ 96679 h 1114425"/>
                  <a:gd name="connsiteX266" fmla="*/ 367335 w 1504950"/>
                  <a:gd name="connsiteY266" fmla="*/ 88106 h 1114425"/>
                  <a:gd name="connsiteX267" fmla="*/ 362573 w 1504950"/>
                  <a:gd name="connsiteY267" fmla="*/ 82391 h 1114425"/>
                  <a:gd name="connsiteX268" fmla="*/ 360668 w 1504950"/>
                  <a:gd name="connsiteY268" fmla="*/ 73819 h 1114425"/>
                  <a:gd name="connsiteX269" fmla="*/ 374955 w 1504950"/>
                  <a:gd name="connsiteY269" fmla="*/ 67151 h 1114425"/>
                  <a:gd name="connsiteX270" fmla="*/ 411150 w 1504950"/>
                  <a:gd name="connsiteY270" fmla="*/ 83344 h 1114425"/>
                  <a:gd name="connsiteX271" fmla="*/ 414008 w 1504950"/>
                  <a:gd name="connsiteY271" fmla="*/ 84296 h 1114425"/>
                  <a:gd name="connsiteX272" fmla="*/ 415913 w 1504950"/>
                  <a:gd name="connsiteY272" fmla="*/ 84296 h 1114425"/>
                  <a:gd name="connsiteX273" fmla="*/ 427343 w 1504950"/>
                  <a:gd name="connsiteY273" fmla="*/ 75724 h 1114425"/>
                  <a:gd name="connsiteX274" fmla="*/ 429248 w 1504950"/>
                  <a:gd name="connsiteY274" fmla="*/ 67151 h 1114425"/>
                  <a:gd name="connsiteX275" fmla="*/ 429248 w 1504950"/>
                  <a:gd name="connsiteY275" fmla="*/ 66199 h 1114425"/>
                  <a:gd name="connsiteX276" fmla="*/ 428295 w 1504950"/>
                  <a:gd name="connsiteY276" fmla="*/ 57626 h 1114425"/>
                  <a:gd name="connsiteX277" fmla="*/ 424485 w 1504950"/>
                  <a:gd name="connsiteY277" fmla="*/ 50959 h 1114425"/>
                  <a:gd name="connsiteX278" fmla="*/ 415913 w 1504950"/>
                  <a:gd name="connsiteY278" fmla="*/ 43339 h 1114425"/>
                  <a:gd name="connsiteX279" fmla="*/ 401625 w 1504950"/>
                  <a:gd name="connsiteY279" fmla="*/ 29051 h 1114425"/>
                  <a:gd name="connsiteX280" fmla="*/ 400673 w 1504950"/>
                  <a:gd name="connsiteY280" fmla="*/ 22384 h 1114425"/>
                  <a:gd name="connsiteX281" fmla="*/ 404483 w 1504950"/>
                  <a:gd name="connsiteY281" fmla="*/ 16669 h 1114425"/>
                  <a:gd name="connsiteX282" fmla="*/ 408293 w 1504950"/>
                  <a:gd name="connsiteY282" fmla="*/ 15716 h 1114425"/>
                  <a:gd name="connsiteX283" fmla="*/ 408293 w 1504950"/>
                  <a:gd name="connsiteY283" fmla="*/ 15716 h 1114425"/>
                  <a:gd name="connsiteX284" fmla="*/ 324473 w 1504950"/>
                  <a:gd name="connsiteY284" fmla="*/ 188119 h 1114425"/>
                  <a:gd name="connsiteX285" fmla="*/ 320663 w 1504950"/>
                  <a:gd name="connsiteY285" fmla="*/ 190976 h 1114425"/>
                  <a:gd name="connsiteX286" fmla="*/ 321615 w 1504950"/>
                  <a:gd name="connsiteY286" fmla="*/ 193834 h 1114425"/>
                  <a:gd name="connsiteX287" fmla="*/ 337808 w 1504950"/>
                  <a:gd name="connsiteY287" fmla="*/ 203359 h 1114425"/>
                  <a:gd name="connsiteX288" fmla="*/ 354000 w 1504950"/>
                  <a:gd name="connsiteY288" fmla="*/ 209074 h 1114425"/>
                  <a:gd name="connsiteX289" fmla="*/ 358763 w 1504950"/>
                  <a:gd name="connsiteY289" fmla="*/ 210026 h 1114425"/>
                  <a:gd name="connsiteX290" fmla="*/ 375908 w 1504950"/>
                  <a:gd name="connsiteY290" fmla="*/ 208121 h 1114425"/>
                  <a:gd name="connsiteX291" fmla="*/ 380670 w 1504950"/>
                  <a:gd name="connsiteY291" fmla="*/ 207169 h 1114425"/>
                  <a:gd name="connsiteX292" fmla="*/ 380670 w 1504950"/>
                  <a:gd name="connsiteY292" fmla="*/ 208121 h 1114425"/>
                  <a:gd name="connsiteX293" fmla="*/ 389243 w 1504950"/>
                  <a:gd name="connsiteY293" fmla="*/ 211931 h 1114425"/>
                  <a:gd name="connsiteX294" fmla="*/ 391148 w 1504950"/>
                  <a:gd name="connsiteY294" fmla="*/ 214789 h 1114425"/>
                  <a:gd name="connsiteX295" fmla="*/ 390195 w 1504950"/>
                  <a:gd name="connsiteY295" fmla="*/ 219551 h 1114425"/>
                  <a:gd name="connsiteX296" fmla="*/ 390195 w 1504950"/>
                  <a:gd name="connsiteY296" fmla="*/ 220504 h 1114425"/>
                  <a:gd name="connsiteX297" fmla="*/ 388290 w 1504950"/>
                  <a:gd name="connsiteY297" fmla="*/ 229076 h 1114425"/>
                  <a:gd name="connsiteX298" fmla="*/ 388290 w 1504950"/>
                  <a:gd name="connsiteY298" fmla="*/ 235744 h 1114425"/>
                  <a:gd name="connsiteX299" fmla="*/ 389243 w 1504950"/>
                  <a:gd name="connsiteY299" fmla="*/ 239554 h 1114425"/>
                  <a:gd name="connsiteX300" fmla="*/ 394005 w 1504950"/>
                  <a:gd name="connsiteY300" fmla="*/ 249079 h 1114425"/>
                  <a:gd name="connsiteX301" fmla="*/ 402578 w 1504950"/>
                  <a:gd name="connsiteY301" fmla="*/ 275749 h 1114425"/>
                  <a:gd name="connsiteX302" fmla="*/ 403530 w 1504950"/>
                  <a:gd name="connsiteY302" fmla="*/ 281464 h 1114425"/>
                  <a:gd name="connsiteX303" fmla="*/ 418770 w 1504950"/>
                  <a:gd name="connsiteY303" fmla="*/ 271939 h 1114425"/>
                  <a:gd name="connsiteX304" fmla="*/ 427343 w 1504950"/>
                  <a:gd name="connsiteY304" fmla="*/ 265271 h 1114425"/>
                  <a:gd name="connsiteX305" fmla="*/ 434010 w 1504950"/>
                  <a:gd name="connsiteY305" fmla="*/ 263366 h 1114425"/>
                  <a:gd name="connsiteX306" fmla="*/ 441630 w 1504950"/>
                  <a:gd name="connsiteY306" fmla="*/ 270986 h 1114425"/>
                  <a:gd name="connsiteX307" fmla="*/ 441630 w 1504950"/>
                  <a:gd name="connsiteY307" fmla="*/ 276701 h 1114425"/>
                  <a:gd name="connsiteX308" fmla="*/ 440678 w 1504950"/>
                  <a:gd name="connsiteY308" fmla="*/ 279559 h 1114425"/>
                  <a:gd name="connsiteX309" fmla="*/ 435915 w 1504950"/>
                  <a:gd name="connsiteY309" fmla="*/ 287179 h 1114425"/>
                  <a:gd name="connsiteX310" fmla="*/ 421628 w 1504950"/>
                  <a:gd name="connsiteY310" fmla="*/ 301466 h 1114425"/>
                  <a:gd name="connsiteX311" fmla="*/ 408293 w 1504950"/>
                  <a:gd name="connsiteY311" fmla="*/ 316706 h 1114425"/>
                  <a:gd name="connsiteX312" fmla="*/ 386385 w 1504950"/>
                  <a:gd name="connsiteY312" fmla="*/ 347186 h 1114425"/>
                  <a:gd name="connsiteX313" fmla="*/ 373050 w 1504950"/>
                  <a:gd name="connsiteY313" fmla="*/ 368141 h 1114425"/>
                  <a:gd name="connsiteX314" fmla="*/ 367335 w 1504950"/>
                  <a:gd name="connsiteY314" fmla="*/ 376714 h 1114425"/>
                  <a:gd name="connsiteX315" fmla="*/ 368288 w 1504950"/>
                  <a:gd name="connsiteY315" fmla="*/ 376714 h 1114425"/>
                  <a:gd name="connsiteX316" fmla="*/ 430200 w 1504950"/>
                  <a:gd name="connsiteY316" fmla="*/ 348139 h 1114425"/>
                  <a:gd name="connsiteX317" fmla="*/ 450203 w 1504950"/>
                  <a:gd name="connsiteY317" fmla="*/ 332899 h 1114425"/>
                  <a:gd name="connsiteX318" fmla="*/ 470205 w 1504950"/>
                  <a:gd name="connsiteY318" fmla="*/ 309086 h 1114425"/>
                  <a:gd name="connsiteX319" fmla="*/ 479730 w 1504950"/>
                  <a:gd name="connsiteY319" fmla="*/ 288131 h 1114425"/>
                  <a:gd name="connsiteX320" fmla="*/ 481635 w 1504950"/>
                  <a:gd name="connsiteY320" fmla="*/ 280511 h 1114425"/>
                  <a:gd name="connsiteX321" fmla="*/ 480683 w 1504950"/>
                  <a:gd name="connsiteY321" fmla="*/ 255746 h 1114425"/>
                  <a:gd name="connsiteX322" fmla="*/ 457823 w 1504950"/>
                  <a:gd name="connsiteY322" fmla="*/ 214789 h 1114425"/>
                  <a:gd name="connsiteX323" fmla="*/ 430200 w 1504950"/>
                  <a:gd name="connsiteY323" fmla="*/ 197644 h 1114425"/>
                  <a:gd name="connsiteX324" fmla="*/ 397815 w 1504950"/>
                  <a:gd name="connsiteY324" fmla="*/ 188119 h 1114425"/>
                  <a:gd name="connsiteX325" fmla="*/ 388290 w 1504950"/>
                  <a:gd name="connsiteY325" fmla="*/ 186214 h 1114425"/>
                  <a:gd name="connsiteX326" fmla="*/ 358763 w 1504950"/>
                  <a:gd name="connsiteY326" fmla="*/ 183356 h 1114425"/>
                  <a:gd name="connsiteX327" fmla="*/ 354000 w 1504950"/>
                  <a:gd name="connsiteY327" fmla="*/ 183356 h 1114425"/>
                  <a:gd name="connsiteX328" fmla="*/ 349238 w 1504950"/>
                  <a:gd name="connsiteY328" fmla="*/ 183356 h 1114425"/>
                  <a:gd name="connsiteX329" fmla="*/ 345428 w 1504950"/>
                  <a:gd name="connsiteY329" fmla="*/ 184309 h 1114425"/>
                  <a:gd name="connsiteX330" fmla="*/ 333045 w 1504950"/>
                  <a:gd name="connsiteY330" fmla="*/ 185261 h 1114425"/>
                  <a:gd name="connsiteX331" fmla="*/ 324473 w 1504950"/>
                  <a:gd name="connsiteY331" fmla="*/ 188119 h 1114425"/>
                  <a:gd name="connsiteX332" fmla="*/ 324473 w 1504950"/>
                  <a:gd name="connsiteY332" fmla="*/ 188119 h 1114425"/>
                  <a:gd name="connsiteX333" fmla="*/ 324473 w 1504950"/>
                  <a:gd name="connsiteY333" fmla="*/ 188119 h 1114425"/>
                  <a:gd name="connsiteX334" fmla="*/ 137783 w 1504950"/>
                  <a:gd name="connsiteY334" fmla="*/ 375761 h 1114425"/>
                  <a:gd name="connsiteX335" fmla="*/ 142545 w 1504950"/>
                  <a:gd name="connsiteY335" fmla="*/ 403384 h 1114425"/>
                  <a:gd name="connsiteX336" fmla="*/ 164453 w 1504950"/>
                  <a:gd name="connsiteY336" fmla="*/ 430054 h 1114425"/>
                  <a:gd name="connsiteX337" fmla="*/ 173978 w 1504950"/>
                  <a:gd name="connsiteY337" fmla="*/ 434816 h 1114425"/>
                  <a:gd name="connsiteX338" fmla="*/ 180645 w 1504950"/>
                  <a:gd name="connsiteY338" fmla="*/ 435769 h 1114425"/>
                  <a:gd name="connsiteX339" fmla="*/ 184455 w 1504950"/>
                  <a:gd name="connsiteY339" fmla="*/ 436721 h 1114425"/>
                  <a:gd name="connsiteX340" fmla="*/ 186360 w 1504950"/>
                  <a:gd name="connsiteY340" fmla="*/ 436721 h 1114425"/>
                  <a:gd name="connsiteX341" fmla="*/ 190170 w 1504950"/>
                  <a:gd name="connsiteY341" fmla="*/ 435769 h 1114425"/>
                  <a:gd name="connsiteX342" fmla="*/ 185408 w 1504950"/>
                  <a:gd name="connsiteY342" fmla="*/ 426244 h 1114425"/>
                  <a:gd name="connsiteX343" fmla="*/ 176835 w 1504950"/>
                  <a:gd name="connsiteY343" fmla="*/ 412909 h 1114425"/>
                  <a:gd name="connsiteX344" fmla="*/ 175883 w 1504950"/>
                  <a:gd name="connsiteY344" fmla="*/ 409099 h 1114425"/>
                  <a:gd name="connsiteX345" fmla="*/ 180645 w 1504950"/>
                  <a:gd name="connsiteY345" fmla="*/ 404336 h 1114425"/>
                  <a:gd name="connsiteX346" fmla="*/ 191123 w 1504950"/>
                  <a:gd name="connsiteY346" fmla="*/ 402431 h 1114425"/>
                  <a:gd name="connsiteX347" fmla="*/ 193980 w 1504950"/>
                  <a:gd name="connsiteY347" fmla="*/ 403384 h 1114425"/>
                  <a:gd name="connsiteX348" fmla="*/ 206363 w 1504950"/>
                  <a:gd name="connsiteY348" fmla="*/ 410051 h 1114425"/>
                  <a:gd name="connsiteX349" fmla="*/ 218745 w 1504950"/>
                  <a:gd name="connsiteY349" fmla="*/ 418624 h 1114425"/>
                  <a:gd name="connsiteX350" fmla="*/ 228270 w 1504950"/>
                  <a:gd name="connsiteY350" fmla="*/ 429101 h 1114425"/>
                  <a:gd name="connsiteX351" fmla="*/ 232080 w 1504950"/>
                  <a:gd name="connsiteY351" fmla="*/ 432911 h 1114425"/>
                  <a:gd name="connsiteX352" fmla="*/ 276848 w 1504950"/>
                  <a:gd name="connsiteY352" fmla="*/ 439579 h 1114425"/>
                  <a:gd name="connsiteX353" fmla="*/ 287325 w 1504950"/>
                  <a:gd name="connsiteY353" fmla="*/ 439579 h 1114425"/>
                  <a:gd name="connsiteX354" fmla="*/ 293993 w 1504950"/>
                  <a:gd name="connsiteY354" fmla="*/ 439579 h 1114425"/>
                  <a:gd name="connsiteX355" fmla="*/ 291135 w 1504950"/>
                  <a:gd name="connsiteY355" fmla="*/ 430054 h 1114425"/>
                  <a:gd name="connsiteX356" fmla="*/ 284468 w 1504950"/>
                  <a:gd name="connsiteY356" fmla="*/ 420529 h 1114425"/>
                  <a:gd name="connsiteX357" fmla="*/ 270180 w 1504950"/>
                  <a:gd name="connsiteY357" fmla="*/ 410051 h 1114425"/>
                  <a:gd name="connsiteX358" fmla="*/ 250178 w 1504950"/>
                  <a:gd name="connsiteY358" fmla="*/ 401479 h 1114425"/>
                  <a:gd name="connsiteX359" fmla="*/ 210173 w 1504950"/>
                  <a:gd name="connsiteY359" fmla="*/ 390049 h 1114425"/>
                  <a:gd name="connsiteX360" fmla="*/ 202553 w 1504950"/>
                  <a:gd name="connsiteY360" fmla="*/ 388144 h 1114425"/>
                  <a:gd name="connsiteX361" fmla="*/ 196838 w 1504950"/>
                  <a:gd name="connsiteY361" fmla="*/ 387191 h 1114425"/>
                  <a:gd name="connsiteX362" fmla="*/ 184455 w 1504950"/>
                  <a:gd name="connsiteY362" fmla="*/ 385286 h 1114425"/>
                  <a:gd name="connsiteX363" fmla="*/ 154928 w 1504950"/>
                  <a:gd name="connsiteY363" fmla="*/ 378619 h 1114425"/>
                  <a:gd name="connsiteX364" fmla="*/ 137783 w 1504950"/>
                  <a:gd name="connsiteY364" fmla="*/ 375761 h 1114425"/>
                  <a:gd name="connsiteX365" fmla="*/ 137783 w 1504950"/>
                  <a:gd name="connsiteY365" fmla="*/ 375761 h 1114425"/>
                  <a:gd name="connsiteX366" fmla="*/ 137783 w 1504950"/>
                  <a:gd name="connsiteY366" fmla="*/ 375761 h 1114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</a:cxnLst>
                <a:rect l="l" t="t" r="r" b="b"/>
                <a:pathLst>
                  <a:path w="1504950" h="1114425">
                    <a:moveTo>
                      <a:pt x="408293" y="15716"/>
                    </a:moveTo>
                    <a:cubicBezTo>
                      <a:pt x="411150" y="14764"/>
                      <a:pt x="413055" y="14764"/>
                      <a:pt x="414960" y="15716"/>
                    </a:cubicBezTo>
                    <a:cubicBezTo>
                      <a:pt x="417818" y="16669"/>
                      <a:pt x="418770" y="16669"/>
                      <a:pt x="420675" y="17621"/>
                    </a:cubicBezTo>
                    <a:cubicBezTo>
                      <a:pt x="423533" y="18574"/>
                      <a:pt x="424485" y="20479"/>
                      <a:pt x="426390" y="22384"/>
                    </a:cubicBezTo>
                    <a:cubicBezTo>
                      <a:pt x="430200" y="26194"/>
                      <a:pt x="434963" y="29051"/>
                      <a:pt x="440678" y="30004"/>
                    </a:cubicBezTo>
                    <a:lnTo>
                      <a:pt x="441630" y="29051"/>
                    </a:lnTo>
                    <a:lnTo>
                      <a:pt x="442583" y="27146"/>
                    </a:lnTo>
                    <a:cubicBezTo>
                      <a:pt x="443535" y="25241"/>
                      <a:pt x="443535" y="24289"/>
                      <a:pt x="444488" y="22384"/>
                    </a:cubicBezTo>
                    <a:cubicBezTo>
                      <a:pt x="447345" y="16669"/>
                      <a:pt x="450203" y="12859"/>
                      <a:pt x="455918" y="9049"/>
                    </a:cubicBezTo>
                    <a:cubicBezTo>
                      <a:pt x="457823" y="8096"/>
                      <a:pt x="460680" y="7144"/>
                      <a:pt x="462585" y="7144"/>
                    </a:cubicBezTo>
                    <a:cubicBezTo>
                      <a:pt x="463538" y="7144"/>
                      <a:pt x="463538" y="7144"/>
                      <a:pt x="464490" y="7144"/>
                    </a:cubicBezTo>
                    <a:cubicBezTo>
                      <a:pt x="467348" y="7144"/>
                      <a:pt x="469253" y="9049"/>
                      <a:pt x="471158" y="10954"/>
                    </a:cubicBezTo>
                    <a:cubicBezTo>
                      <a:pt x="472110" y="11906"/>
                      <a:pt x="473063" y="13811"/>
                      <a:pt x="473063" y="14764"/>
                    </a:cubicBezTo>
                    <a:cubicBezTo>
                      <a:pt x="473063" y="18574"/>
                      <a:pt x="473063" y="21431"/>
                      <a:pt x="473063" y="24289"/>
                    </a:cubicBezTo>
                    <a:lnTo>
                      <a:pt x="470205" y="42386"/>
                    </a:lnTo>
                    <a:cubicBezTo>
                      <a:pt x="470205" y="43339"/>
                      <a:pt x="470205" y="43339"/>
                      <a:pt x="470205" y="44291"/>
                    </a:cubicBezTo>
                    <a:cubicBezTo>
                      <a:pt x="469253" y="47149"/>
                      <a:pt x="469253" y="50006"/>
                      <a:pt x="469253" y="52864"/>
                    </a:cubicBezTo>
                    <a:cubicBezTo>
                      <a:pt x="466395" y="61436"/>
                      <a:pt x="462585" y="69056"/>
                      <a:pt x="458775" y="76676"/>
                    </a:cubicBezTo>
                    <a:cubicBezTo>
                      <a:pt x="454965" y="84296"/>
                      <a:pt x="452108" y="91916"/>
                      <a:pt x="451155" y="100489"/>
                    </a:cubicBezTo>
                    <a:cubicBezTo>
                      <a:pt x="450203" y="103346"/>
                      <a:pt x="451155" y="106204"/>
                      <a:pt x="450203" y="109061"/>
                    </a:cubicBezTo>
                    <a:cubicBezTo>
                      <a:pt x="449250" y="111919"/>
                      <a:pt x="450203" y="115729"/>
                      <a:pt x="450203" y="118586"/>
                    </a:cubicBezTo>
                    <a:cubicBezTo>
                      <a:pt x="451155" y="126206"/>
                      <a:pt x="452108" y="130969"/>
                      <a:pt x="453060" y="136684"/>
                    </a:cubicBezTo>
                    <a:cubicBezTo>
                      <a:pt x="453060" y="133826"/>
                      <a:pt x="453060" y="135731"/>
                      <a:pt x="453060" y="137636"/>
                    </a:cubicBezTo>
                    <a:cubicBezTo>
                      <a:pt x="454013" y="141446"/>
                      <a:pt x="454013" y="145256"/>
                      <a:pt x="454013" y="150019"/>
                    </a:cubicBezTo>
                    <a:cubicBezTo>
                      <a:pt x="454013" y="151924"/>
                      <a:pt x="453060" y="153829"/>
                      <a:pt x="453060" y="154781"/>
                    </a:cubicBezTo>
                    <a:cubicBezTo>
                      <a:pt x="453060" y="157639"/>
                      <a:pt x="453060" y="161449"/>
                      <a:pt x="452108" y="165259"/>
                    </a:cubicBezTo>
                    <a:cubicBezTo>
                      <a:pt x="452108" y="166211"/>
                      <a:pt x="451155" y="167164"/>
                      <a:pt x="451155" y="169069"/>
                    </a:cubicBezTo>
                    <a:lnTo>
                      <a:pt x="456870" y="173831"/>
                    </a:lnTo>
                    <a:cubicBezTo>
                      <a:pt x="458775" y="175736"/>
                      <a:pt x="459728" y="177641"/>
                      <a:pt x="462585" y="178594"/>
                    </a:cubicBezTo>
                    <a:cubicBezTo>
                      <a:pt x="465443" y="180499"/>
                      <a:pt x="467348" y="182404"/>
                      <a:pt x="470205" y="184309"/>
                    </a:cubicBezTo>
                    <a:cubicBezTo>
                      <a:pt x="473063" y="186214"/>
                      <a:pt x="475920" y="188119"/>
                      <a:pt x="479730" y="190024"/>
                    </a:cubicBezTo>
                    <a:cubicBezTo>
                      <a:pt x="480683" y="190976"/>
                      <a:pt x="482588" y="191929"/>
                      <a:pt x="484493" y="191929"/>
                    </a:cubicBezTo>
                    <a:cubicBezTo>
                      <a:pt x="486398" y="191929"/>
                      <a:pt x="489255" y="191929"/>
                      <a:pt x="491160" y="191929"/>
                    </a:cubicBezTo>
                    <a:cubicBezTo>
                      <a:pt x="494970" y="191929"/>
                      <a:pt x="497828" y="190024"/>
                      <a:pt x="500685" y="189071"/>
                    </a:cubicBezTo>
                    <a:cubicBezTo>
                      <a:pt x="504495" y="187166"/>
                      <a:pt x="506400" y="186214"/>
                      <a:pt x="509258" y="184309"/>
                    </a:cubicBezTo>
                    <a:cubicBezTo>
                      <a:pt x="509258" y="184309"/>
                      <a:pt x="510210" y="183356"/>
                      <a:pt x="512115" y="182404"/>
                    </a:cubicBezTo>
                    <a:cubicBezTo>
                      <a:pt x="513068" y="181451"/>
                      <a:pt x="514973" y="180499"/>
                      <a:pt x="515925" y="179546"/>
                    </a:cubicBezTo>
                    <a:cubicBezTo>
                      <a:pt x="516878" y="178594"/>
                      <a:pt x="518783" y="177641"/>
                      <a:pt x="519735" y="176689"/>
                    </a:cubicBezTo>
                    <a:cubicBezTo>
                      <a:pt x="521640" y="174784"/>
                      <a:pt x="522593" y="172879"/>
                      <a:pt x="524498" y="171926"/>
                    </a:cubicBezTo>
                    <a:cubicBezTo>
                      <a:pt x="526403" y="169069"/>
                      <a:pt x="527355" y="168116"/>
                      <a:pt x="529260" y="166211"/>
                    </a:cubicBezTo>
                    <a:cubicBezTo>
                      <a:pt x="529260" y="165259"/>
                      <a:pt x="531165" y="164306"/>
                      <a:pt x="532118" y="161449"/>
                    </a:cubicBezTo>
                    <a:cubicBezTo>
                      <a:pt x="534023" y="158591"/>
                      <a:pt x="536880" y="155734"/>
                      <a:pt x="538785" y="151924"/>
                    </a:cubicBezTo>
                    <a:cubicBezTo>
                      <a:pt x="542595" y="144304"/>
                      <a:pt x="546405" y="135731"/>
                      <a:pt x="548310" y="127159"/>
                    </a:cubicBezTo>
                    <a:cubicBezTo>
                      <a:pt x="548310" y="126206"/>
                      <a:pt x="549263" y="124301"/>
                      <a:pt x="549263" y="122396"/>
                    </a:cubicBezTo>
                    <a:cubicBezTo>
                      <a:pt x="549263" y="120491"/>
                      <a:pt x="549263" y="118586"/>
                      <a:pt x="550215" y="116681"/>
                    </a:cubicBezTo>
                    <a:cubicBezTo>
                      <a:pt x="550215" y="110966"/>
                      <a:pt x="551168" y="105251"/>
                      <a:pt x="552120" y="98584"/>
                    </a:cubicBezTo>
                    <a:cubicBezTo>
                      <a:pt x="553073" y="95726"/>
                      <a:pt x="554025" y="92869"/>
                      <a:pt x="554978" y="90964"/>
                    </a:cubicBezTo>
                    <a:cubicBezTo>
                      <a:pt x="555930" y="89059"/>
                      <a:pt x="555930" y="88106"/>
                      <a:pt x="556883" y="87154"/>
                    </a:cubicBezTo>
                    <a:cubicBezTo>
                      <a:pt x="557835" y="85249"/>
                      <a:pt x="558788" y="83344"/>
                      <a:pt x="560693" y="81439"/>
                    </a:cubicBezTo>
                    <a:cubicBezTo>
                      <a:pt x="561645" y="79534"/>
                      <a:pt x="563550" y="77629"/>
                      <a:pt x="565455" y="76676"/>
                    </a:cubicBezTo>
                    <a:cubicBezTo>
                      <a:pt x="567360" y="74771"/>
                      <a:pt x="569265" y="74771"/>
                      <a:pt x="571170" y="73819"/>
                    </a:cubicBezTo>
                    <a:cubicBezTo>
                      <a:pt x="572123" y="73819"/>
                      <a:pt x="572123" y="73819"/>
                      <a:pt x="573075" y="73819"/>
                    </a:cubicBezTo>
                    <a:cubicBezTo>
                      <a:pt x="574028" y="73819"/>
                      <a:pt x="574980" y="74771"/>
                      <a:pt x="574980" y="74771"/>
                    </a:cubicBezTo>
                    <a:cubicBezTo>
                      <a:pt x="575933" y="74771"/>
                      <a:pt x="576885" y="75724"/>
                      <a:pt x="576885" y="76676"/>
                    </a:cubicBezTo>
                    <a:cubicBezTo>
                      <a:pt x="577838" y="79534"/>
                      <a:pt x="578790" y="80486"/>
                      <a:pt x="578790" y="81439"/>
                    </a:cubicBezTo>
                    <a:cubicBezTo>
                      <a:pt x="578790" y="81439"/>
                      <a:pt x="579743" y="82391"/>
                      <a:pt x="579743" y="83344"/>
                    </a:cubicBezTo>
                    <a:cubicBezTo>
                      <a:pt x="579743" y="85249"/>
                      <a:pt x="579743" y="88106"/>
                      <a:pt x="579743" y="90011"/>
                    </a:cubicBezTo>
                    <a:cubicBezTo>
                      <a:pt x="579743" y="99536"/>
                      <a:pt x="578790" y="108109"/>
                      <a:pt x="577838" y="117634"/>
                    </a:cubicBezTo>
                    <a:lnTo>
                      <a:pt x="575933" y="129064"/>
                    </a:lnTo>
                    <a:cubicBezTo>
                      <a:pt x="574980" y="131921"/>
                      <a:pt x="575933" y="135731"/>
                      <a:pt x="577838" y="138589"/>
                    </a:cubicBezTo>
                    <a:cubicBezTo>
                      <a:pt x="577838" y="139541"/>
                      <a:pt x="578790" y="140494"/>
                      <a:pt x="580695" y="141446"/>
                    </a:cubicBezTo>
                    <a:cubicBezTo>
                      <a:pt x="581648" y="142399"/>
                      <a:pt x="583553" y="143351"/>
                      <a:pt x="584505" y="143351"/>
                    </a:cubicBezTo>
                    <a:cubicBezTo>
                      <a:pt x="586410" y="143351"/>
                      <a:pt x="587363" y="143351"/>
                      <a:pt x="589268" y="143351"/>
                    </a:cubicBezTo>
                    <a:cubicBezTo>
                      <a:pt x="592125" y="142399"/>
                      <a:pt x="594030" y="142399"/>
                      <a:pt x="595935" y="141446"/>
                    </a:cubicBezTo>
                    <a:cubicBezTo>
                      <a:pt x="598793" y="140494"/>
                      <a:pt x="601650" y="138589"/>
                      <a:pt x="604508" y="136684"/>
                    </a:cubicBezTo>
                    <a:cubicBezTo>
                      <a:pt x="610223" y="132874"/>
                      <a:pt x="615938" y="130016"/>
                      <a:pt x="621653" y="125254"/>
                    </a:cubicBezTo>
                    <a:cubicBezTo>
                      <a:pt x="626415" y="121444"/>
                      <a:pt x="631178" y="118586"/>
                      <a:pt x="635940" y="115729"/>
                    </a:cubicBezTo>
                    <a:cubicBezTo>
                      <a:pt x="636893" y="114776"/>
                      <a:pt x="637845" y="114776"/>
                      <a:pt x="639750" y="114776"/>
                    </a:cubicBezTo>
                    <a:cubicBezTo>
                      <a:pt x="640703" y="115729"/>
                      <a:pt x="642608" y="115729"/>
                      <a:pt x="643560" y="116681"/>
                    </a:cubicBezTo>
                    <a:cubicBezTo>
                      <a:pt x="644513" y="116681"/>
                      <a:pt x="645465" y="117634"/>
                      <a:pt x="645465" y="118586"/>
                    </a:cubicBezTo>
                    <a:cubicBezTo>
                      <a:pt x="646418" y="119539"/>
                      <a:pt x="646418" y="121444"/>
                      <a:pt x="646418" y="123349"/>
                    </a:cubicBezTo>
                    <a:cubicBezTo>
                      <a:pt x="646418" y="125254"/>
                      <a:pt x="646418" y="126206"/>
                      <a:pt x="645465" y="128111"/>
                    </a:cubicBezTo>
                    <a:cubicBezTo>
                      <a:pt x="645465" y="128111"/>
                      <a:pt x="645465" y="129064"/>
                      <a:pt x="645465" y="129064"/>
                    </a:cubicBezTo>
                    <a:cubicBezTo>
                      <a:pt x="645465" y="130969"/>
                      <a:pt x="644513" y="131921"/>
                      <a:pt x="644513" y="133826"/>
                    </a:cubicBezTo>
                    <a:cubicBezTo>
                      <a:pt x="644513" y="133826"/>
                      <a:pt x="644513" y="133826"/>
                      <a:pt x="644513" y="134779"/>
                    </a:cubicBezTo>
                    <a:cubicBezTo>
                      <a:pt x="644513" y="135731"/>
                      <a:pt x="644513" y="136684"/>
                      <a:pt x="644513" y="137636"/>
                    </a:cubicBezTo>
                    <a:cubicBezTo>
                      <a:pt x="643560" y="138589"/>
                      <a:pt x="642608" y="140494"/>
                      <a:pt x="642608" y="141446"/>
                    </a:cubicBezTo>
                    <a:cubicBezTo>
                      <a:pt x="641655" y="143351"/>
                      <a:pt x="641655" y="145256"/>
                      <a:pt x="640703" y="146209"/>
                    </a:cubicBezTo>
                    <a:cubicBezTo>
                      <a:pt x="639750" y="148114"/>
                      <a:pt x="638798" y="149066"/>
                      <a:pt x="637845" y="150971"/>
                    </a:cubicBezTo>
                    <a:cubicBezTo>
                      <a:pt x="635940" y="152876"/>
                      <a:pt x="634035" y="155734"/>
                      <a:pt x="632130" y="157639"/>
                    </a:cubicBezTo>
                    <a:cubicBezTo>
                      <a:pt x="629273" y="160496"/>
                      <a:pt x="625463" y="163354"/>
                      <a:pt x="621653" y="165259"/>
                    </a:cubicBezTo>
                    <a:cubicBezTo>
                      <a:pt x="617843" y="167164"/>
                      <a:pt x="614033" y="169069"/>
                      <a:pt x="610223" y="170021"/>
                    </a:cubicBezTo>
                    <a:cubicBezTo>
                      <a:pt x="609270" y="170021"/>
                      <a:pt x="608318" y="170974"/>
                      <a:pt x="607365" y="170974"/>
                    </a:cubicBezTo>
                    <a:cubicBezTo>
                      <a:pt x="604508" y="171926"/>
                      <a:pt x="601650" y="171926"/>
                      <a:pt x="598793" y="172879"/>
                    </a:cubicBezTo>
                    <a:cubicBezTo>
                      <a:pt x="595935" y="173831"/>
                      <a:pt x="592125" y="174784"/>
                      <a:pt x="588315" y="175736"/>
                    </a:cubicBezTo>
                    <a:cubicBezTo>
                      <a:pt x="585458" y="176689"/>
                      <a:pt x="581648" y="177641"/>
                      <a:pt x="578790" y="178594"/>
                    </a:cubicBezTo>
                    <a:cubicBezTo>
                      <a:pt x="576885" y="179546"/>
                      <a:pt x="574028" y="181451"/>
                      <a:pt x="571170" y="182404"/>
                    </a:cubicBezTo>
                    <a:cubicBezTo>
                      <a:pt x="568313" y="183356"/>
                      <a:pt x="566408" y="184309"/>
                      <a:pt x="564503" y="185261"/>
                    </a:cubicBezTo>
                    <a:cubicBezTo>
                      <a:pt x="561645" y="186214"/>
                      <a:pt x="559740" y="187166"/>
                      <a:pt x="556883" y="188119"/>
                    </a:cubicBezTo>
                    <a:cubicBezTo>
                      <a:pt x="549263" y="192881"/>
                      <a:pt x="541643" y="196691"/>
                      <a:pt x="534023" y="202406"/>
                    </a:cubicBezTo>
                    <a:cubicBezTo>
                      <a:pt x="525450" y="209074"/>
                      <a:pt x="519735" y="217646"/>
                      <a:pt x="515925" y="227171"/>
                    </a:cubicBezTo>
                    <a:cubicBezTo>
                      <a:pt x="514973" y="230029"/>
                      <a:pt x="514973" y="231934"/>
                      <a:pt x="514020" y="234791"/>
                    </a:cubicBezTo>
                    <a:cubicBezTo>
                      <a:pt x="513068" y="237649"/>
                      <a:pt x="513068" y="240506"/>
                      <a:pt x="513068" y="243364"/>
                    </a:cubicBezTo>
                    <a:cubicBezTo>
                      <a:pt x="513068" y="248126"/>
                      <a:pt x="514020" y="252889"/>
                      <a:pt x="514020" y="257651"/>
                    </a:cubicBezTo>
                    <a:cubicBezTo>
                      <a:pt x="514020" y="262414"/>
                      <a:pt x="514973" y="267176"/>
                      <a:pt x="514973" y="271939"/>
                    </a:cubicBezTo>
                    <a:cubicBezTo>
                      <a:pt x="514973" y="273844"/>
                      <a:pt x="514973" y="275749"/>
                      <a:pt x="514973" y="277654"/>
                    </a:cubicBezTo>
                    <a:cubicBezTo>
                      <a:pt x="514973" y="281464"/>
                      <a:pt x="514020" y="285274"/>
                      <a:pt x="514020" y="289084"/>
                    </a:cubicBezTo>
                    <a:cubicBezTo>
                      <a:pt x="514020" y="290036"/>
                      <a:pt x="513068" y="290989"/>
                      <a:pt x="513068" y="291941"/>
                    </a:cubicBezTo>
                    <a:cubicBezTo>
                      <a:pt x="510210" y="306229"/>
                      <a:pt x="504495" y="319564"/>
                      <a:pt x="495923" y="330994"/>
                    </a:cubicBezTo>
                    <a:lnTo>
                      <a:pt x="486398" y="342424"/>
                    </a:lnTo>
                    <a:lnTo>
                      <a:pt x="474015" y="350044"/>
                    </a:lnTo>
                    <a:cubicBezTo>
                      <a:pt x="464490" y="358616"/>
                      <a:pt x="454965" y="366236"/>
                      <a:pt x="443535" y="371951"/>
                    </a:cubicBezTo>
                    <a:cubicBezTo>
                      <a:pt x="437820" y="374809"/>
                      <a:pt x="431153" y="378619"/>
                      <a:pt x="422580" y="382429"/>
                    </a:cubicBezTo>
                    <a:cubicBezTo>
                      <a:pt x="373050" y="409099"/>
                      <a:pt x="368288" y="425291"/>
                      <a:pt x="351143" y="436721"/>
                    </a:cubicBezTo>
                    <a:lnTo>
                      <a:pt x="348285" y="435769"/>
                    </a:lnTo>
                    <a:cubicBezTo>
                      <a:pt x="348285" y="440531"/>
                      <a:pt x="349238" y="442436"/>
                      <a:pt x="349238" y="443389"/>
                    </a:cubicBezTo>
                    <a:cubicBezTo>
                      <a:pt x="354000" y="445294"/>
                      <a:pt x="398768" y="514826"/>
                      <a:pt x="418770" y="551974"/>
                    </a:cubicBezTo>
                    <a:cubicBezTo>
                      <a:pt x="454965" y="616744"/>
                      <a:pt x="483540" y="639604"/>
                      <a:pt x="524498" y="634841"/>
                    </a:cubicBezTo>
                    <a:cubicBezTo>
                      <a:pt x="547358" y="631984"/>
                      <a:pt x="591173" y="650081"/>
                      <a:pt x="614985" y="673894"/>
                    </a:cubicBezTo>
                    <a:cubicBezTo>
                      <a:pt x="626415" y="683419"/>
                      <a:pt x="683565" y="687229"/>
                      <a:pt x="733095" y="680561"/>
                    </a:cubicBezTo>
                    <a:cubicBezTo>
                      <a:pt x="750240" y="678656"/>
                      <a:pt x="766433" y="676751"/>
                      <a:pt x="770243" y="677704"/>
                    </a:cubicBezTo>
                    <a:cubicBezTo>
                      <a:pt x="773100" y="678656"/>
                      <a:pt x="804533" y="673894"/>
                      <a:pt x="838823" y="668179"/>
                    </a:cubicBezTo>
                    <a:cubicBezTo>
                      <a:pt x="873113" y="662464"/>
                      <a:pt x="919785" y="656749"/>
                      <a:pt x="941693" y="654844"/>
                    </a:cubicBezTo>
                    <a:cubicBezTo>
                      <a:pt x="963600" y="652939"/>
                      <a:pt x="985508" y="649129"/>
                      <a:pt x="990270" y="647224"/>
                    </a:cubicBezTo>
                    <a:cubicBezTo>
                      <a:pt x="1003605" y="642461"/>
                      <a:pt x="1013130" y="622459"/>
                      <a:pt x="1023608" y="582454"/>
                    </a:cubicBezTo>
                    <a:cubicBezTo>
                      <a:pt x="1028370" y="562451"/>
                      <a:pt x="1036943" y="542449"/>
                      <a:pt x="1043610" y="535781"/>
                    </a:cubicBezTo>
                    <a:cubicBezTo>
                      <a:pt x="1061708" y="516731"/>
                      <a:pt x="1101713" y="492919"/>
                      <a:pt x="1110285" y="495776"/>
                    </a:cubicBezTo>
                    <a:cubicBezTo>
                      <a:pt x="1119810" y="499586"/>
                      <a:pt x="1117905" y="505301"/>
                      <a:pt x="1099808" y="525304"/>
                    </a:cubicBezTo>
                    <a:cubicBezTo>
                      <a:pt x="1082663" y="544354"/>
                      <a:pt x="1071233" y="571976"/>
                      <a:pt x="1076948" y="584359"/>
                    </a:cubicBezTo>
                    <a:cubicBezTo>
                      <a:pt x="1078853" y="588169"/>
                      <a:pt x="1077900" y="595789"/>
                      <a:pt x="1075043" y="600551"/>
                    </a:cubicBezTo>
                    <a:cubicBezTo>
                      <a:pt x="1061708" y="621506"/>
                      <a:pt x="1062660" y="636746"/>
                      <a:pt x="1083615" y="672941"/>
                    </a:cubicBezTo>
                    <a:cubicBezTo>
                      <a:pt x="1102665" y="707231"/>
                      <a:pt x="1102665" y="708184"/>
                      <a:pt x="1100760" y="743426"/>
                    </a:cubicBezTo>
                    <a:cubicBezTo>
                      <a:pt x="1097903" y="789146"/>
                      <a:pt x="1106475" y="808196"/>
                      <a:pt x="1133145" y="820579"/>
                    </a:cubicBezTo>
                    <a:cubicBezTo>
                      <a:pt x="1152195" y="829151"/>
                      <a:pt x="1196010" y="830104"/>
                      <a:pt x="1223633" y="822484"/>
                    </a:cubicBezTo>
                    <a:cubicBezTo>
                      <a:pt x="1235063" y="819626"/>
                      <a:pt x="1241730" y="821531"/>
                      <a:pt x="1264590" y="838676"/>
                    </a:cubicBezTo>
                    <a:cubicBezTo>
                      <a:pt x="1279830" y="850106"/>
                      <a:pt x="1301738" y="862489"/>
                      <a:pt x="1314120" y="867251"/>
                    </a:cubicBezTo>
                    <a:cubicBezTo>
                      <a:pt x="1346505" y="879634"/>
                      <a:pt x="1417943" y="893921"/>
                      <a:pt x="1428420" y="889159"/>
                    </a:cubicBezTo>
                    <a:cubicBezTo>
                      <a:pt x="1433183" y="887254"/>
                      <a:pt x="1445565" y="886301"/>
                      <a:pt x="1455090" y="888206"/>
                    </a:cubicBezTo>
                    <a:cubicBezTo>
                      <a:pt x="1475093" y="891064"/>
                      <a:pt x="1509383" y="907256"/>
                      <a:pt x="1506525" y="912971"/>
                    </a:cubicBezTo>
                    <a:cubicBezTo>
                      <a:pt x="1505573" y="914876"/>
                      <a:pt x="1496048" y="919639"/>
                      <a:pt x="1485570" y="924401"/>
                    </a:cubicBezTo>
                    <a:lnTo>
                      <a:pt x="1466520" y="932021"/>
                    </a:lnTo>
                    <a:lnTo>
                      <a:pt x="1476045" y="947261"/>
                    </a:lnTo>
                    <a:cubicBezTo>
                      <a:pt x="1485570" y="961549"/>
                      <a:pt x="1485570" y="962501"/>
                      <a:pt x="1475093" y="969169"/>
                    </a:cubicBezTo>
                    <a:cubicBezTo>
                      <a:pt x="1468425" y="972979"/>
                      <a:pt x="1460805" y="975836"/>
                      <a:pt x="1456995" y="976789"/>
                    </a:cubicBezTo>
                    <a:cubicBezTo>
                      <a:pt x="1453185" y="977741"/>
                      <a:pt x="1449375" y="978694"/>
                      <a:pt x="1447470" y="979646"/>
                    </a:cubicBezTo>
                    <a:cubicBezTo>
                      <a:pt x="1445565" y="980599"/>
                      <a:pt x="1436993" y="978694"/>
                      <a:pt x="1429373" y="975836"/>
                    </a:cubicBezTo>
                    <a:cubicBezTo>
                      <a:pt x="1420800" y="972979"/>
                      <a:pt x="1406513" y="969169"/>
                      <a:pt x="1397940" y="968216"/>
                    </a:cubicBezTo>
                    <a:cubicBezTo>
                      <a:pt x="1366508" y="962501"/>
                      <a:pt x="1316978" y="942499"/>
                      <a:pt x="1305548" y="932021"/>
                    </a:cubicBezTo>
                    <a:cubicBezTo>
                      <a:pt x="1298880" y="926306"/>
                      <a:pt x="1277925" y="917734"/>
                      <a:pt x="1258875" y="912019"/>
                    </a:cubicBezTo>
                    <a:cubicBezTo>
                      <a:pt x="1224585" y="901541"/>
                      <a:pt x="1222680" y="901541"/>
                      <a:pt x="1179818" y="912971"/>
                    </a:cubicBezTo>
                    <a:cubicBezTo>
                      <a:pt x="1156005" y="919639"/>
                      <a:pt x="1126478" y="927259"/>
                      <a:pt x="1115048" y="931069"/>
                    </a:cubicBezTo>
                    <a:cubicBezTo>
                      <a:pt x="1045515" y="952024"/>
                      <a:pt x="1013130" y="948214"/>
                      <a:pt x="967410" y="912971"/>
                    </a:cubicBezTo>
                    <a:cubicBezTo>
                      <a:pt x="925500" y="880586"/>
                      <a:pt x="895973" y="876776"/>
                      <a:pt x="829298" y="897731"/>
                    </a:cubicBezTo>
                    <a:cubicBezTo>
                      <a:pt x="804533" y="905351"/>
                      <a:pt x="782625" y="913924"/>
                      <a:pt x="780720" y="916781"/>
                    </a:cubicBezTo>
                    <a:cubicBezTo>
                      <a:pt x="778815" y="919639"/>
                      <a:pt x="772148" y="922496"/>
                      <a:pt x="765480" y="924401"/>
                    </a:cubicBezTo>
                    <a:cubicBezTo>
                      <a:pt x="751193" y="928211"/>
                      <a:pt x="703568" y="933926"/>
                      <a:pt x="689280" y="932974"/>
                    </a:cubicBezTo>
                    <a:cubicBezTo>
                      <a:pt x="666420" y="931069"/>
                      <a:pt x="586410" y="924401"/>
                      <a:pt x="560693" y="921544"/>
                    </a:cubicBezTo>
                    <a:cubicBezTo>
                      <a:pt x="545453" y="919639"/>
                      <a:pt x="530213" y="918686"/>
                      <a:pt x="525450" y="918686"/>
                    </a:cubicBezTo>
                    <a:cubicBezTo>
                      <a:pt x="520688" y="918686"/>
                      <a:pt x="512115" y="916781"/>
                      <a:pt x="504495" y="915829"/>
                    </a:cubicBezTo>
                    <a:cubicBezTo>
                      <a:pt x="496875" y="914876"/>
                      <a:pt x="479730" y="918686"/>
                      <a:pt x="461633" y="925354"/>
                    </a:cubicBezTo>
                    <a:cubicBezTo>
                      <a:pt x="431153" y="936784"/>
                      <a:pt x="407340" y="937736"/>
                      <a:pt x="349238" y="930116"/>
                    </a:cubicBezTo>
                    <a:cubicBezTo>
                      <a:pt x="290183" y="922496"/>
                      <a:pt x="262560" y="934879"/>
                      <a:pt x="216840" y="991076"/>
                    </a:cubicBezTo>
                    <a:cubicBezTo>
                      <a:pt x="199695" y="1012031"/>
                      <a:pt x="182550" y="1030129"/>
                      <a:pt x="179693" y="1032034"/>
                    </a:cubicBezTo>
                    <a:cubicBezTo>
                      <a:pt x="176835" y="1032986"/>
                      <a:pt x="169215" y="1045369"/>
                      <a:pt x="162548" y="1058704"/>
                    </a:cubicBezTo>
                    <a:cubicBezTo>
                      <a:pt x="150165" y="1082516"/>
                      <a:pt x="148260" y="1083469"/>
                      <a:pt x="118733" y="1095851"/>
                    </a:cubicBezTo>
                    <a:lnTo>
                      <a:pt x="87300" y="1108234"/>
                    </a:lnTo>
                    <a:lnTo>
                      <a:pt x="97778" y="1081564"/>
                    </a:lnTo>
                    <a:cubicBezTo>
                      <a:pt x="103493" y="1067276"/>
                      <a:pt x="112065" y="1052036"/>
                      <a:pt x="116828" y="1049179"/>
                    </a:cubicBezTo>
                    <a:cubicBezTo>
                      <a:pt x="120638" y="1045369"/>
                      <a:pt x="128258" y="1034891"/>
                      <a:pt x="133973" y="1024414"/>
                    </a:cubicBezTo>
                    <a:cubicBezTo>
                      <a:pt x="138735" y="1013936"/>
                      <a:pt x="153975" y="995839"/>
                      <a:pt x="166358" y="984409"/>
                    </a:cubicBezTo>
                    <a:cubicBezTo>
                      <a:pt x="178740" y="972979"/>
                      <a:pt x="188265" y="962501"/>
                      <a:pt x="187313" y="960596"/>
                    </a:cubicBezTo>
                    <a:cubicBezTo>
                      <a:pt x="185408" y="955834"/>
                      <a:pt x="179693" y="957739"/>
                      <a:pt x="137783" y="986314"/>
                    </a:cubicBezTo>
                    <a:cubicBezTo>
                      <a:pt x="89205" y="1018699"/>
                      <a:pt x="61583" y="1030129"/>
                      <a:pt x="32055" y="1031081"/>
                    </a:cubicBezTo>
                    <a:cubicBezTo>
                      <a:pt x="18720" y="1031081"/>
                      <a:pt x="8243" y="1030129"/>
                      <a:pt x="7290" y="1028224"/>
                    </a:cubicBezTo>
                    <a:cubicBezTo>
                      <a:pt x="3480" y="1020604"/>
                      <a:pt x="74918" y="975836"/>
                      <a:pt x="111113" y="962501"/>
                    </a:cubicBezTo>
                    <a:cubicBezTo>
                      <a:pt x="145403" y="950119"/>
                      <a:pt x="207315" y="915829"/>
                      <a:pt x="222555" y="901541"/>
                    </a:cubicBezTo>
                    <a:cubicBezTo>
                      <a:pt x="237795" y="887254"/>
                      <a:pt x="234938" y="888206"/>
                      <a:pt x="333998" y="866299"/>
                    </a:cubicBezTo>
                    <a:cubicBezTo>
                      <a:pt x="352095" y="862489"/>
                      <a:pt x="370193" y="855821"/>
                      <a:pt x="374003" y="852964"/>
                    </a:cubicBezTo>
                    <a:cubicBezTo>
                      <a:pt x="384480" y="843439"/>
                      <a:pt x="379718" y="827246"/>
                      <a:pt x="359715" y="802481"/>
                    </a:cubicBezTo>
                    <a:cubicBezTo>
                      <a:pt x="350190" y="791051"/>
                      <a:pt x="337808" y="775811"/>
                      <a:pt x="332093" y="769144"/>
                    </a:cubicBezTo>
                    <a:cubicBezTo>
                      <a:pt x="327330" y="762476"/>
                      <a:pt x="314948" y="751999"/>
                      <a:pt x="307328" y="746284"/>
                    </a:cubicBezTo>
                    <a:cubicBezTo>
                      <a:pt x="275895" y="724376"/>
                      <a:pt x="273038" y="713899"/>
                      <a:pt x="276848" y="658654"/>
                    </a:cubicBezTo>
                    <a:cubicBezTo>
                      <a:pt x="280658" y="610076"/>
                      <a:pt x="279705" y="607219"/>
                      <a:pt x="267323" y="592931"/>
                    </a:cubicBezTo>
                    <a:cubicBezTo>
                      <a:pt x="260655" y="584359"/>
                      <a:pt x="250178" y="575786"/>
                      <a:pt x="244463" y="572929"/>
                    </a:cubicBezTo>
                    <a:cubicBezTo>
                      <a:pt x="233033" y="568166"/>
                      <a:pt x="163500" y="563404"/>
                      <a:pt x="154928" y="567214"/>
                    </a:cubicBezTo>
                    <a:cubicBezTo>
                      <a:pt x="148260" y="570071"/>
                      <a:pt x="140640" y="561499"/>
                      <a:pt x="133973" y="547211"/>
                    </a:cubicBezTo>
                    <a:cubicBezTo>
                      <a:pt x="125400" y="527209"/>
                      <a:pt x="128258" y="522446"/>
                      <a:pt x="167310" y="505301"/>
                    </a:cubicBezTo>
                    <a:cubicBezTo>
                      <a:pt x="194933" y="493871"/>
                      <a:pt x="222555" y="478631"/>
                      <a:pt x="242558" y="466249"/>
                    </a:cubicBezTo>
                    <a:lnTo>
                      <a:pt x="230175" y="465296"/>
                    </a:lnTo>
                    <a:lnTo>
                      <a:pt x="179693" y="466249"/>
                    </a:lnTo>
                    <a:cubicBezTo>
                      <a:pt x="170168" y="466249"/>
                      <a:pt x="160643" y="466249"/>
                      <a:pt x="151118" y="467201"/>
                    </a:cubicBezTo>
                    <a:cubicBezTo>
                      <a:pt x="142545" y="468154"/>
                      <a:pt x="134925" y="467201"/>
                      <a:pt x="127305" y="465296"/>
                    </a:cubicBezTo>
                    <a:cubicBezTo>
                      <a:pt x="122543" y="463391"/>
                      <a:pt x="116828" y="462439"/>
                      <a:pt x="112065" y="460534"/>
                    </a:cubicBezTo>
                    <a:cubicBezTo>
                      <a:pt x="107303" y="458629"/>
                      <a:pt x="105398" y="454819"/>
                      <a:pt x="107303" y="450056"/>
                    </a:cubicBezTo>
                    <a:cubicBezTo>
                      <a:pt x="108255" y="446246"/>
                      <a:pt x="110160" y="443389"/>
                      <a:pt x="114923" y="441484"/>
                    </a:cubicBezTo>
                    <a:cubicBezTo>
                      <a:pt x="119685" y="439579"/>
                      <a:pt x="125400" y="439579"/>
                      <a:pt x="130163" y="440531"/>
                    </a:cubicBezTo>
                    <a:lnTo>
                      <a:pt x="123495" y="431959"/>
                    </a:lnTo>
                    <a:lnTo>
                      <a:pt x="117780" y="422434"/>
                    </a:lnTo>
                    <a:lnTo>
                      <a:pt x="113018" y="412909"/>
                    </a:lnTo>
                    <a:cubicBezTo>
                      <a:pt x="107303" y="399574"/>
                      <a:pt x="102540" y="386239"/>
                      <a:pt x="100635" y="371951"/>
                    </a:cubicBezTo>
                    <a:lnTo>
                      <a:pt x="91110" y="363379"/>
                    </a:lnTo>
                    <a:cubicBezTo>
                      <a:pt x="88253" y="361474"/>
                      <a:pt x="86348" y="358616"/>
                      <a:pt x="85395" y="354806"/>
                    </a:cubicBezTo>
                    <a:cubicBezTo>
                      <a:pt x="84443" y="350996"/>
                      <a:pt x="85395" y="347186"/>
                      <a:pt x="89205" y="345281"/>
                    </a:cubicBezTo>
                    <a:cubicBezTo>
                      <a:pt x="93015" y="343376"/>
                      <a:pt x="96825" y="343376"/>
                      <a:pt x="99683" y="345281"/>
                    </a:cubicBezTo>
                    <a:lnTo>
                      <a:pt x="113970" y="350996"/>
                    </a:lnTo>
                    <a:cubicBezTo>
                      <a:pt x="118733" y="353854"/>
                      <a:pt x="124448" y="354806"/>
                      <a:pt x="129210" y="355759"/>
                    </a:cubicBezTo>
                    <a:cubicBezTo>
                      <a:pt x="133020" y="356711"/>
                      <a:pt x="136830" y="356711"/>
                      <a:pt x="140640" y="356711"/>
                    </a:cubicBezTo>
                    <a:lnTo>
                      <a:pt x="134925" y="350996"/>
                    </a:lnTo>
                    <a:lnTo>
                      <a:pt x="128258" y="341471"/>
                    </a:lnTo>
                    <a:lnTo>
                      <a:pt x="121590" y="324326"/>
                    </a:lnTo>
                    <a:lnTo>
                      <a:pt x="117780" y="317659"/>
                    </a:lnTo>
                    <a:cubicBezTo>
                      <a:pt x="116828" y="313849"/>
                      <a:pt x="117780" y="310039"/>
                      <a:pt x="120638" y="308134"/>
                    </a:cubicBezTo>
                    <a:cubicBezTo>
                      <a:pt x="122543" y="306229"/>
                      <a:pt x="126353" y="306229"/>
                      <a:pt x="129210" y="307181"/>
                    </a:cubicBezTo>
                    <a:cubicBezTo>
                      <a:pt x="133020" y="309086"/>
                      <a:pt x="136830" y="310991"/>
                      <a:pt x="139688" y="313849"/>
                    </a:cubicBezTo>
                    <a:cubicBezTo>
                      <a:pt x="144450" y="317659"/>
                      <a:pt x="148260" y="322421"/>
                      <a:pt x="152070" y="327184"/>
                    </a:cubicBezTo>
                    <a:cubicBezTo>
                      <a:pt x="155880" y="331946"/>
                      <a:pt x="161595" y="335756"/>
                      <a:pt x="166358" y="339566"/>
                    </a:cubicBezTo>
                    <a:cubicBezTo>
                      <a:pt x="175883" y="346234"/>
                      <a:pt x="183503" y="350996"/>
                      <a:pt x="191123" y="356711"/>
                    </a:cubicBezTo>
                    <a:cubicBezTo>
                      <a:pt x="196838" y="360521"/>
                      <a:pt x="205410" y="364331"/>
                      <a:pt x="213983" y="366236"/>
                    </a:cubicBezTo>
                    <a:cubicBezTo>
                      <a:pt x="214935" y="366236"/>
                      <a:pt x="215888" y="366236"/>
                      <a:pt x="216840" y="366236"/>
                    </a:cubicBezTo>
                    <a:cubicBezTo>
                      <a:pt x="220650" y="367189"/>
                      <a:pt x="224460" y="365284"/>
                      <a:pt x="226365" y="361474"/>
                    </a:cubicBezTo>
                    <a:cubicBezTo>
                      <a:pt x="227318" y="360521"/>
                      <a:pt x="227318" y="358616"/>
                      <a:pt x="228270" y="357664"/>
                    </a:cubicBezTo>
                    <a:cubicBezTo>
                      <a:pt x="228270" y="355759"/>
                      <a:pt x="228270" y="354806"/>
                      <a:pt x="227318" y="352901"/>
                    </a:cubicBezTo>
                    <a:cubicBezTo>
                      <a:pt x="225413" y="348139"/>
                      <a:pt x="224460" y="342424"/>
                      <a:pt x="224460" y="336709"/>
                    </a:cubicBezTo>
                    <a:cubicBezTo>
                      <a:pt x="224460" y="330994"/>
                      <a:pt x="226365" y="325279"/>
                      <a:pt x="229223" y="319564"/>
                    </a:cubicBezTo>
                    <a:cubicBezTo>
                      <a:pt x="232080" y="314801"/>
                      <a:pt x="237795" y="313849"/>
                      <a:pt x="241605" y="317659"/>
                    </a:cubicBezTo>
                    <a:cubicBezTo>
                      <a:pt x="243510" y="319564"/>
                      <a:pt x="245415" y="322421"/>
                      <a:pt x="245415" y="325279"/>
                    </a:cubicBezTo>
                    <a:cubicBezTo>
                      <a:pt x="248273" y="341471"/>
                      <a:pt x="251130" y="357664"/>
                      <a:pt x="254940" y="373856"/>
                    </a:cubicBezTo>
                    <a:lnTo>
                      <a:pt x="316853" y="383381"/>
                    </a:lnTo>
                    <a:lnTo>
                      <a:pt x="324473" y="376714"/>
                    </a:lnTo>
                    <a:lnTo>
                      <a:pt x="335903" y="363379"/>
                    </a:lnTo>
                    <a:cubicBezTo>
                      <a:pt x="345428" y="351949"/>
                      <a:pt x="353048" y="340519"/>
                      <a:pt x="359715" y="327184"/>
                    </a:cubicBezTo>
                    <a:cubicBezTo>
                      <a:pt x="364478" y="318611"/>
                      <a:pt x="367335" y="309086"/>
                      <a:pt x="369240" y="299561"/>
                    </a:cubicBezTo>
                    <a:cubicBezTo>
                      <a:pt x="370193" y="298609"/>
                      <a:pt x="370193" y="297656"/>
                      <a:pt x="370193" y="297656"/>
                    </a:cubicBezTo>
                    <a:cubicBezTo>
                      <a:pt x="371145" y="290989"/>
                      <a:pt x="371145" y="284321"/>
                      <a:pt x="370193" y="277654"/>
                    </a:cubicBezTo>
                    <a:cubicBezTo>
                      <a:pt x="369240" y="270986"/>
                      <a:pt x="366383" y="264319"/>
                      <a:pt x="362573" y="259556"/>
                    </a:cubicBezTo>
                    <a:cubicBezTo>
                      <a:pt x="359715" y="254794"/>
                      <a:pt x="354953" y="250984"/>
                      <a:pt x="352095" y="247174"/>
                    </a:cubicBezTo>
                    <a:cubicBezTo>
                      <a:pt x="346380" y="241459"/>
                      <a:pt x="340665" y="235744"/>
                      <a:pt x="333998" y="231934"/>
                    </a:cubicBezTo>
                    <a:cubicBezTo>
                      <a:pt x="327330" y="227171"/>
                      <a:pt x="319710" y="225266"/>
                      <a:pt x="311138" y="223361"/>
                    </a:cubicBezTo>
                    <a:cubicBezTo>
                      <a:pt x="305423" y="221456"/>
                      <a:pt x="297803" y="219551"/>
                      <a:pt x="291135" y="218599"/>
                    </a:cubicBezTo>
                    <a:cubicBezTo>
                      <a:pt x="288278" y="216694"/>
                      <a:pt x="284468" y="216694"/>
                      <a:pt x="281610" y="216694"/>
                    </a:cubicBezTo>
                    <a:cubicBezTo>
                      <a:pt x="276848" y="215741"/>
                      <a:pt x="272085" y="214789"/>
                      <a:pt x="266370" y="214789"/>
                    </a:cubicBezTo>
                    <a:cubicBezTo>
                      <a:pt x="258750" y="214789"/>
                      <a:pt x="250178" y="213836"/>
                      <a:pt x="242558" y="212884"/>
                    </a:cubicBezTo>
                    <a:lnTo>
                      <a:pt x="232080" y="211931"/>
                    </a:lnTo>
                    <a:cubicBezTo>
                      <a:pt x="226365" y="210979"/>
                      <a:pt x="221603" y="209074"/>
                      <a:pt x="216840" y="206216"/>
                    </a:cubicBezTo>
                    <a:cubicBezTo>
                      <a:pt x="213983" y="203359"/>
                      <a:pt x="212078" y="200501"/>
                      <a:pt x="213030" y="196691"/>
                    </a:cubicBezTo>
                    <a:cubicBezTo>
                      <a:pt x="213983" y="191929"/>
                      <a:pt x="216840" y="188119"/>
                      <a:pt x="221603" y="186214"/>
                    </a:cubicBezTo>
                    <a:cubicBezTo>
                      <a:pt x="226365" y="184309"/>
                      <a:pt x="231128" y="183356"/>
                      <a:pt x="235890" y="182404"/>
                    </a:cubicBezTo>
                    <a:cubicBezTo>
                      <a:pt x="241605" y="182404"/>
                      <a:pt x="247320" y="182404"/>
                      <a:pt x="253035" y="182404"/>
                    </a:cubicBezTo>
                    <a:lnTo>
                      <a:pt x="288278" y="159544"/>
                    </a:lnTo>
                    <a:lnTo>
                      <a:pt x="284468" y="151924"/>
                    </a:lnTo>
                    <a:cubicBezTo>
                      <a:pt x="279705" y="143351"/>
                      <a:pt x="275895" y="133826"/>
                      <a:pt x="273990" y="124301"/>
                    </a:cubicBezTo>
                    <a:cubicBezTo>
                      <a:pt x="273038" y="120491"/>
                      <a:pt x="274943" y="116681"/>
                      <a:pt x="277800" y="114776"/>
                    </a:cubicBezTo>
                    <a:cubicBezTo>
                      <a:pt x="279705" y="112871"/>
                      <a:pt x="283515" y="112871"/>
                      <a:pt x="286373" y="112871"/>
                    </a:cubicBezTo>
                    <a:cubicBezTo>
                      <a:pt x="289230" y="113824"/>
                      <a:pt x="292088" y="114776"/>
                      <a:pt x="293993" y="116681"/>
                    </a:cubicBezTo>
                    <a:cubicBezTo>
                      <a:pt x="296850" y="119539"/>
                      <a:pt x="298755" y="123349"/>
                      <a:pt x="300660" y="126206"/>
                    </a:cubicBezTo>
                    <a:cubicBezTo>
                      <a:pt x="302565" y="130969"/>
                      <a:pt x="305423" y="134779"/>
                      <a:pt x="308280" y="138589"/>
                    </a:cubicBezTo>
                    <a:cubicBezTo>
                      <a:pt x="311138" y="142399"/>
                      <a:pt x="313995" y="145256"/>
                      <a:pt x="316853" y="148114"/>
                    </a:cubicBezTo>
                    <a:cubicBezTo>
                      <a:pt x="318758" y="150019"/>
                      <a:pt x="321615" y="151924"/>
                      <a:pt x="323520" y="153829"/>
                    </a:cubicBezTo>
                    <a:lnTo>
                      <a:pt x="327330" y="152876"/>
                    </a:lnTo>
                    <a:lnTo>
                      <a:pt x="333998" y="152876"/>
                    </a:lnTo>
                    <a:lnTo>
                      <a:pt x="353048" y="154781"/>
                    </a:lnTo>
                    <a:lnTo>
                      <a:pt x="371145" y="156686"/>
                    </a:lnTo>
                    <a:lnTo>
                      <a:pt x="394005" y="158591"/>
                    </a:lnTo>
                    <a:cubicBezTo>
                      <a:pt x="401625" y="159544"/>
                      <a:pt x="408293" y="158591"/>
                      <a:pt x="414960" y="156686"/>
                    </a:cubicBezTo>
                    <a:lnTo>
                      <a:pt x="417818" y="152876"/>
                    </a:lnTo>
                    <a:cubicBezTo>
                      <a:pt x="419723" y="150019"/>
                      <a:pt x="419723" y="148114"/>
                      <a:pt x="419723" y="145256"/>
                    </a:cubicBezTo>
                    <a:cubicBezTo>
                      <a:pt x="419723" y="144304"/>
                      <a:pt x="420675" y="144304"/>
                      <a:pt x="420675" y="143351"/>
                    </a:cubicBezTo>
                    <a:cubicBezTo>
                      <a:pt x="420675" y="140494"/>
                      <a:pt x="420675" y="137636"/>
                      <a:pt x="420675" y="135731"/>
                    </a:cubicBezTo>
                    <a:cubicBezTo>
                      <a:pt x="420675" y="132874"/>
                      <a:pt x="420675" y="130016"/>
                      <a:pt x="419723" y="127159"/>
                    </a:cubicBezTo>
                    <a:cubicBezTo>
                      <a:pt x="418770" y="125254"/>
                      <a:pt x="418770" y="122396"/>
                      <a:pt x="417818" y="120491"/>
                    </a:cubicBezTo>
                    <a:cubicBezTo>
                      <a:pt x="416865" y="119539"/>
                      <a:pt x="415913" y="118586"/>
                      <a:pt x="414960" y="117634"/>
                    </a:cubicBezTo>
                    <a:cubicBezTo>
                      <a:pt x="413055" y="116681"/>
                      <a:pt x="412103" y="115729"/>
                      <a:pt x="410198" y="114776"/>
                    </a:cubicBezTo>
                    <a:cubicBezTo>
                      <a:pt x="408293" y="112871"/>
                      <a:pt x="406388" y="110966"/>
                      <a:pt x="404483" y="110014"/>
                    </a:cubicBezTo>
                    <a:cubicBezTo>
                      <a:pt x="402578" y="109061"/>
                      <a:pt x="399720" y="108109"/>
                      <a:pt x="397815" y="106204"/>
                    </a:cubicBezTo>
                    <a:lnTo>
                      <a:pt x="386385" y="100489"/>
                    </a:lnTo>
                    <a:lnTo>
                      <a:pt x="378765" y="96679"/>
                    </a:lnTo>
                    <a:cubicBezTo>
                      <a:pt x="374003" y="94774"/>
                      <a:pt x="370193" y="90964"/>
                      <a:pt x="367335" y="88106"/>
                    </a:cubicBezTo>
                    <a:cubicBezTo>
                      <a:pt x="365430" y="86201"/>
                      <a:pt x="363525" y="84296"/>
                      <a:pt x="362573" y="82391"/>
                    </a:cubicBezTo>
                    <a:cubicBezTo>
                      <a:pt x="359715" y="79534"/>
                      <a:pt x="358763" y="76676"/>
                      <a:pt x="360668" y="73819"/>
                    </a:cubicBezTo>
                    <a:cubicBezTo>
                      <a:pt x="363525" y="68104"/>
                      <a:pt x="369240" y="66199"/>
                      <a:pt x="374955" y="67151"/>
                    </a:cubicBezTo>
                    <a:cubicBezTo>
                      <a:pt x="387338" y="70961"/>
                      <a:pt x="399720" y="75724"/>
                      <a:pt x="411150" y="83344"/>
                    </a:cubicBezTo>
                    <a:cubicBezTo>
                      <a:pt x="412103" y="83344"/>
                      <a:pt x="413055" y="84296"/>
                      <a:pt x="414008" y="84296"/>
                    </a:cubicBezTo>
                    <a:cubicBezTo>
                      <a:pt x="414960" y="84296"/>
                      <a:pt x="414960" y="84296"/>
                      <a:pt x="415913" y="84296"/>
                    </a:cubicBezTo>
                    <a:cubicBezTo>
                      <a:pt x="420675" y="83344"/>
                      <a:pt x="425438" y="80486"/>
                      <a:pt x="427343" y="75724"/>
                    </a:cubicBezTo>
                    <a:cubicBezTo>
                      <a:pt x="428295" y="72866"/>
                      <a:pt x="428295" y="70009"/>
                      <a:pt x="429248" y="67151"/>
                    </a:cubicBezTo>
                    <a:cubicBezTo>
                      <a:pt x="429248" y="67151"/>
                      <a:pt x="429248" y="67151"/>
                      <a:pt x="429248" y="66199"/>
                    </a:cubicBezTo>
                    <a:cubicBezTo>
                      <a:pt x="430200" y="63341"/>
                      <a:pt x="429248" y="60484"/>
                      <a:pt x="428295" y="57626"/>
                    </a:cubicBezTo>
                    <a:cubicBezTo>
                      <a:pt x="427343" y="55721"/>
                      <a:pt x="426390" y="52864"/>
                      <a:pt x="424485" y="50959"/>
                    </a:cubicBezTo>
                    <a:cubicBezTo>
                      <a:pt x="421628" y="48101"/>
                      <a:pt x="418770" y="46196"/>
                      <a:pt x="415913" y="43339"/>
                    </a:cubicBezTo>
                    <a:cubicBezTo>
                      <a:pt x="410198" y="39529"/>
                      <a:pt x="405435" y="34766"/>
                      <a:pt x="401625" y="29051"/>
                    </a:cubicBezTo>
                    <a:cubicBezTo>
                      <a:pt x="399720" y="27146"/>
                      <a:pt x="399720" y="24289"/>
                      <a:pt x="400673" y="22384"/>
                    </a:cubicBezTo>
                    <a:cubicBezTo>
                      <a:pt x="401625" y="20479"/>
                      <a:pt x="402578" y="18574"/>
                      <a:pt x="404483" y="16669"/>
                    </a:cubicBezTo>
                    <a:cubicBezTo>
                      <a:pt x="405435" y="16669"/>
                      <a:pt x="407340" y="16669"/>
                      <a:pt x="408293" y="15716"/>
                    </a:cubicBezTo>
                    <a:lnTo>
                      <a:pt x="408293" y="15716"/>
                    </a:lnTo>
                    <a:close/>
                    <a:moveTo>
                      <a:pt x="324473" y="188119"/>
                    </a:moveTo>
                    <a:cubicBezTo>
                      <a:pt x="323520" y="188119"/>
                      <a:pt x="321615" y="189071"/>
                      <a:pt x="320663" y="190976"/>
                    </a:cubicBezTo>
                    <a:cubicBezTo>
                      <a:pt x="319710" y="191929"/>
                      <a:pt x="320663" y="193834"/>
                      <a:pt x="321615" y="193834"/>
                    </a:cubicBezTo>
                    <a:cubicBezTo>
                      <a:pt x="327330" y="197644"/>
                      <a:pt x="332093" y="200501"/>
                      <a:pt x="337808" y="203359"/>
                    </a:cubicBezTo>
                    <a:cubicBezTo>
                      <a:pt x="343523" y="206216"/>
                      <a:pt x="348285" y="207169"/>
                      <a:pt x="354000" y="209074"/>
                    </a:cubicBezTo>
                    <a:cubicBezTo>
                      <a:pt x="355905" y="209074"/>
                      <a:pt x="357810" y="210026"/>
                      <a:pt x="358763" y="210026"/>
                    </a:cubicBezTo>
                    <a:cubicBezTo>
                      <a:pt x="364478" y="209074"/>
                      <a:pt x="370193" y="208121"/>
                      <a:pt x="375908" y="208121"/>
                    </a:cubicBezTo>
                    <a:cubicBezTo>
                      <a:pt x="376860" y="208121"/>
                      <a:pt x="378765" y="207169"/>
                      <a:pt x="380670" y="207169"/>
                    </a:cubicBezTo>
                    <a:cubicBezTo>
                      <a:pt x="380670" y="207169"/>
                      <a:pt x="380670" y="208121"/>
                      <a:pt x="380670" y="208121"/>
                    </a:cubicBezTo>
                    <a:cubicBezTo>
                      <a:pt x="383528" y="209074"/>
                      <a:pt x="386385" y="210026"/>
                      <a:pt x="389243" y="211931"/>
                    </a:cubicBezTo>
                    <a:cubicBezTo>
                      <a:pt x="390195" y="212884"/>
                      <a:pt x="391148" y="213836"/>
                      <a:pt x="391148" y="214789"/>
                    </a:cubicBezTo>
                    <a:cubicBezTo>
                      <a:pt x="391148" y="215741"/>
                      <a:pt x="390195" y="218599"/>
                      <a:pt x="390195" y="219551"/>
                    </a:cubicBezTo>
                    <a:cubicBezTo>
                      <a:pt x="390195" y="219551"/>
                      <a:pt x="390195" y="220504"/>
                      <a:pt x="390195" y="220504"/>
                    </a:cubicBezTo>
                    <a:cubicBezTo>
                      <a:pt x="389243" y="223361"/>
                      <a:pt x="388290" y="225266"/>
                      <a:pt x="388290" y="229076"/>
                    </a:cubicBezTo>
                    <a:cubicBezTo>
                      <a:pt x="387338" y="230981"/>
                      <a:pt x="388290" y="233839"/>
                      <a:pt x="388290" y="235744"/>
                    </a:cubicBezTo>
                    <a:lnTo>
                      <a:pt x="389243" y="239554"/>
                    </a:lnTo>
                    <a:cubicBezTo>
                      <a:pt x="391148" y="242411"/>
                      <a:pt x="392100" y="246221"/>
                      <a:pt x="394005" y="249079"/>
                    </a:cubicBezTo>
                    <a:cubicBezTo>
                      <a:pt x="397815" y="257651"/>
                      <a:pt x="400673" y="266224"/>
                      <a:pt x="402578" y="275749"/>
                    </a:cubicBezTo>
                    <a:lnTo>
                      <a:pt x="403530" y="281464"/>
                    </a:lnTo>
                    <a:cubicBezTo>
                      <a:pt x="408293" y="278606"/>
                      <a:pt x="414008" y="275749"/>
                      <a:pt x="418770" y="271939"/>
                    </a:cubicBezTo>
                    <a:cubicBezTo>
                      <a:pt x="421628" y="270034"/>
                      <a:pt x="423533" y="267176"/>
                      <a:pt x="427343" y="265271"/>
                    </a:cubicBezTo>
                    <a:cubicBezTo>
                      <a:pt x="429248" y="264319"/>
                      <a:pt x="432105" y="263366"/>
                      <a:pt x="434010" y="263366"/>
                    </a:cubicBezTo>
                    <a:cubicBezTo>
                      <a:pt x="437820" y="264319"/>
                      <a:pt x="441630" y="267176"/>
                      <a:pt x="441630" y="270986"/>
                    </a:cubicBezTo>
                    <a:cubicBezTo>
                      <a:pt x="441630" y="272891"/>
                      <a:pt x="441630" y="274796"/>
                      <a:pt x="441630" y="276701"/>
                    </a:cubicBezTo>
                    <a:cubicBezTo>
                      <a:pt x="441630" y="277654"/>
                      <a:pt x="440678" y="278606"/>
                      <a:pt x="440678" y="279559"/>
                    </a:cubicBezTo>
                    <a:cubicBezTo>
                      <a:pt x="439725" y="282416"/>
                      <a:pt x="437820" y="285274"/>
                      <a:pt x="435915" y="287179"/>
                    </a:cubicBezTo>
                    <a:cubicBezTo>
                      <a:pt x="431153" y="291941"/>
                      <a:pt x="426390" y="296704"/>
                      <a:pt x="421628" y="301466"/>
                    </a:cubicBezTo>
                    <a:cubicBezTo>
                      <a:pt x="416865" y="306229"/>
                      <a:pt x="412103" y="310991"/>
                      <a:pt x="408293" y="316706"/>
                    </a:cubicBezTo>
                    <a:cubicBezTo>
                      <a:pt x="399720" y="326231"/>
                      <a:pt x="392100" y="336709"/>
                      <a:pt x="386385" y="347186"/>
                    </a:cubicBezTo>
                    <a:cubicBezTo>
                      <a:pt x="381623" y="353854"/>
                      <a:pt x="377813" y="361474"/>
                      <a:pt x="373050" y="368141"/>
                    </a:cubicBezTo>
                    <a:lnTo>
                      <a:pt x="367335" y="376714"/>
                    </a:lnTo>
                    <a:lnTo>
                      <a:pt x="368288" y="376714"/>
                    </a:lnTo>
                    <a:cubicBezTo>
                      <a:pt x="390195" y="369094"/>
                      <a:pt x="411150" y="359569"/>
                      <a:pt x="430200" y="348139"/>
                    </a:cubicBezTo>
                    <a:cubicBezTo>
                      <a:pt x="437820" y="343376"/>
                      <a:pt x="444488" y="338614"/>
                      <a:pt x="450203" y="332899"/>
                    </a:cubicBezTo>
                    <a:cubicBezTo>
                      <a:pt x="457823" y="326231"/>
                      <a:pt x="465443" y="317659"/>
                      <a:pt x="470205" y="309086"/>
                    </a:cubicBezTo>
                    <a:cubicBezTo>
                      <a:pt x="474015" y="302419"/>
                      <a:pt x="477825" y="294799"/>
                      <a:pt x="479730" y="288131"/>
                    </a:cubicBezTo>
                    <a:cubicBezTo>
                      <a:pt x="480683" y="285274"/>
                      <a:pt x="480683" y="283369"/>
                      <a:pt x="481635" y="280511"/>
                    </a:cubicBezTo>
                    <a:cubicBezTo>
                      <a:pt x="483540" y="272891"/>
                      <a:pt x="482588" y="264319"/>
                      <a:pt x="480683" y="255746"/>
                    </a:cubicBezTo>
                    <a:cubicBezTo>
                      <a:pt x="477825" y="239554"/>
                      <a:pt x="469253" y="225266"/>
                      <a:pt x="457823" y="214789"/>
                    </a:cubicBezTo>
                    <a:cubicBezTo>
                      <a:pt x="450203" y="207169"/>
                      <a:pt x="440678" y="201454"/>
                      <a:pt x="430200" y="197644"/>
                    </a:cubicBezTo>
                    <a:cubicBezTo>
                      <a:pt x="419723" y="193834"/>
                      <a:pt x="408293" y="190024"/>
                      <a:pt x="397815" y="188119"/>
                    </a:cubicBezTo>
                    <a:cubicBezTo>
                      <a:pt x="394958" y="187166"/>
                      <a:pt x="391148" y="187166"/>
                      <a:pt x="388290" y="186214"/>
                    </a:cubicBezTo>
                    <a:cubicBezTo>
                      <a:pt x="378765" y="184309"/>
                      <a:pt x="369240" y="183356"/>
                      <a:pt x="358763" y="183356"/>
                    </a:cubicBezTo>
                    <a:cubicBezTo>
                      <a:pt x="356858" y="183356"/>
                      <a:pt x="354953" y="183356"/>
                      <a:pt x="354000" y="183356"/>
                    </a:cubicBezTo>
                    <a:cubicBezTo>
                      <a:pt x="352095" y="183356"/>
                      <a:pt x="351143" y="183356"/>
                      <a:pt x="349238" y="183356"/>
                    </a:cubicBezTo>
                    <a:cubicBezTo>
                      <a:pt x="348285" y="183356"/>
                      <a:pt x="346380" y="184309"/>
                      <a:pt x="345428" y="184309"/>
                    </a:cubicBezTo>
                    <a:cubicBezTo>
                      <a:pt x="341618" y="185261"/>
                      <a:pt x="337808" y="185261"/>
                      <a:pt x="333045" y="185261"/>
                    </a:cubicBezTo>
                    <a:cubicBezTo>
                      <a:pt x="329235" y="187166"/>
                      <a:pt x="326378" y="187166"/>
                      <a:pt x="324473" y="188119"/>
                    </a:cubicBezTo>
                    <a:lnTo>
                      <a:pt x="324473" y="188119"/>
                    </a:lnTo>
                    <a:lnTo>
                      <a:pt x="324473" y="188119"/>
                    </a:lnTo>
                    <a:close/>
                    <a:moveTo>
                      <a:pt x="137783" y="375761"/>
                    </a:moveTo>
                    <a:cubicBezTo>
                      <a:pt x="137783" y="385286"/>
                      <a:pt x="139688" y="394811"/>
                      <a:pt x="142545" y="403384"/>
                    </a:cubicBezTo>
                    <a:cubicBezTo>
                      <a:pt x="147308" y="413861"/>
                      <a:pt x="154928" y="423386"/>
                      <a:pt x="164453" y="430054"/>
                    </a:cubicBezTo>
                    <a:cubicBezTo>
                      <a:pt x="167310" y="431959"/>
                      <a:pt x="170168" y="433864"/>
                      <a:pt x="173978" y="434816"/>
                    </a:cubicBezTo>
                    <a:cubicBezTo>
                      <a:pt x="176835" y="435769"/>
                      <a:pt x="178740" y="435769"/>
                      <a:pt x="180645" y="435769"/>
                    </a:cubicBezTo>
                    <a:cubicBezTo>
                      <a:pt x="181598" y="435769"/>
                      <a:pt x="183503" y="436721"/>
                      <a:pt x="184455" y="436721"/>
                    </a:cubicBezTo>
                    <a:cubicBezTo>
                      <a:pt x="185408" y="436721"/>
                      <a:pt x="186360" y="436721"/>
                      <a:pt x="186360" y="436721"/>
                    </a:cubicBezTo>
                    <a:lnTo>
                      <a:pt x="190170" y="435769"/>
                    </a:lnTo>
                    <a:cubicBezTo>
                      <a:pt x="190170" y="431959"/>
                      <a:pt x="188265" y="429101"/>
                      <a:pt x="185408" y="426244"/>
                    </a:cubicBezTo>
                    <a:cubicBezTo>
                      <a:pt x="181598" y="422434"/>
                      <a:pt x="178740" y="417671"/>
                      <a:pt x="176835" y="412909"/>
                    </a:cubicBezTo>
                    <a:cubicBezTo>
                      <a:pt x="176835" y="411956"/>
                      <a:pt x="175883" y="410051"/>
                      <a:pt x="175883" y="409099"/>
                    </a:cubicBezTo>
                    <a:cubicBezTo>
                      <a:pt x="175883" y="407194"/>
                      <a:pt x="177788" y="405289"/>
                      <a:pt x="180645" y="404336"/>
                    </a:cubicBezTo>
                    <a:cubicBezTo>
                      <a:pt x="183503" y="403384"/>
                      <a:pt x="187313" y="402431"/>
                      <a:pt x="191123" y="402431"/>
                    </a:cubicBezTo>
                    <a:cubicBezTo>
                      <a:pt x="192075" y="402431"/>
                      <a:pt x="193028" y="403384"/>
                      <a:pt x="193980" y="403384"/>
                    </a:cubicBezTo>
                    <a:cubicBezTo>
                      <a:pt x="198743" y="404336"/>
                      <a:pt x="202553" y="407194"/>
                      <a:pt x="206363" y="410051"/>
                    </a:cubicBezTo>
                    <a:cubicBezTo>
                      <a:pt x="210173" y="412909"/>
                      <a:pt x="214935" y="415766"/>
                      <a:pt x="218745" y="418624"/>
                    </a:cubicBezTo>
                    <a:cubicBezTo>
                      <a:pt x="222555" y="422434"/>
                      <a:pt x="225413" y="425291"/>
                      <a:pt x="228270" y="429101"/>
                    </a:cubicBezTo>
                    <a:lnTo>
                      <a:pt x="232080" y="432911"/>
                    </a:lnTo>
                    <a:cubicBezTo>
                      <a:pt x="246368" y="436721"/>
                      <a:pt x="261608" y="439579"/>
                      <a:pt x="276848" y="439579"/>
                    </a:cubicBezTo>
                    <a:lnTo>
                      <a:pt x="287325" y="439579"/>
                    </a:lnTo>
                    <a:lnTo>
                      <a:pt x="293993" y="439579"/>
                    </a:lnTo>
                    <a:cubicBezTo>
                      <a:pt x="293993" y="436721"/>
                      <a:pt x="293040" y="432911"/>
                      <a:pt x="291135" y="430054"/>
                    </a:cubicBezTo>
                    <a:cubicBezTo>
                      <a:pt x="289230" y="426244"/>
                      <a:pt x="287325" y="422434"/>
                      <a:pt x="284468" y="420529"/>
                    </a:cubicBezTo>
                    <a:cubicBezTo>
                      <a:pt x="280658" y="416719"/>
                      <a:pt x="274943" y="412909"/>
                      <a:pt x="270180" y="410051"/>
                    </a:cubicBezTo>
                    <a:cubicBezTo>
                      <a:pt x="263513" y="406241"/>
                      <a:pt x="256845" y="403384"/>
                      <a:pt x="250178" y="401479"/>
                    </a:cubicBezTo>
                    <a:cubicBezTo>
                      <a:pt x="236843" y="396716"/>
                      <a:pt x="224460" y="392906"/>
                      <a:pt x="210173" y="390049"/>
                    </a:cubicBezTo>
                    <a:lnTo>
                      <a:pt x="202553" y="388144"/>
                    </a:lnTo>
                    <a:lnTo>
                      <a:pt x="196838" y="387191"/>
                    </a:lnTo>
                    <a:lnTo>
                      <a:pt x="184455" y="385286"/>
                    </a:lnTo>
                    <a:lnTo>
                      <a:pt x="154928" y="378619"/>
                    </a:lnTo>
                    <a:lnTo>
                      <a:pt x="137783" y="375761"/>
                    </a:lnTo>
                    <a:lnTo>
                      <a:pt x="137783" y="375761"/>
                    </a:lnTo>
                    <a:lnTo>
                      <a:pt x="137783" y="375761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87755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27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3">
                <a:extLst>
                  <a:ext uri="{FF2B5EF4-FFF2-40B4-BE49-F238E27FC236}">
                    <a16:creationId xmlns:a16="http://schemas.microsoft.com/office/drawing/2014/main" id="{C58FD1AC-3DFE-474A-8122-669402138B53}"/>
                  </a:ext>
                </a:extLst>
              </p:cNvPr>
              <p:cNvSpPr/>
              <p:nvPr/>
            </p:nvSpPr>
            <p:spPr>
              <a:xfrm>
                <a:off x="1178536" y="3854814"/>
                <a:ext cx="5181600" cy="838200"/>
              </a:xfrm>
              <a:custGeom>
                <a:avLst/>
                <a:gdLst>
                  <a:gd name="connsiteX0" fmla="*/ 4796314 w 5181600"/>
                  <a:gd name="connsiteY0" fmla="*/ 7144 h 838200"/>
                  <a:gd name="connsiteX1" fmla="*/ 4763929 w 5181600"/>
                  <a:gd name="connsiteY1" fmla="*/ 12859 h 838200"/>
                  <a:gd name="connsiteX2" fmla="*/ 4720114 w 5181600"/>
                  <a:gd name="connsiteY2" fmla="*/ 53816 h 838200"/>
                  <a:gd name="connsiteX3" fmla="*/ 4702969 w 5181600"/>
                  <a:gd name="connsiteY3" fmla="*/ 79534 h 838200"/>
                  <a:gd name="connsiteX4" fmla="*/ 4691539 w 5181600"/>
                  <a:gd name="connsiteY4" fmla="*/ 105251 h 838200"/>
                  <a:gd name="connsiteX5" fmla="*/ 4607719 w 5181600"/>
                  <a:gd name="connsiteY5" fmla="*/ 190976 h 838200"/>
                  <a:gd name="connsiteX6" fmla="*/ 4581049 w 5181600"/>
                  <a:gd name="connsiteY6" fmla="*/ 210979 h 838200"/>
                  <a:gd name="connsiteX7" fmla="*/ 4555331 w 5181600"/>
                  <a:gd name="connsiteY7" fmla="*/ 221456 h 838200"/>
                  <a:gd name="connsiteX8" fmla="*/ 4547711 w 5181600"/>
                  <a:gd name="connsiteY8" fmla="*/ 203359 h 838200"/>
                  <a:gd name="connsiteX9" fmla="*/ 4304824 w 5181600"/>
                  <a:gd name="connsiteY9" fmla="*/ 173831 h 838200"/>
                  <a:gd name="connsiteX10" fmla="*/ 4224814 w 5181600"/>
                  <a:gd name="connsiteY10" fmla="*/ 168116 h 838200"/>
                  <a:gd name="connsiteX11" fmla="*/ 4224814 w 5181600"/>
                  <a:gd name="connsiteY11" fmla="*/ 168116 h 838200"/>
                  <a:gd name="connsiteX12" fmla="*/ 1992154 w 5181600"/>
                  <a:gd name="connsiteY12" fmla="*/ 29051 h 838200"/>
                  <a:gd name="connsiteX13" fmla="*/ 1176814 w 5181600"/>
                  <a:gd name="connsiteY13" fmla="*/ 10954 h 838200"/>
                  <a:gd name="connsiteX14" fmla="*/ 551974 w 5181600"/>
                  <a:gd name="connsiteY14" fmla="*/ 12859 h 838200"/>
                  <a:gd name="connsiteX15" fmla="*/ 10001 w 5181600"/>
                  <a:gd name="connsiteY15" fmla="*/ 29051 h 838200"/>
                  <a:gd name="connsiteX16" fmla="*/ 7144 w 5181600"/>
                  <a:gd name="connsiteY16" fmla="*/ 30004 h 838200"/>
                  <a:gd name="connsiteX17" fmla="*/ 551974 w 5181600"/>
                  <a:gd name="connsiteY17" fmla="*/ 31909 h 838200"/>
                  <a:gd name="connsiteX18" fmla="*/ 1990249 w 5181600"/>
                  <a:gd name="connsiteY18" fmla="*/ 48101 h 838200"/>
                  <a:gd name="connsiteX19" fmla="*/ 4221957 w 5181600"/>
                  <a:gd name="connsiteY19" fmla="*/ 187166 h 838200"/>
                  <a:gd name="connsiteX20" fmla="*/ 4341019 w 5181600"/>
                  <a:gd name="connsiteY20" fmla="*/ 200501 h 838200"/>
                  <a:gd name="connsiteX21" fmla="*/ 4501992 w 5181600"/>
                  <a:gd name="connsiteY21" fmla="*/ 232886 h 838200"/>
                  <a:gd name="connsiteX22" fmla="*/ 4532472 w 5181600"/>
                  <a:gd name="connsiteY22" fmla="*/ 313849 h 838200"/>
                  <a:gd name="connsiteX23" fmla="*/ 4446747 w 5181600"/>
                  <a:gd name="connsiteY23" fmla="*/ 314801 h 838200"/>
                  <a:gd name="connsiteX24" fmla="*/ 4407694 w 5181600"/>
                  <a:gd name="connsiteY24" fmla="*/ 273844 h 838200"/>
                  <a:gd name="connsiteX25" fmla="*/ 4343876 w 5181600"/>
                  <a:gd name="connsiteY25" fmla="*/ 319564 h 838200"/>
                  <a:gd name="connsiteX26" fmla="*/ 4378167 w 5181600"/>
                  <a:gd name="connsiteY26" fmla="*/ 313849 h 838200"/>
                  <a:gd name="connsiteX27" fmla="*/ 4396264 w 5181600"/>
                  <a:gd name="connsiteY27" fmla="*/ 340519 h 838200"/>
                  <a:gd name="connsiteX28" fmla="*/ 4280059 w 5181600"/>
                  <a:gd name="connsiteY28" fmla="*/ 379571 h 838200"/>
                  <a:gd name="connsiteX29" fmla="*/ 4215289 w 5181600"/>
                  <a:gd name="connsiteY29" fmla="*/ 353854 h 838200"/>
                  <a:gd name="connsiteX30" fmla="*/ 4090511 w 5181600"/>
                  <a:gd name="connsiteY30" fmla="*/ 444341 h 838200"/>
                  <a:gd name="connsiteX31" fmla="*/ 4085749 w 5181600"/>
                  <a:gd name="connsiteY31" fmla="*/ 554831 h 838200"/>
                  <a:gd name="connsiteX32" fmla="*/ 4132422 w 5181600"/>
                  <a:gd name="connsiteY32" fmla="*/ 623411 h 838200"/>
                  <a:gd name="connsiteX33" fmla="*/ 4177189 w 5181600"/>
                  <a:gd name="connsiteY33" fmla="*/ 654844 h 838200"/>
                  <a:gd name="connsiteX34" fmla="*/ 4584859 w 5181600"/>
                  <a:gd name="connsiteY34" fmla="*/ 792004 h 838200"/>
                  <a:gd name="connsiteX35" fmla="*/ 5042059 w 5181600"/>
                  <a:gd name="connsiteY35" fmla="*/ 822484 h 838200"/>
                  <a:gd name="connsiteX36" fmla="*/ 5097304 w 5181600"/>
                  <a:gd name="connsiteY36" fmla="*/ 755809 h 838200"/>
                  <a:gd name="connsiteX37" fmla="*/ 5025867 w 5181600"/>
                  <a:gd name="connsiteY37" fmla="*/ 667226 h 838200"/>
                  <a:gd name="connsiteX38" fmla="*/ 4964906 w 5181600"/>
                  <a:gd name="connsiteY38" fmla="*/ 697706 h 838200"/>
                  <a:gd name="connsiteX39" fmla="*/ 4973479 w 5181600"/>
                  <a:gd name="connsiteY39" fmla="*/ 751046 h 838200"/>
                  <a:gd name="connsiteX40" fmla="*/ 4980147 w 5181600"/>
                  <a:gd name="connsiteY40" fmla="*/ 723424 h 838200"/>
                  <a:gd name="connsiteX41" fmla="*/ 5059204 w 5181600"/>
                  <a:gd name="connsiteY41" fmla="*/ 694849 h 838200"/>
                  <a:gd name="connsiteX42" fmla="*/ 5052536 w 5181600"/>
                  <a:gd name="connsiteY42" fmla="*/ 789146 h 838200"/>
                  <a:gd name="connsiteX43" fmla="*/ 4911567 w 5181600"/>
                  <a:gd name="connsiteY43" fmla="*/ 780574 h 838200"/>
                  <a:gd name="connsiteX44" fmla="*/ 4877277 w 5181600"/>
                  <a:gd name="connsiteY44" fmla="*/ 726281 h 838200"/>
                  <a:gd name="connsiteX45" fmla="*/ 4878229 w 5181600"/>
                  <a:gd name="connsiteY45" fmla="*/ 670084 h 838200"/>
                  <a:gd name="connsiteX46" fmla="*/ 4998244 w 5181600"/>
                  <a:gd name="connsiteY46" fmla="*/ 532924 h 838200"/>
                  <a:gd name="connsiteX47" fmla="*/ 5097304 w 5181600"/>
                  <a:gd name="connsiteY47" fmla="*/ 406241 h 838200"/>
                  <a:gd name="connsiteX48" fmla="*/ 5135404 w 5181600"/>
                  <a:gd name="connsiteY48" fmla="*/ 387191 h 838200"/>
                  <a:gd name="connsiteX49" fmla="*/ 5103019 w 5181600"/>
                  <a:gd name="connsiteY49" fmla="*/ 362426 h 838200"/>
                  <a:gd name="connsiteX50" fmla="*/ 5105877 w 5181600"/>
                  <a:gd name="connsiteY50" fmla="*/ 346234 h 838200"/>
                  <a:gd name="connsiteX51" fmla="*/ 5147786 w 5181600"/>
                  <a:gd name="connsiteY51" fmla="*/ 342424 h 838200"/>
                  <a:gd name="connsiteX52" fmla="*/ 5172552 w 5181600"/>
                  <a:gd name="connsiteY52" fmla="*/ 329089 h 838200"/>
                  <a:gd name="connsiteX53" fmla="*/ 5161122 w 5181600"/>
                  <a:gd name="connsiteY53" fmla="*/ 298609 h 838200"/>
                  <a:gd name="connsiteX54" fmla="*/ 5115402 w 5181600"/>
                  <a:gd name="connsiteY54" fmla="*/ 268129 h 838200"/>
                  <a:gd name="connsiteX55" fmla="*/ 4924902 w 5181600"/>
                  <a:gd name="connsiteY55" fmla="*/ 192881 h 838200"/>
                  <a:gd name="connsiteX56" fmla="*/ 4844892 w 5181600"/>
                  <a:gd name="connsiteY56" fmla="*/ 154781 h 838200"/>
                  <a:gd name="connsiteX57" fmla="*/ 4909661 w 5181600"/>
                  <a:gd name="connsiteY57" fmla="*/ 94774 h 838200"/>
                  <a:gd name="connsiteX58" fmla="*/ 4936331 w 5181600"/>
                  <a:gd name="connsiteY58" fmla="*/ 87154 h 838200"/>
                  <a:gd name="connsiteX59" fmla="*/ 4906804 w 5181600"/>
                  <a:gd name="connsiteY59" fmla="*/ 66199 h 838200"/>
                  <a:gd name="connsiteX60" fmla="*/ 4852511 w 5181600"/>
                  <a:gd name="connsiteY60" fmla="*/ 27146 h 838200"/>
                  <a:gd name="connsiteX61" fmla="*/ 4796314 w 5181600"/>
                  <a:gd name="connsiteY61" fmla="*/ 7144 h 838200"/>
                  <a:gd name="connsiteX62" fmla="*/ 4796314 w 5181600"/>
                  <a:gd name="connsiteY62" fmla="*/ 7144 h 838200"/>
                  <a:gd name="connsiteX63" fmla="*/ 4214336 w 5181600"/>
                  <a:gd name="connsiteY63" fmla="*/ 383381 h 838200"/>
                  <a:gd name="connsiteX64" fmla="*/ 4221957 w 5181600"/>
                  <a:gd name="connsiteY64" fmla="*/ 383381 h 838200"/>
                  <a:gd name="connsiteX65" fmla="*/ 4281011 w 5181600"/>
                  <a:gd name="connsiteY65" fmla="*/ 417671 h 838200"/>
                  <a:gd name="connsiteX66" fmla="*/ 4298157 w 5181600"/>
                  <a:gd name="connsiteY66" fmla="*/ 485299 h 838200"/>
                  <a:gd name="connsiteX67" fmla="*/ 4295299 w 5181600"/>
                  <a:gd name="connsiteY67" fmla="*/ 492919 h 838200"/>
                  <a:gd name="connsiteX68" fmla="*/ 4295299 w 5181600"/>
                  <a:gd name="connsiteY68" fmla="*/ 493871 h 838200"/>
                  <a:gd name="connsiteX69" fmla="*/ 4210526 w 5181600"/>
                  <a:gd name="connsiteY69" fmla="*/ 524351 h 838200"/>
                  <a:gd name="connsiteX70" fmla="*/ 4185761 w 5181600"/>
                  <a:gd name="connsiteY70" fmla="*/ 495776 h 838200"/>
                  <a:gd name="connsiteX71" fmla="*/ 4187666 w 5181600"/>
                  <a:gd name="connsiteY71" fmla="*/ 459581 h 838200"/>
                  <a:gd name="connsiteX72" fmla="*/ 4205764 w 5181600"/>
                  <a:gd name="connsiteY72" fmla="*/ 445294 h 838200"/>
                  <a:gd name="connsiteX73" fmla="*/ 4223861 w 5181600"/>
                  <a:gd name="connsiteY73" fmla="*/ 449104 h 838200"/>
                  <a:gd name="connsiteX74" fmla="*/ 4236244 w 5181600"/>
                  <a:gd name="connsiteY74" fmla="*/ 449104 h 838200"/>
                  <a:gd name="connsiteX75" fmla="*/ 4236244 w 5181600"/>
                  <a:gd name="connsiteY75" fmla="*/ 435769 h 838200"/>
                  <a:gd name="connsiteX76" fmla="*/ 4219099 w 5181600"/>
                  <a:gd name="connsiteY76" fmla="*/ 426244 h 838200"/>
                  <a:gd name="connsiteX77" fmla="*/ 4201001 w 5181600"/>
                  <a:gd name="connsiteY77" fmla="*/ 427196 h 838200"/>
                  <a:gd name="connsiteX78" fmla="*/ 4173379 w 5181600"/>
                  <a:gd name="connsiteY78" fmla="*/ 449104 h 838200"/>
                  <a:gd name="connsiteX79" fmla="*/ 4169569 w 5181600"/>
                  <a:gd name="connsiteY79" fmla="*/ 501491 h 838200"/>
                  <a:gd name="connsiteX80" fmla="*/ 4202907 w 5181600"/>
                  <a:gd name="connsiteY80" fmla="*/ 540544 h 838200"/>
                  <a:gd name="connsiteX81" fmla="*/ 4300061 w 5181600"/>
                  <a:gd name="connsiteY81" fmla="*/ 518636 h 838200"/>
                  <a:gd name="connsiteX82" fmla="*/ 4309586 w 5181600"/>
                  <a:gd name="connsiteY82" fmla="*/ 520541 h 838200"/>
                  <a:gd name="connsiteX83" fmla="*/ 4305776 w 5181600"/>
                  <a:gd name="connsiteY83" fmla="*/ 570071 h 838200"/>
                  <a:gd name="connsiteX84" fmla="*/ 4258151 w 5181600"/>
                  <a:gd name="connsiteY84" fmla="*/ 617696 h 838200"/>
                  <a:gd name="connsiteX85" fmla="*/ 4136231 w 5181600"/>
                  <a:gd name="connsiteY85" fmla="*/ 582454 h 838200"/>
                  <a:gd name="connsiteX86" fmla="*/ 4149566 w 5181600"/>
                  <a:gd name="connsiteY86" fmla="*/ 405289 h 838200"/>
                  <a:gd name="connsiteX87" fmla="*/ 4214336 w 5181600"/>
                  <a:gd name="connsiteY87" fmla="*/ 383381 h 838200"/>
                  <a:gd name="connsiteX88" fmla="*/ 4214336 w 5181600"/>
                  <a:gd name="connsiteY88" fmla="*/ 383381 h 838200"/>
                  <a:gd name="connsiteX89" fmla="*/ 4214336 w 5181600"/>
                  <a:gd name="connsiteY89" fmla="*/ 383381 h 838200"/>
                  <a:gd name="connsiteX90" fmla="*/ 4336257 w 5181600"/>
                  <a:gd name="connsiteY90" fmla="*/ 583406 h 838200"/>
                  <a:gd name="connsiteX91" fmla="*/ 4350544 w 5181600"/>
                  <a:gd name="connsiteY91" fmla="*/ 584359 h 838200"/>
                  <a:gd name="connsiteX92" fmla="*/ 4425792 w 5181600"/>
                  <a:gd name="connsiteY92" fmla="*/ 664369 h 838200"/>
                  <a:gd name="connsiteX93" fmla="*/ 4367689 w 5181600"/>
                  <a:gd name="connsiteY93" fmla="*/ 711994 h 838200"/>
                  <a:gd name="connsiteX94" fmla="*/ 4349592 w 5181600"/>
                  <a:gd name="connsiteY94" fmla="*/ 646271 h 838200"/>
                  <a:gd name="connsiteX95" fmla="*/ 4372451 w 5181600"/>
                  <a:gd name="connsiteY95" fmla="*/ 678656 h 838200"/>
                  <a:gd name="connsiteX96" fmla="*/ 4381976 w 5181600"/>
                  <a:gd name="connsiteY96" fmla="*/ 704374 h 838200"/>
                  <a:gd name="connsiteX97" fmla="*/ 4369594 w 5181600"/>
                  <a:gd name="connsiteY97" fmla="*/ 636746 h 838200"/>
                  <a:gd name="connsiteX98" fmla="*/ 4303872 w 5181600"/>
                  <a:gd name="connsiteY98" fmla="*/ 672941 h 838200"/>
                  <a:gd name="connsiteX99" fmla="*/ 4286726 w 5181600"/>
                  <a:gd name="connsiteY99" fmla="*/ 688181 h 838200"/>
                  <a:gd name="connsiteX100" fmla="*/ 4285774 w 5181600"/>
                  <a:gd name="connsiteY100" fmla="*/ 626269 h 838200"/>
                  <a:gd name="connsiteX101" fmla="*/ 4336257 w 5181600"/>
                  <a:gd name="connsiteY101" fmla="*/ 583406 h 838200"/>
                  <a:gd name="connsiteX102" fmla="*/ 4444842 w 5181600"/>
                  <a:gd name="connsiteY102" fmla="*/ 607219 h 838200"/>
                  <a:gd name="connsiteX103" fmla="*/ 4511517 w 5181600"/>
                  <a:gd name="connsiteY103" fmla="*/ 621506 h 838200"/>
                  <a:gd name="connsiteX104" fmla="*/ 4548664 w 5181600"/>
                  <a:gd name="connsiteY104" fmla="*/ 659606 h 838200"/>
                  <a:gd name="connsiteX105" fmla="*/ 4558189 w 5181600"/>
                  <a:gd name="connsiteY105" fmla="*/ 702469 h 838200"/>
                  <a:gd name="connsiteX106" fmla="*/ 4628674 w 5181600"/>
                  <a:gd name="connsiteY106" fmla="*/ 679609 h 838200"/>
                  <a:gd name="connsiteX107" fmla="*/ 4683919 w 5181600"/>
                  <a:gd name="connsiteY107" fmla="*/ 660559 h 838200"/>
                  <a:gd name="connsiteX108" fmla="*/ 4689634 w 5181600"/>
                  <a:gd name="connsiteY108" fmla="*/ 661511 h 838200"/>
                  <a:gd name="connsiteX109" fmla="*/ 4699159 w 5181600"/>
                  <a:gd name="connsiteY109" fmla="*/ 663416 h 838200"/>
                  <a:gd name="connsiteX110" fmla="*/ 4803934 w 5181600"/>
                  <a:gd name="connsiteY110" fmla="*/ 714851 h 838200"/>
                  <a:gd name="connsiteX111" fmla="*/ 4850606 w 5181600"/>
                  <a:gd name="connsiteY111" fmla="*/ 748189 h 838200"/>
                  <a:gd name="connsiteX112" fmla="*/ 4879181 w 5181600"/>
                  <a:gd name="connsiteY112" fmla="*/ 761524 h 838200"/>
                  <a:gd name="connsiteX113" fmla="*/ 4867752 w 5181600"/>
                  <a:gd name="connsiteY113" fmla="*/ 788194 h 838200"/>
                  <a:gd name="connsiteX114" fmla="*/ 4844892 w 5181600"/>
                  <a:gd name="connsiteY114" fmla="*/ 784384 h 838200"/>
                  <a:gd name="connsiteX115" fmla="*/ 4660106 w 5181600"/>
                  <a:gd name="connsiteY115" fmla="*/ 776764 h 838200"/>
                  <a:gd name="connsiteX116" fmla="*/ 4606767 w 5181600"/>
                  <a:gd name="connsiteY116" fmla="*/ 768191 h 838200"/>
                  <a:gd name="connsiteX117" fmla="*/ 4510564 w 5181600"/>
                  <a:gd name="connsiteY117" fmla="*/ 675799 h 838200"/>
                  <a:gd name="connsiteX118" fmla="*/ 4497229 w 5181600"/>
                  <a:gd name="connsiteY118" fmla="*/ 648176 h 838200"/>
                  <a:gd name="connsiteX119" fmla="*/ 4494372 w 5181600"/>
                  <a:gd name="connsiteY119" fmla="*/ 677704 h 838200"/>
                  <a:gd name="connsiteX120" fmla="*/ 4491514 w 5181600"/>
                  <a:gd name="connsiteY120" fmla="*/ 729139 h 838200"/>
                  <a:gd name="connsiteX121" fmla="*/ 4450557 w 5181600"/>
                  <a:gd name="connsiteY121" fmla="*/ 666274 h 838200"/>
                  <a:gd name="connsiteX122" fmla="*/ 4444842 w 5181600"/>
                  <a:gd name="connsiteY122" fmla="*/ 607219 h 838200"/>
                  <a:gd name="connsiteX123" fmla="*/ 4444842 w 5181600"/>
                  <a:gd name="connsiteY123" fmla="*/ 607219 h 838200"/>
                  <a:gd name="connsiteX124" fmla="*/ 4661059 w 5181600"/>
                  <a:gd name="connsiteY124" fmla="*/ 774859 h 838200"/>
                  <a:gd name="connsiteX125" fmla="*/ 4671536 w 5181600"/>
                  <a:gd name="connsiteY125" fmla="*/ 775811 h 838200"/>
                  <a:gd name="connsiteX126" fmla="*/ 4694397 w 5181600"/>
                  <a:gd name="connsiteY126" fmla="*/ 660559 h 838200"/>
                  <a:gd name="connsiteX127" fmla="*/ 4683919 w 5181600"/>
                  <a:gd name="connsiteY127" fmla="*/ 659606 h 838200"/>
                  <a:gd name="connsiteX128" fmla="*/ 4681061 w 5181600"/>
                  <a:gd name="connsiteY128" fmla="*/ 677704 h 838200"/>
                  <a:gd name="connsiteX129" fmla="*/ 4670584 w 5181600"/>
                  <a:gd name="connsiteY129" fmla="*/ 727234 h 838200"/>
                  <a:gd name="connsiteX130" fmla="*/ 4661059 w 5181600"/>
                  <a:gd name="connsiteY130" fmla="*/ 774859 h 838200"/>
                  <a:gd name="connsiteX131" fmla="*/ 4661059 w 5181600"/>
                  <a:gd name="connsiteY131" fmla="*/ 774859 h 838200"/>
                  <a:gd name="connsiteX132" fmla="*/ 4585811 w 5181600"/>
                  <a:gd name="connsiteY132" fmla="*/ 650081 h 838200"/>
                  <a:gd name="connsiteX133" fmla="*/ 4608672 w 5181600"/>
                  <a:gd name="connsiteY133" fmla="*/ 661511 h 838200"/>
                  <a:gd name="connsiteX134" fmla="*/ 4607719 w 5181600"/>
                  <a:gd name="connsiteY134" fmla="*/ 693896 h 838200"/>
                  <a:gd name="connsiteX135" fmla="*/ 4573429 w 5181600"/>
                  <a:gd name="connsiteY135" fmla="*/ 685324 h 838200"/>
                  <a:gd name="connsiteX136" fmla="*/ 4585811 w 5181600"/>
                  <a:gd name="connsiteY136" fmla="*/ 650081 h 838200"/>
                  <a:gd name="connsiteX137" fmla="*/ 4822031 w 5181600"/>
                  <a:gd name="connsiteY137" fmla="*/ 679609 h 838200"/>
                  <a:gd name="connsiteX138" fmla="*/ 4844892 w 5181600"/>
                  <a:gd name="connsiteY138" fmla="*/ 704374 h 838200"/>
                  <a:gd name="connsiteX139" fmla="*/ 4822031 w 5181600"/>
                  <a:gd name="connsiteY139" fmla="*/ 709136 h 838200"/>
                  <a:gd name="connsiteX140" fmla="*/ 4822031 w 5181600"/>
                  <a:gd name="connsiteY140" fmla="*/ 679609 h 838200"/>
                  <a:gd name="connsiteX141" fmla="*/ 5031581 w 5181600"/>
                  <a:gd name="connsiteY141" fmla="*/ 711994 h 838200"/>
                  <a:gd name="connsiteX142" fmla="*/ 5014436 w 5181600"/>
                  <a:gd name="connsiteY142" fmla="*/ 731996 h 838200"/>
                  <a:gd name="connsiteX143" fmla="*/ 5018247 w 5181600"/>
                  <a:gd name="connsiteY143" fmla="*/ 753904 h 838200"/>
                  <a:gd name="connsiteX144" fmla="*/ 5035392 w 5181600"/>
                  <a:gd name="connsiteY144" fmla="*/ 732949 h 838200"/>
                  <a:gd name="connsiteX145" fmla="*/ 5031581 w 5181600"/>
                  <a:gd name="connsiteY145" fmla="*/ 711994 h 838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</a:cxnLst>
                <a:rect l="l" t="t" r="r" b="b"/>
                <a:pathLst>
                  <a:path w="5181600" h="838200">
                    <a:moveTo>
                      <a:pt x="4796314" y="7144"/>
                    </a:moveTo>
                    <a:cubicBezTo>
                      <a:pt x="4786789" y="7144"/>
                      <a:pt x="4776311" y="9049"/>
                      <a:pt x="4763929" y="12859"/>
                    </a:cubicBezTo>
                    <a:cubicBezTo>
                      <a:pt x="4741069" y="20479"/>
                      <a:pt x="4722019" y="38576"/>
                      <a:pt x="4720114" y="53816"/>
                    </a:cubicBezTo>
                    <a:cubicBezTo>
                      <a:pt x="4719161" y="69056"/>
                      <a:pt x="4710589" y="80486"/>
                      <a:pt x="4702969" y="79534"/>
                    </a:cubicBezTo>
                    <a:cubicBezTo>
                      <a:pt x="4695349" y="78581"/>
                      <a:pt x="4689634" y="90964"/>
                      <a:pt x="4691539" y="105251"/>
                    </a:cubicBezTo>
                    <a:cubicBezTo>
                      <a:pt x="4695349" y="137636"/>
                      <a:pt x="4641056" y="192881"/>
                      <a:pt x="4607719" y="190976"/>
                    </a:cubicBezTo>
                    <a:cubicBezTo>
                      <a:pt x="4594384" y="190024"/>
                      <a:pt x="4582002" y="198596"/>
                      <a:pt x="4581049" y="210979"/>
                    </a:cubicBezTo>
                    <a:cubicBezTo>
                      <a:pt x="4580097" y="224314"/>
                      <a:pt x="4570572" y="228124"/>
                      <a:pt x="4555331" y="221456"/>
                    </a:cubicBezTo>
                    <a:cubicBezTo>
                      <a:pt x="4541997" y="215741"/>
                      <a:pt x="4539139" y="207169"/>
                      <a:pt x="4547711" y="203359"/>
                    </a:cubicBezTo>
                    <a:cubicBezTo>
                      <a:pt x="4556284" y="199549"/>
                      <a:pt x="4447699" y="185261"/>
                      <a:pt x="4304824" y="173831"/>
                    </a:cubicBezTo>
                    <a:cubicBezTo>
                      <a:pt x="4273392" y="170974"/>
                      <a:pt x="4248626" y="169069"/>
                      <a:pt x="4224814" y="168116"/>
                    </a:cubicBezTo>
                    <a:lnTo>
                      <a:pt x="4224814" y="168116"/>
                    </a:lnTo>
                    <a:cubicBezTo>
                      <a:pt x="4224814" y="168116"/>
                      <a:pt x="3189447" y="70961"/>
                      <a:pt x="1992154" y="29051"/>
                    </a:cubicBezTo>
                    <a:cubicBezTo>
                      <a:pt x="1693069" y="18574"/>
                      <a:pt x="1418749" y="12859"/>
                      <a:pt x="1176814" y="10954"/>
                    </a:cubicBezTo>
                    <a:cubicBezTo>
                      <a:pt x="934879" y="9049"/>
                      <a:pt x="725329" y="10954"/>
                      <a:pt x="551974" y="12859"/>
                    </a:cubicBezTo>
                    <a:cubicBezTo>
                      <a:pt x="206216" y="17621"/>
                      <a:pt x="10001" y="29051"/>
                      <a:pt x="10001" y="29051"/>
                    </a:cubicBezTo>
                    <a:lnTo>
                      <a:pt x="7144" y="30004"/>
                    </a:lnTo>
                    <a:cubicBezTo>
                      <a:pt x="7144" y="30004"/>
                      <a:pt x="207169" y="36671"/>
                      <a:pt x="551974" y="31909"/>
                    </a:cubicBezTo>
                    <a:cubicBezTo>
                      <a:pt x="897731" y="27146"/>
                      <a:pt x="1392079" y="27146"/>
                      <a:pt x="1990249" y="48101"/>
                    </a:cubicBezTo>
                    <a:cubicBezTo>
                      <a:pt x="3187541" y="90011"/>
                      <a:pt x="4221957" y="187166"/>
                      <a:pt x="4221957" y="187166"/>
                    </a:cubicBezTo>
                    <a:cubicBezTo>
                      <a:pt x="4261961" y="192881"/>
                      <a:pt x="4304824" y="197644"/>
                      <a:pt x="4341019" y="200501"/>
                    </a:cubicBezTo>
                    <a:cubicBezTo>
                      <a:pt x="4410551" y="207169"/>
                      <a:pt x="4482942" y="221456"/>
                      <a:pt x="4501992" y="232886"/>
                    </a:cubicBezTo>
                    <a:cubicBezTo>
                      <a:pt x="4577239" y="278606"/>
                      <a:pt x="4578192" y="280511"/>
                      <a:pt x="4532472" y="313849"/>
                    </a:cubicBezTo>
                    <a:cubicBezTo>
                      <a:pt x="4480084" y="352901"/>
                      <a:pt x="4464844" y="352901"/>
                      <a:pt x="4446747" y="314801"/>
                    </a:cubicBezTo>
                    <a:cubicBezTo>
                      <a:pt x="4439126" y="298609"/>
                      <a:pt x="4421982" y="280511"/>
                      <a:pt x="4407694" y="273844"/>
                    </a:cubicBezTo>
                    <a:cubicBezTo>
                      <a:pt x="4376261" y="259556"/>
                      <a:pt x="4329589" y="292894"/>
                      <a:pt x="4343876" y="319564"/>
                    </a:cubicBezTo>
                    <a:cubicBezTo>
                      <a:pt x="4351497" y="333851"/>
                      <a:pt x="4360069" y="331946"/>
                      <a:pt x="4378167" y="313849"/>
                    </a:cubicBezTo>
                    <a:cubicBezTo>
                      <a:pt x="4409599" y="279559"/>
                      <a:pt x="4423886" y="299561"/>
                      <a:pt x="4396264" y="340519"/>
                    </a:cubicBezTo>
                    <a:cubicBezTo>
                      <a:pt x="4358164" y="395764"/>
                      <a:pt x="4326732" y="407194"/>
                      <a:pt x="4280059" y="379571"/>
                    </a:cubicBezTo>
                    <a:cubicBezTo>
                      <a:pt x="4258151" y="366236"/>
                      <a:pt x="4228624" y="354806"/>
                      <a:pt x="4215289" y="353854"/>
                    </a:cubicBezTo>
                    <a:cubicBezTo>
                      <a:pt x="4169569" y="350044"/>
                      <a:pt x="4115276" y="390049"/>
                      <a:pt x="4090511" y="444341"/>
                    </a:cubicBezTo>
                    <a:cubicBezTo>
                      <a:pt x="4070509" y="490061"/>
                      <a:pt x="4069556" y="507206"/>
                      <a:pt x="4085749" y="554831"/>
                    </a:cubicBezTo>
                    <a:cubicBezTo>
                      <a:pt x="4096226" y="586264"/>
                      <a:pt x="4117181" y="616744"/>
                      <a:pt x="4132422" y="623411"/>
                    </a:cubicBezTo>
                    <a:cubicBezTo>
                      <a:pt x="4147661" y="630079"/>
                      <a:pt x="4167664" y="644366"/>
                      <a:pt x="4177189" y="654844"/>
                    </a:cubicBezTo>
                    <a:cubicBezTo>
                      <a:pt x="4207669" y="688181"/>
                      <a:pt x="4441032" y="767239"/>
                      <a:pt x="4584859" y="792004"/>
                    </a:cubicBezTo>
                    <a:cubicBezTo>
                      <a:pt x="4819174" y="832961"/>
                      <a:pt x="4984909" y="844391"/>
                      <a:pt x="5042059" y="822484"/>
                    </a:cubicBezTo>
                    <a:cubicBezTo>
                      <a:pt x="5083969" y="807244"/>
                      <a:pt x="5093494" y="793909"/>
                      <a:pt x="5097304" y="755809"/>
                    </a:cubicBezTo>
                    <a:cubicBezTo>
                      <a:pt x="5102067" y="698659"/>
                      <a:pt x="5081111" y="671036"/>
                      <a:pt x="5025867" y="667226"/>
                    </a:cubicBezTo>
                    <a:cubicBezTo>
                      <a:pt x="4997292" y="665321"/>
                      <a:pt x="4978242" y="674846"/>
                      <a:pt x="4964906" y="697706"/>
                    </a:cubicBezTo>
                    <a:cubicBezTo>
                      <a:pt x="4945856" y="730091"/>
                      <a:pt x="4948714" y="749141"/>
                      <a:pt x="4973479" y="751046"/>
                    </a:cubicBezTo>
                    <a:cubicBezTo>
                      <a:pt x="4980147" y="751999"/>
                      <a:pt x="4983004" y="738664"/>
                      <a:pt x="4980147" y="723424"/>
                    </a:cubicBezTo>
                    <a:cubicBezTo>
                      <a:pt x="4974431" y="693896"/>
                      <a:pt x="5010627" y="680561"/>
                      <a:pt x="5059204" y="694849"/>
                    </a:cubicBezTo>
                    <a:cubicBezTo>
                      <a:pt x="5093494" y="704374"/>
                      <a:pt x="5089684" y="756761"/>
                      <a:pt x="5052536" y="789146"/>
                    </a:cubicBezTo>
                    <a:cubicBezTo>
                      <a:pt x="5016342" y="821531"/>
                      <a:pt x="4922044" y="814864"/>
                      <a:pt x="4911567" y="780574"/>
                    </a:cubicBezTo>
                    <a:cubicBezTo>
                      <a:pt x="4906804" y="766286"/>
                      <a:pt x="4891564" y="742474"/>
                      <a:pt x="4877277" y="726281"/>
                    </a:cubicBezTo>
                    <a:cubicBezTo>
                      <a:pt x="4845844" y="691039"/>
                      <a:pt x="4845844" y="668179"/>
                      <a:pt x="4878229" y="670084"/>
                    </a:cubicBezTo>
                    <a:cubicBezTo>
                      <a:pt x="4927759" y="673894"/>
                      <a:pt x="4980147" y="613886"/>
                      <a:pt x="4998244" y="532924"/>
                    </a:cubicBezTo>
                    <a:cubicBezTo>
                      <a:pt x="5022056" y="427196"/>
                      <a:pt x="5042059" y="402431"/>
                      <a:pt x="5097304" y="406241"/>
                    </a:cubicBezTo>
                    <a:cubicBezTo>
                      <a:pt x="5131594" y="409099"/>
                      <a:pt x="5141119" y="404336"/>
                      <a:pt x="5135404" y="387191"/>
                    </a:cubicBezTo>
                    <a:cubicBezTo>
                      <a:pt x="5131594" y="374809"/>
                      <a:pt x="5116354" y="363379"/>
                      <a:pt x="5103019" y="362426"/>
                    </a:cubicBezTo>
                    <a:cubicBezTo>
                      <a:pt x="5080159" y="360521"/>
                      <a:pt x="5081111" y="357664"/>
                      <a:pt x="5105877" y="346234"/>
                    </a:cubicBezTo>
                    <a:cubicBezTo>
                      <a:pt x="5122069" y="339566"/>
                      <a:pt x="5140167" y="337661"/>
                      <a:pt x="5147786" y="342424"/>
                    </a:cubicBezTo>
                    <a:cubicBezTo>
                      <a:pt x="5155406" y="347186"/>
                      <a:pt x="5165884" y="341471"/>
                      <a:pt x="5172552" y="329089"/>
                    </a:cubicBezTo>
                    <a:cubicBezTo>
                      <a:pt x="5189697" y="295751"/>
                      <a:pt x="5187792" y="290989"/>
                      <a:pt x="5161122" y="298609"/>
                    </a:cubicBezTo>
                    <a:cubicBezTo>
                      <a:pt x="5146834" y="302419"/>
                      <a:pt x="5127784" y="290989"/>
                      <a:pt x="5115402" y="268129"/>
                    </a:cubicBezTo>
                    <a:cubicBezTo>
                      <a:pt x="5088731" y="222409"/>
                      <a:pt x="5021104" y="195739"/>
                      <a:pt x="4924902" y="192881"/>
                    </a:cubicBezTo>
                    <a:cubicBezTo>
                      <a:pt x="4859179" y="190976"/>
                      <a:pt x="4850606" y="187166"/>
                      <a:pt x="4844892" y="154781"/>
                    </a:cubicBezTo>
                    <a:cubicBezTo>
                      <a:pt x="4836319" y="105251"/>
                      <a:pt x="4850606" y="91916"/>
                      <a:pt x="4909661" y="94774"/>
                    </a:cubicBezTo>
                    <a:cubicBezTo>
                      <a:pt x="4937284" y="96679"/>
                      <a:pt x="4948714" y="92869"/>
                      <a:pt x="4936331" y="87154"/>
                    </a:cubicBezTo>
                    <a:cubicBezTo>
                      <a:pt x="4923949" y="81439"/>
                      <a:pt x="4910614" y="71914"/>
                      <a:pt x="4906804" y="66199"/>
                    </a:cubicBezTo>
                    <a:cubicBezTo>
                      <a:pt x="4902994" y="60484"/>
                      <a:pt x="4879181" y="42386"/>
                      <a:pt x="4852511" y="27146"/>
                    </a:cubicBezTo>
                    <a:cubicBezTo>
                      <a:pt x="4828699" y="12859"/>
                      <a:pt x="4812506" y="7144"/>
                      <a:pt x="4796314" y="7144"/>
                    </a:cubicBezTo>
                    <a:lnTo>
                      <a:pt x="4796314" y="7144"/>
                    </a:lnTo>
                    <a:close/>
                    <a:moveTo>
                      <a:pt x="4214336" y="383381"/>
                    </a:moveTo>
                    <a:cubicBezTo>
                      <a:pt x="4217194" y="383381"/>
                      <a:pt x="4220051" y="383381"/>
                      <a:pt x="4221957" y="383381"/>
                    </a:cubicBezTo>
                    <a:cubicBezTo>
                      <a:pt x="4242911" y="385286"/>
                      <a:pt x="4262914" y="396716"/>
                      <a:pt x="4281011" y="417671"/>
                    </a:cubicBezTo>
                    <a:cubicBezTo>
                      <a:pt x="4301967" y="440531"/>
                      <a:pt x="4307682" y="460534"/>
                      <a:pt x="4298157" y="485299"/>
                    </a:cubicBezTo>
                    <a:cubicBezTo>
                      <a:pt x="4297204" y="488156"/>
                      <a:pt x="4296251" y="491014"/>
                      <a:pt x="4295299" y="492919"/>
                    </a:cubicBezTo>
                    <a:cubicBezTo>
                      <a:pt x="4295299" y="492919"/>
                      <a:pt x="4295299" y="493871"/>
                      <a:pt x="4295299" y="493871"/>
                    </a:cubicBezTo>
                    <a:cubicBezTo>
                      <a:pt x="4278154" y="524351"/>
                      <a:pt x="4241959" y="540544"/>
                      <a:pt x="4210526" y="524351"/>
                    </a:cubicBezTo>
                    <a:cubicBezTo>
                      <a:pt x="4199097" y="518636"/>
                      <a:pt x="4189572" y="508159"/>
                      <a:pt x="4185761" y="495776"/>
                    </a:cubicBezTo>
                    <a:cubicBezTo>
                      <a:pt x="4180999" y="483394"/>
                      <a:pt x="4180999" y="471011"/>
                      <a:pt x="4187666" y="459581"/>
                    </a:cubicBezTo>
                    <a:cubicBezTo>
                      <a:pt x="4191476" y="453866"/>
                      <a:pt x="4198144" y="448151"/>
                      <a:pt x="4205764" y="445294"/>
                    </a:cubicBezTo>
                    <a:cubicBezTo>
                      <a:pt x="4213384" y="442436"/>
                      <a:pt x="4219099" y="444341"/>
                      <a:pt x="4223861" y="449104"/>
                    </a:cubicBezTo>
                    <a:cubicBezTo>
                      <a:pt x="4227672" y="452914"/>
                      <a:pt x="4233386" y="452914"/>
                      <a:pt x="4236244" y="449104"/>
                    </a:cubicBezTo>
                    <a:cubicBezTo>
                      <a:pt x="4240054" y="445294"/>
                      <a:pt x="4239101" y="439579"/>
                      <a:pt x="4236244" y="435769"/>
                    </a:cubicBezTo>
                    <a:cubicBezTo>
                      <a:pt x="4231482" y="431006"/>
                      <a:pt x="4225767" y="428149"/>
                      <a:pt x="4219099" y="426244"/>
                    </a:cubicBezTo>
                    <a:cubicBezTo>
                      <a:pt x="4213384" y="425291"/>
                      <a:pt x="4206717" y="425291"/>
                      <a:pt x="4201001" y="427196"/>
                    </a:cubicBezTo>
                    <a:cubicBezTo>
                      <a:pt x="4189572" y="431006"/>
                      <a:pt x="4179094" y="438626"/>
                      <a:pt x="4173379" y="449104"/>
                    </a:cubicBezTo>
                    <a:cubicBezTo>
                      <a:pt x="4163854" y="466249"/>
                      <a:pt x="4163854" y="485299"/>
                      <a:pt x="4169569" y="501491"/>
                    </a:cubicBezTo>
                    <a:cubicBezTo>
                      <a:pt x="4175284" y="517684"/>
                      <a:pt x="4187666" y="532924"/>
                      <a:pt x="4202907" y="540544"/>
                    </a:cubicBezTo>
                    <a:cubicBezTo>
                      <a:pt x="4237197" y="558641"/>
                      <a:pt x="4275297" y="546259"/>
                      <a:pt x="4300061" y="518636"/>
                    </a:cubicBezTo>
                    <a:cubicBezTo>
                      <a:pt x="4302919" y="519589"/>
                      <a:pt x="4305776" y="520541"/>
                      <a:pt x="4309586" y="520541"/>
                    </a:cubicBezTo>
                    <a:cubicBezTo>
                      <a:pt x="4340067" y="522446"/>
                      <a:pt x="4337209" y="561499"/>
                      <a:pt x="4305776" y="570071"/>
                    </a:cubicBezTo>
                    <a:cubicBezTo>
                      <a:pt x="4292442" y="573881"/>
                      <a:pt x="4271486" y="595789"/>
                      <a:pt x="4258151" y="617696"/>
                    </a:cubicBezTo>
                    <a:cubicBezTo>
                      <a:pt x="4232434" y="663416"/>
                      <a:pt x="4218147" y="659606"/>
                      <a:pt x="4136231" y="582454"/>
                    </a:cubicBezTo>
                    <a:cubicBezTo>
                      <a:pt x="4080034" y="529114"/>
                      <a:pt x="4086701" y="444341"/>
                      <a:pt x="4149566" y="405289"/>
                    </a:cubicBezTo>
                    <a:cubicBezTo>
                      <a:pt x="4174331" y="391954"/>
                      <a:pt x="4195286" y="384334"/>
                      <a:pt x="4214336" y="383381"/>
                    </a:cubicBezTo>
                    <a:lnTo>
                      <a:pt x="4214336" y="383381"/>
                    </a:lnTo>
                    <a:lnTo>
                      <a:pt x="4214336" y="383381"/>
                    </a:lnTo>
                    <a:close/>
                    <a:moveTo>
                      <a:pt x="4336257" y="583406"/>
                    </a:moveTo>
                    <a:cubicBezTo>
                      <a:pt x="4341019" y="583406"/>
                      <a:pt x="4345782" y="583406"/>
                      <a:pt x="4350544" y="584359"/>
                    </a:cubicBezTo>
                    <a:cubicBezTo>
                      <a:pt x="4395311" y="588169"/>
                      <a:pt x="4401979" y="595789"/>
                      <a:pt x="4425792" y="664369"/>
                    </a:cubicBezTo>
                    <a:cubicBezTo>
                      <a:pt x="4454367" y="747236"/>
                      <a:pt x="4447699" y="751999"/>
                      <a:pt x="4367689" y="711994"/>
                    </a:cubicBezTo>
                    <a:cubicBezTo>
                      <a:pt x="4316254" y="686276"/>
                      <a:pt x="4301967" y="633889"/>
                      <a:pt x="4349592" y="646271"/>
                    </a:cubicBezTo>
                    <a:cubicBezTo>
                      <a:pt x="4363879" y="650081"/>
                      <a:pt x="4375309" y="665321"/>
                      <a:pt x="4372451" y="678656"/>
                    </a:cubicBezTo>
                    <a:cubicBezTo>
                      <a:pt x="4369594" y="691991"/>
                      <a:pt x="4374357" y="703421"/>
                      <a:pt x="4381976" y="704374"/>
                    </a:cubicBezTo>
                    <a:cubicBezTo>
                      <a:pt x="4409599" y="706279"/>
                      <a:pt x="4399122" y="648176"/>
                      <a:pt x="4369594" y="636746"/>
                    </a:cubicBezTo>
                    <a:cubicBezTo>
                      <a:pt x="4329589" y="621506"/>
                      <a:pt x="4307682" y="633889"/>
                      <a:pt x="4303872" y="672941"/>
                    </a:cubicBezTo>
                    <a:cubicBezTo>
                      <a:pt x="4301967" y="693896"/>
                      <a:pt x="4296251" y="699611"/>
                      <a:pt x="4286726" y="688181"/>
                    </a:cubicBezTo>
                    <a:cubicBezTo>
                      <a:pt x="4279107" y="679609"/>
                      <a:pt x="4278154" y="651986"/>
                      <a:pt x="4285774" y="626269"/>
                    </a:cubicBezTo>
                    <a:cubicBezTo>
                      <a:pt x="4297204" y="591979"/>
                      <a:pt x="4305776" y="582454"/>
                      <a:pt x="4336257" y="583406"/>
                    </a:cubicBezTo>
                    <a:close/>
                    <a:moveTo>
                      <a:pt x="4444842" y="607219"/>
                    </a:moveTo>
                    <a:cubicBezTo>
                      <a:pt x="4457224" y="607219"/>
                      <a:pt x="4478179" y="611981"/>
                      <a:pt x="4511517" y="621506"/>
                    </a:cubicBezTo>
                    <a:cubicBezTo>
                      <a:pt x="4548664" y="631031"/>
                      <a:pt x="4557236" y="640556"/>
                      <a:pt x="4548664" y="659606"/>
                    </a:cubicBezTo>
                    <a:cubicBezTo>
                      <a:pt x="4542949" y="672941"/>
                      <a:pt x="4546759" y="691991"/>
                      <a:pt x="4558189" y="702469"/>
                    </a:cubicBezTo>
                    <a:cubicBezTo>
                      <a:pt x="4586764" y="729139"/>
                      <a:pt x="4635342" y="712946"/>
                      <a:pt x="4628674" y="679609"/>
                    </a:cubicBezTo>
                    <a:cubicBezTo>
                      <a:pt x="4624864" y="657701"/>
                      <a:pt x="4631531" y="653891"/>
                      <a:pt x="4683919" y="660559"/>
                    </a:cubicBezTo>
                    <a:cubicBezTo>
                      <a:pt x="4682967" y="681514"/>
                      <a:pt x="4687729" y="661511"/>
                      <a:pt x="4689634" y="661511"/>
                    </a:cubicBezTo>
                    <a:cubicBezTo>
                      <a:pt x="4692492" y="661511"/>
                      <a:pt x="4695349" y="662464"/>
                      <a:pt x="4699159" y="663416"/>
                    </a:cubicBezTo>
                    <a:cubicBezTo>
                      <a:pt x="4759167" y="671989"/>
                      <a:pt x="4780122" y="681514"/>
                      <a:pt x="4803934" y="714851"/>
                    </a:cubicBezTo>
                    <a:cubicBezTo>
                      <a:pt x="4820127" y="737711"/>
                      <a:pt x="4841081" y="752951"/>
                      <a:pt x="4850606" y="748189"/>
                    </a:cubicBezTo>
                    <a:cubicBezTo>
                      <a:pt x="4860131" y="743426"/>
                      <a:pt x="4872514" y="750094"/>
                      <a:pt x="4879181" y="761524"/>
                    </a:cubicBezTo>
                    <a:cubicBezTo>
                      <a:pt x="4898231" y="794861"/>
                      <a:pt x="4891564" y="810101"/>
                      <a:pt x="4867752" y="788194"/>
                    </a:cubicBezTo>
                    <a:cubicBezTo>
                      <a:pt x="4852511" y="773906"/>
                      <a:pt x="4845844" y="772954"/>
                      <a:pt x="4844892" y="784384"/>
                    </a:cubicBezTo>
                    <a:cubicBezTo>
                      <a:pt x="4787742" y="807244"/>
                      <a:pt x="4706779" y="786289"/>
                      <a:pt x="4660106" y="776764"/>
                    </a:cubicBezTo>
                    <a:cubicBezTo>
                      <a:pt x="4642009" y="773906"/>
                      <a:pt x="4622959" y="772954"/>
                      <a:pt x="4606767" y="768191"/>
                    </a:cubicBezTo>
                    <a:cubicBezTo>
                      <a:pt x="4550569" y="752951"/>
                      <a:pt x="4508659" y="711994"/>
                      <a:pt x="4510564" y="675799"/>
                    </a:cubicBezTo>
                    <a:cubicBezTo>
                      <a:pt x="4511517" y="666274"/>
                      <a:pt x="4504849" y="653891"/>
                      <a:pt x="4497229" y="648176"/>
                    </a:cubicBezTo>
                    <a:cubicBezTo>
                      <a:pt x="4487704" y="641509"/>
                      <a:pt x="4485799" y="651034"/>
                      <a:pt x="4494372" y="677704"/>
                    </a:cubicBezTo>
                    <a:cubicBezTo>
                      <a:pt x="4509611" y="726281"/>
                      <a:pt x="4508659" y="731044"/>
                      <a:pt x="4491514" y="729139"/>
                    </a:cubicBezTo>
                    <a:cubicBezTo>
                      <a:pt x="4483894" y="728186"/>
                      <a:pt x="4465797" y="700564"/>
                      <a:pt x="4450557" y="666274"/>
                    </a:cubicBezTo>
                    <a:cubicBezTo>
                      <a:pt x="4429601" y="624364"/>
                      <a:pt x="4424839" y="608171"/>
                      <a:pt x="4444842" y="607219"/>
                    </a:cubicBezTo>
                    <a:lnTo>
                      <a:pt x="4444842" y="607219"/>
                    </a:lnTo>
                    <a:close/>
                    <a:moveTo>
                      <a:pt x="4661059" y="774859"/>
                    </a:moveTo>
                    <a:cubicBezTo>
                      <a:pt x="4662964" y="774859"/>
                      <a:pt x="4669631" y="775811"/>
                      <a:pt x="4671536" y="775811"/>
                    </a:cubicBezTo>
                    <a:cubicBezTo>
                      <a:pt x="4695349" y="749141"/>
                      <a:pt x="4700111" y="686276"/>
                      <a:pt x="4694397" y="660559"/>
                    </a:cubicBezTo>
                    <a:cubicBezTo>
                      <a:pt x="4692492" y="660559"/>
                      <a:pt x="4685824" y="659606"/>
                      <a:pt x="4683919" y="659606"/>
                    </a:cubicBezTo>
                    <a:cubicBezTo>
                      <a:pt x="4682967" y="667226"/>
                      <a:pt x="4681061" y="677704"/>
                      <a:pt x="4681061" y="677704"/>
                    </a:cubicBezTo>
                    <a:cubicBezTo>
                      <a:pt x="4680109" y="688181"/>
                      <a:pt x="4675347" y="701516"/>
                      <a:pt x="4670584" y="727234"/>
                    </a:cubicBezTo>
                    <a:cubicBezTo>
                      <a:pt x="4666774" y="750094"/>
                      <a:pt x="4661059" y="764381"/>
                      <a:pt x="4661059" y="774859"/>
                    </a:cubicBezTo>
                    <a:lnTo>
                      <a:pt x="4661059" y="774859"/>
                    </a:lnTo>
                    <a:close/>
                    <a:moveTo>
                      <a:pt x="4585811" y="650081"/>
                    </a:moveTo>
                    <a:cubicBezTo>
                      <a:pt x="4593431" y="650081"/>
                      <a:pt x="4601052" y="653891"/>
                      <a:pt x="4608672" y="661511"/>
                    </a:cubicBezTo>
                    <a:cubicBezTo>
                      <a:pt x="4620102" y="673894"/>
                      <a:pt x="4620102" y="683419"/>
                      <a:pt x="4607719" y="693896"/>
                    </a:cubicBezTo>
                    <a:cubicBezTo>
                      <a:pt x="4595336" y="703421"/>
                      <a:pt x="4584859" y="700564"/>
                      <a:pt x="4573429" y="685324"/>
                    </a:cubicBezTo>
                    <a:cubicBezTo>
                      <a:pt x="4557236" y="665321"/>
                      <a:pt x="4568667" y="649129"/>
                      <a:pt x="4585811" y="650081"/>
                    </a:cubicBezTo>
                    <a:close/>
                    <a:moveTo>
                      <a:pt x="4822031" y="679609"/>
                    </a:moveTo>
                    <a:cubicBezTo>
                      <a:pt x="4830604" y="680561"/>
                      <a:pt x="4841081" y="691991"/>
                      <a:pt x="4844892" y="704374"/>
                    </a:cubicBezTo>
                    <a:cubicBezTo>
                      <a:pt x="4856322" y="739616"/>
                      <a:pt x="4840129" y="742474"/>
                      <a:pt x="4822031" y="709136"/>
                    </a:cubicBezTo>
                    <a:cubicBezTo>
                      <a:pt x="4811554" y="690086"/>
                      <a:pt x="4811554" y="678656"/>
                      <a:pt x="4822031" y="679609"/>
                    </a:cubicBezTo>
                    <a:close/>
                    <a:moveTo>
                      <a:pt x="5031581" y="711994"/>
                    </a:moveTo>
                    <a:cubicBezTo>
                      <a:pt x="5027772" y="711994"/>
                      <a:pt x="5022056" y="718661"/>
                      <a:pt x="5014436" y="731996"/>
                    </a:cubicBezTo>
                    <a:cubicBezTo>
                      <a:pt x="5008722" y="743426"/>
                      <a:pt x="5010627" y="753904"/>
                      <a:pt x="5018247" y="753904"/>
                    </a:cubicBezTo>
                    <a:cubicBezTo>
                      <a:pt x="5026819" y="754856"/>
                      <a:pt x="5034439" y="745331"/>
                      <a:pt x="5035392" y="732949"/>
                    </a:cubicBezTo>
                    <a:cubicBezTo>
                      <a:pt x="5037297" y="719614"/>
                      <a:pt x="5035392" y="711994"/>
                      <a:pt x="5031581" y="71199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87755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27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7" name="그림 6"/>
          <p:cNvPicPr>
            <a:picLocks noChangeAspect="1"/>
          </p:cNvPicPr>
          <p:nvPr userDrawn="1"/>
        </p:nvPicPr>
        <p:blipFill>
          <a:blip r:embed="rId3" cstate="email"/>
          <a:stretch>
            <a:fillRect/>
          </a:stretch>
        </p:blipFill>
        <p:spPr>
          <a:xfrm>
            <a:off x="0" y="1"/>
            <a:ext cx="10383838" cy="7246750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1808" y="6616328"/>
            <a:ext cx="2339111" cy="579221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88153" y="6985351"/>
            <a:ext cx="6777856" cy="2400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5471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※ </a:t>
            </a:r>
            <a:r>
              <a:rPr kumimoji="0" lang="ko-KR" altLang="en-US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본 자료는 컨설턴트 교육용으로 </a:t>
            </a:r>
            <a:r>
              <a:rPr kumimoji="0" lang="ko-KR" altLang="en-US" sz="960" b="1" i="0" u="none" strike="noStrike" kern="1200" cap="none" spc="0" normalizeH="0" baseline="0" noProof="0" dirty="0" err="1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환급금</a:t>
            </a:r>
            <a:r>
              <a:rPr kumimoji="0" lang="ko-KR" altLang="en-US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및 보험금 지급의 근거가 될 수 없으며 고객안내자료로 활용할 수 없습니다</a:t>
            </a:r>
            <a:r>
              <a:rPr kumimoji="0" lang="en-US" altLang="ko-KR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960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12022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40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4000"/>
                            </p:stCondLst>
                            <p:childTnLst>
                              <p:par>
                                <p:cTn id="9" presetID="16" presetClass="entr" presetSubtype="37" repeatCount="indefinite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1" dur="4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0" grpId="0" animBg="1"/>
      <p:bldP spid="3" grpId="0" animBg="1"/>
    </p:bld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099717" y="835172"/>
            <a:ext cx="1147176" cy="567871"/>
          </a:xfrm>
          <a:prstGeom prst="rect">
            <a:avLst/>
          </a:prstGeom>
        </p:spPr>
      </p:pic>
      <p:pic>
        <p:nvPicPr>
          <p:cNvPr id="3" name="그림 2" descr="B_대외용_일반간지라인.png"/>
          <p:cNvPicPr>
            <a:picLocks noChangeAspect="1"/>
          </p:cNvPicPr>
          <p:nvPr userDrawn="1"/>
        </p:nvPicPr>
        <p:blipFill>
          <a:blip r:embed="rId3" cstate="print"/>
          <a:srcRect t="43753" r="44230" b="41671"/>
          <a:stretch>
            <a:fillRect/>
          </a:stretch>
        </p:blipFill>
        <p:spPr>
          <a:xfrm>
            <a:off x="1" y="1002222"/>
            <a:ext cx="10342076" cy="547912"/>
          </a:xfrm>
          <a:prstGeom prst="rect">
            <a:avLst/>
          </a:prstGeom>
          <a:effectLst/>
        </p:spPr>
      </p:pic>
      <p:sp>
        <p:nvSpPr>
          <p:cNvPr id="4" name="TextBox 3"/>
          <p:cNvSpPr txBox="1"/>
          <p:nvPr userDrawn="1"/>
        </p:nvSpPr>
        <p:spPr>
          <a:xfrm>
            <a:off x="305587" y="310011"/>
            <a:ext cx="4546374" cy="6792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5471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3839" b="1" i="0" u="none" strike="noStrike" kern="1200" cap="none" spc="0" normalizeH="0" baseline="0" noProof="0" dirty="0">
                <a:ln>
                  <a:noFill/>
                </a:ln>
                <a:solidFill>
                  <a:srgbClr val="28B432"/>
                </a:solidFill>
                <a:effectLst>
                  <a:reflection blurRad="6350" stA="55000" endA="50" endPos="85000" dist="29997" dir="5400000" sy="-100000" algn="bl" rotWithShape="0"/>
                </a:effectLst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Con</a:t>
            </a:r>
            <a:r>
              <a:rPr kumimoji="0" lang="en-US" altLang="ko-KR" sz="3839" b="1" i="0" u="none" strike="noStrike" kern="1200" cap="none" spc="0" normalizeH="0" baseline="0" noProof="0" dirty="0">
                <a:ln>
                  <a:noFill/>
                </a:ln>
                <a:solidFill>
                  <a:srgbClr val="141450"/>
                </a:solidFill>
                <a:effectLst>
                  <a:reflection blurRad="6350" stA="55000" endA="50" endPos="85000" dist="29997" dir="5400000" sy="-100000" algn="bl" rotWithShape="0"/>
                </a:effectLst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tents</a:t>
            </a:r>
            <a:endParaRPr kumimoji="0" lang="ko-KR" altLang="en-US" sz="3839" b="1" i="0" u="none" strike="noStrike" kern="1200" cap="none" spc="0" normalizeH="0" baseline="0" noProof="0" dirty="0">
              <a:ln>
                <a:noFill/>
              </a:ln>
              <a:solidFill>
                <a:srgbClr val="141450"/>
              </a:solidFill>
              <a:effectLst>
                <a:reflection blurRad="6350" stA="55000" endA="50" endPos="85000" dist="29997" dir="5400000" sy="-100000" algn="bl" rotWithShape="0"/>
              </a:effectLst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8603824" y="421797"/>
            <a:ext cx="1417329" cy="251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5412" tIns="47708" rIns="95412" bIns="47708"/>
          <a:lstStyle/>
          <a:p>
            <a:pPr marL="0" marR="0" lvl="0" indent="0" algn="r" defTabSz="95471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44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fld id="{16B1565D-7790-4B20-9C8C-6E71895AF331}" type="slidenum">
              <a:rPr kumimoji="0" lang="ko-KR" altLang="en-US" sz="1344" b="1" i="0" u="none" strike="noStrike" kern="1200" cap="none" spc="0" normalizeH="0" baseline="0" noProof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pPr marL="0" marR="0" lvl="0" indent="0" algn="r" defTabSz="95471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344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659530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5"/>
          <p:cNvSpPr>
            <a:spLocks noChangeArrowheads="1"/>
          </p:cNvSpPr>
          <p:nvPr userDrawn="1"/>
        </p:nvSpPr>
        <p:spPr bwMode="auto">
          <a:xfrm>
            <a:off x="8603824" y="421797"/>
            <a:ext cx="1417329" cy="251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5412" tIns="47708" rIns="95412" bIns="47708"/>
          <a:lstStyle/>
          <a:p>
            <a:pPr marL="0" marR="0" lvl="0" indent="0" algn="r" defTabSz="95471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44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fld id="{16B1565D-7790-4B20-9C8C-6E71895AF331}" type="slidenum">
              <a:rPr kumimoji="0" lang="ko-KR" altLang="en-US" sz="1344" b="1" i="0" u="none" strike="noStrike" kern="1200" cap="none" spc="0" normalizeH="0" baseline="0" noProof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pPr marL="0" marR="0" lvl="0" indent="0" algn="r" defTabSz="95471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344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pic>
        <p:nvPicPr>
          <p:cNvPr id="11" name="그림 10" descr="B_대외용_일반간지라인.png"/>
          <p:cNvPicPr>
            <a:picLocks noChangeAspect="1"/>
          </p:cNvPicPr>
          <p:nvPr userDrawn="1"/>
        </p:nvPicPr>
        <p:blipFill>
          <a:blip r:embed="rId2" cstate="print"/>
          <a:srcRect t="43753" r="44230" b="41671"/>
          <a:stretch>
            <a:fillRect/>
          </a:stretch>
        </p:blipFill>
        <p:spPr>
          <a:xfrm>
            <a:off x="162056" y="530537"/>
            <a:ext cx="10221783" cy="547912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4053555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1" y="3"/>
            <a:ext cx="10383125" cy="725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633224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1898524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사용자 지정 레이아웃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27335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6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 descr="img_university_program_03.jpg"/>
          <p:cNvPicPr>
            <a:picLocks noChangeAspect="1"/>
          </p:cNvPicPr>
          <p:nvPr userDrawn="1"/>
        </p:nvPicPr>
        <p:blipFill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lum brigh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3616659"/>
            <a:ext cx="10383839" cy="3671027"/>
          </a:xfrm>
          <a:prstGeom prst="rect">
            <a:avLst/>
          </a:prstGeom>
        </p:spPr>
      </p:pic>
      <p:sp>
        <p:nvSpPr>
          <p:cNvPr id="4" name="직사각형 3"/>
          <p:cNvSpPr/>
          <p:nvPr userDrawn="1"/>
        </p:nvSpPr>
        <p:spPr>
          <a:xfrm>
            <a:off x="0" y="0"/>
            <a:ext cx="10383838" cy="3765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078" tIns="40037" rIns="80078" bIns="40037" anchor="ctr"/>
          <a:lstStyle/>
          <a:p>
            <a:pPr algn="ctr" defTabSz="913977" eaLnBrk="1" latinLnBrk="1" hangingPunct="1">
              <a:defRPr/>
            </a:pPr>
            <a:endParaRPr kumimoji="1" lang="ko-KR" altLang="en-US" sz="1984" dirty="0">
              <a:solidFill>
                <a:prstClr val="white"/>
              </a:solidFill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0F3651F7-2466-4722-9C4C-94595706F0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24660" y="-1"/>
            <a:ext cx="5915818" cy="7573916"/>
          </a:xfrm>
          <a:prstGeom prst="rect">
            <a:avLst/>
          </a:prstGeom>
          <a:ln>
            <a:noFill/>
          </a:ln>
        </p:spPr>
      </p:pic>
      <p:sp>
        <p:nvSpPr>
          <p:cNvPr id="11" name="Rectangle 5"/>
          <p:cNvSpPr>
            <a:spLocks noChangeArrowheads="1"/>
          </p:cNvSpPr>
          <p:nvPr userDrawn="1"/>
        </p:nvSpPr>
        <p:spPr bwMode="auto">
          <a:xfrm>
            <a:off x="5911850" y="42863"/>
            <a:ext cx="4471988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5412" tIns="47708" rIns="95412" bIns="47708"/>
          <a:lstStyle/>
          <a:p>
            <a:pPr algn="r" defTabSz="954717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ko-KR" sz="1344" b="1" dirty="0">
                <a:solidFill>
                  <a:srgbClr val="FF0000"/>
                </a:solidFill>
              </a:rPr>
              <a:t>FP </a:t>
            </a:r>
            <a:r>
              <a:rPr lang="ko-KR" altLang="en-US" sz="1344" b="1" dirty="0">
                <a:solidFill>
                  <a:srgbClr val="FF0000"/>
                </a:solidFill>
              </a:rPr>
              <a:t>교육용</a:t>
            </a:r>
            <a:endParaRPr lang="en-US" altLang="ko-KR" sz="1344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2810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사용자 지정 레이아웃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616910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9036838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519193" y="290532"/>
            <a:ext cx="9345454" cy="1209146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519193" y="1692805"/>
            <a:ext cx="9345454" cy="47878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519192" y="6724198"/>
            <a:ext cx="2422896" cy="386255"/>
          </a:xfrm>
          <a:prstGeom prst="rect">
            <a:avLst/>
          </a:prstGeom>
        </p:spPr>
        <p:txBody>
          <a:bodyPr/>
          <a:lstStyle/>
          <a:p>
            <a:pPr defTabSz="954843"/>
            <a:endParaRPr lang="ko-KR" altLang="en-US" sz="1919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547812" y="6724198"/>
            <a:ext cx="3288215" cy="386255"/>
          </a:xfrm>
          <a:prstGeom prst="rect">
            <a:avLst/>
          </a:prstGeom>
        </p:spPr>
        <p:txBody>
          <a:bodyPr/>
          <a:lstStyle/>
          <a:p>
            <a:pPr defTabSz="954843"/>
            <a:endParaRPr lang="ko-KR" altLang="en-US" sz="1919">
              <a:solidFill>
                <a:prstClr val="black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441751" y="6724198"/>
            <a:ext cx="2422896" cy="386255"/>
          </a:xfrm>
          <a:prstGeom prst="rect">
            <a:avLst/>
          </a:prstGeom>
        </p:spPr>
        <p:txBody>
          <a:bodyPr/>
          <a:lstStyle/>
          <a:p>
            <a:pPr defTabSz="954843"/>
            <a:fld id="{99C5AF09-D737-4D72-AAFC-A9F2B0FDB9A7}" type="slidenum">
              <a:rPr lang="ko-KR" altLang="en-US" sz="1919" smtClean="0">
                <a:solidFill>
                  <a:prstClr val="black"/>
                </a:solidFill>
              </a:rPr>
              <a:pPr defTabSz="954843"/>
              <a:t>‹#›</a:t>
            </a:fld>
            <a:endParaRPr lang="ko-KR" altLang="en-US" sz="1919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516941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k\Desktop\5.gi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"/>
            <a:ext cx="10383838" cy="7254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54843"/>
            <a:endParaRPr lang="ko-KR" altLang="en-US" sz="1919">
              <a:solidFill>
                <a:prstClr val="black"/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54843"/>
            <a:endParaRPr lang="ko-KR" altLang="en-US" sz="1919">
              <a:solidFill>
                <a:prstClr val="black"/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54843"/>
            <a:fld id="{EE6BC638-39B7-4287-91A7-2A3DDA573295}" type="slidenum">
              <a:rPr lang="ko-KR" altLang="en-US" sz="1919" smtClean="0">
                <a:solidFill>
                  <a:prstClr val="black"/>
                </a:solidFill>
              </a:rPr>
              <a:pPr defTabSz="954843"/>
              <a:t>‹#›</a:t>
            </a:fld>
            <a:endParaRPr lang="ko-KR" altLang="en-US" sz="1919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5911850" y="7011990"/>
            <a:ext cx="44719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275" tIns="47139" rIns="94275" bIns="47139"/>
          <a:lstStyle>
            <a:lvl1pPr defTabSz="954088">
              <a:defRPr sz="1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defTabSz="954088">
              <a:defRPr sz="1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defTabSz="954088">
              <a:defRPr sz="1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defTabSz="954088">
              <a:defRPr sz="1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defTabSz="954088">
              <a:defRPr sz="1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466975" indent="-180975" defTabSz="9540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24175" indent="-180975" defTabSz="9540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381375" indent="-180975" defTabSz="9540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38575" indent="-180975" defTabSz="9540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marL="0" marR="0" lvl="0" indent="0" algn="r" defTabSz="91544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88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FP </a:t>
            </a:r>
            <a:r>
              <a:rPr kumimoji="0" lang="ko-KR" altLang="en-US" sz="988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교육용 자료로 고객에게 제시할 수 없습니다</a:t>
            </a:r>
            <a:endParaRPr kumimoji="0" lang="en-US" altLang="ko-KR" sz="988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교보서체 Bold" panose="020B0600000101010101" pitchFamily="50" charset="-127"/>
              <a:ea typeface="교보서체 Bold" panose="020B0600000101010101" pitchFamily="50" charset="-127"/>
              <a:cs typeface="+mn-cs"/>
            </a:endParaRPr>
          </a:p>
        </p:txBody>
      </p:sp>
      <p:sp>
        <p:nvSpPr>
          <p:cNvPr id="7" name="Rectangle 5"/>
          <p:cNvSpPr>
            <a:spLocks noChangeArrowheads="1"/>
          </p:cNvSpPr>
          <p:nvPr userDrawn="1"/>
        </p:nvSpPr>
        <p:spPr bwMode="auto">
          <a:xfrm>
            <a:off x="5911850" y="42866"/>
            <a:ext cx="4471988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4275" tIns="47139" rIns="94275" bIns="47139"/>
          <a:lstStyle/>
          <a:p>
            <a:pPr marL="0" marR="0" lvl="0" indent="0" algn="r" defTabSz="94335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328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교보서체 Regular"/>
                <a:ea typeface="교보서체 Regular"/>
                <a:cs typeface="+mn-cs"/>
              </a:rPr>
              <a:t>FP </a:t>
            </a:r>
            <a:r>
              <a:rPr kumimoji="0" lang="ko-KR" altLang="en-US" sz="1328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교보서체 Regular"/>
                <a:ea typeface="교보서체 Regular"/>
                <a:cs typeface="+mn-cs"/>
              </a:rPr>
              <a:t>교육용</a:t>
            </a:r>
            <a:endParaRPr kumimoji="0" lang="en-US" altLang="ko-KR" sz="1328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교보서체 Regular"/>
              <a:ea typeface="교보서체 Regular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578787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직사각형 7"/>
          <p:cNvSpPr/>
          <p:nvPr userDrawn="1"/>
        </p:nvSpPr>
        <p:spPr>
          <a:xfrm>
            <a:off x="17" y="17"/>
            <a:ext cx="10383838" cy="19692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698" tIns="43849" rIns="87698" bIns="43849" rtlCol="0" anchor="ctr"/>
          <a:lstStyle/>
          <a:p>
            <a:pPr marL="0" marR="0" lvl="0" indent="0" algn="ctr" defTabSz="95484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1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교보서체 Regular"/>
              <a:ea typeface="교보서체 Regular"/>
              <a:cs typeface="+mn-cs"/>
            </a:endParaRPr>
          </a:p>
        </p:txBody>
      </p:sp>
      <p:pic>
        <p:nvPicPr>
          <p:cNvPr id="15" name="그림 14">
            <a:extLst>
              <a:ext uri="{FF2B5EF4-FFF2-40B4-BE49-F238E27FC236}">
                <a16:creationId xmlns:a16="http://schemas.microsoft.com/office/drawing/2014/main" id="{0F3651F7-2466-4722-9C4C-94595706F0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>
          <a:xfrm>
            <a:off x="-19293" y="-496755"/>
            <a:ext cx="6543106" cy="7995000"/>
          </a:xfrm>
          <a:prstGeom prst="rect">
            <a:avLst/>
          </a:prstGeom>
        </p:spPr>
      </p:pic>
      <p:sp>
        <p:nvSpPr>
          <p:cNvPr id="14" name="모서리가 둥근 직사각형 13"/>
          <p:cNvSpPr/>
          <p:nvPr userDrawn="1"/>
        </p:nvSpPr>
        <p:spPr>
          <a:xfrm>
            <a:off x="9176343" y="134041"/>
            <a:ext cx="1014778" cy="234621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127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17271" rIns="0" bIns="17271" rtlCol="0" anchor="ctr">
            <a:spAutoFit/>
          </a:bodyPr>
          <a:lstStyle/>
          <a:p>
            <a:pPr marL="0" marR="0" lvl="0" indent="0" algn="ctr" defTabSz="95484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51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교보서체 Regular"/>
                <a:ea typeface="교보서체 Regular"/>
                <a:cs typeface="+mn-cs"/>
              </a:rPr>
              <a:t>FP</a:t>
            </a:r>
            <a:r>
              <a:rPr kumimoji="0" lang="ko-KR" altLang="en-US" sz="1151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교보서체 Regular"/>
                <a:ea typeface="교보서체 Regular"/>
                <a:cs typeface="+mn-cs"/>
              </a:rPr>
              <a:t>교육용자료</a:t>
            </a:r>
            <a:endParaRPr kumimoji="0" lang="ko-KR" altLang="en-US" sz="1151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교보서체 Regular"/>
              <a:ea typeface="교보서체 Regular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17141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674491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182259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k\Desktop\5.gi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10383838" cy="7254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348657" y="96512"/>
            <a:ext cx="9035183" cy="843025"/>
          </a:xfrm>
        </p:spPr>
        <p:txBody>
          <a:bodyPr vert="horz" lIns="91440" tIns="45720" rIns="91440" bIns="45720" rtlCol="0" anchor="ctr">
            <a:normAutofit/>
          </a:bodyPr>
          <a:lstStyle>
            <a:lvl1pPr algn="l" defTabSz="769509" rtl="0" eaLnBrk="1" latinLnBrk="1" hangingPunct="1">
              <a:spcBef>
                <a:spcPct val="0"/>
              </a:spcBef>
              <a:buNone/>
              <a:defRPr lang="ko-KR" altLang="en-US" sz="2103" b="1" kern="1200" baseline="0" dirty="0">
                <a:solidFill>
                  <a:schemeClr val="bg1"/>
                </a:solidFill>
                <a:effectLst/>
                <a:latin typeface="Noto Sans" pitchFamily="34" charset="0"/>
                <a:ea typeface="맑은 고딕" pitchFamily="50" charset="-127"/>
                <a:cs typeface="+mj-cs"/>
              </a:defRPr>
            </a:lvl1pPr>
          </a:lstStyle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54843"/>
            <a:endParaRPr lang="ko-KR" altLang="en-US" sz="1919">
              <a:solidFill>
                <a:prstClr val="black"/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54843"/>
            <a:endParaRPr lang="ko-KR" altLang="en-US" sz="1919">
              <a:solidFill>
                <a:prstClr val="black"/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54843"/>
            <a:fld id="{EE6BC638-39B7-4287-91A7-2A3DDA573295}" type="slidenum">
              <a:rPr lang="ko-KR" altLang="en-US" sz="1919" smtClean="0">
                <a:solidFill>
                  <a:prstClr val="black"/>
                </a:solidFill>
              </a:rPr>
              <a:pPr defTabSz="954843"/>
              <a:t>‹#›</a:t>
            </a:fld>
            <a:endParaRPr lang="ko-KR" altLang="en-US" sz="1919">
              <a:solidFill>
                <a:prstClr val="black"/>
              </a:solidFill>
            </a:endParaRPr>
          </a:p>
        </p:txBody>
      </p:sp>
      <p:sp>
        <p:nvSpPr>
          <p:cNvPr id="6" name="내용 개체 틀 2"/>
          <p:cNvSpPr>
            <a:spLocks noGrp="1"/>
          </p:cNvSpPr>
          <p:nvPr>
            <p:ph idx="1"/>
          </p:nvPr>
        </p:nvSpPr>
        <p:spPr>
          <a:xfrm>
            <a:off x="1348659" y="1494537"/>
            <a:ext cx="8806754" cy="4952529"/>
          </a:xfrm>
        </p:spPr>
        <p:txBody>
          <a:bodyPr/>
          <a:lstStyle>
            <a:lvl1pPr algn="l">
              <a:buNone/>
              <a:defRPr sz="1683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1pPr>
            <a:lvl2pPr algn="l">
              <a:buNone/>
              <a:defRPr sz="1514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2pPr>
            <a:lvl3pPr algn="l">
              <a:buNone/>
              <a:defRPr sz="1514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3pPr>
            <a:lvl4pPr algn="l">
              <a:buNone/>
              <a:defRPr sz="1514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4pPr>
            <a:lvl5pPr algn="l">
              <a:buNone/>
              <a:defRPr sz="1514" baseline="0">
                <a:solidFill>
                  <a:schemeClr val="tx1">
                    <a:lumMod val="65000"/>
                    <a:lumOff val="35000"/>
                  </a:schemeClr>
                </a:solidFill>
                <a:latin typeface="Noto Sans" pitchFamily="34" charset="0"/>
                <a:ea typeface="맑은 고딕" pitchFamily="50" charset="-127"/>
              </a:defRPr>
            </a:lvl5pPr>
          </a:lstStyle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</a:p>
        </p:txBody>
      </p:sp>
      <p:grpSp>
        <p:nvGrpSpPr>
          <p:cNvPr id="11" name="그룹 10"/>
          <p:cNvGrpSpPr>
            <a:grpSpLocks/>
          </p:cNvGrpSpPr>
          <p:nvPr userDrawn="1"/>
        </p:nvGrpSpPr>
        <p:grpSpPr bwMode="auto">
          <a:xfrm>
            <a:off x="9024245" y="159423"/>
            <a:ext cx="1131169" cy="321070"/>
            <a:chOff x="344488" y="540396"/>
            <a:chExt cx="2016224" cy="491053"/>
          </a:xfrm>
        </p:grpSpPr>
        <p:sp>
          <p:nvSpPr>
            <p:cNvPr id="12" name="모서리가 둥근 직사각형 11"/>
            <p:cNvSpPr/>
            <p:nvPr/>
          </p:nvSpPr>
          <p:spPr>
            <a:xfrm>
              <a:off x="344488" y="540396"/>
              <a:ext cx="2016224" cy="49105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54843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07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교보서체 Regular"/>
                <a:ea typeface="교보서체 Regular"/>
                <a:cs typeface="+mn-cs"/>
              </a:endParaRPr>
            </a:p>
          </p:txBody>
        </p:sp>
        <p:pic>
          <p:nvPicPr>
            <p:cNvPr id="13" name="그림 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425" y="562168"/>
              <a:ext cx="1698349" cy="4273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20507212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nd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4338638"/>
            <a:ext cx="10383838" cy="2335212"/>
          </a:xfrm>
          <a:prstGeom prst="rect">
            <a:avLst/>
          </a:prstGeom>
          <a:solidFill>
            <a:schemeClr val="bg1">
              <a:alpha val="8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86710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3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교보서체 Regular"/>
              <a:ea typeface="교보서체 Regular"/>
              <a:cs typeface="+mn-cs"/>
            </a:endParaRPr>
          </a:p>
        </p:txBody>
      </p:sp>
      <p:pic>
        <p:nvPicPr>
          <p:cNvPr id="3" name="그림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353"/>
          <a:stretch>
            <a:fillRect/>
          </a:stretch>
        </p:blipFill>
        <p:spPr bwMode="auto">
          <a:xfrm>
            <a:off x="1" y="3"/>
            <a:ext cx="10387013" cy="665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5"/>
          <p:cNvSpPr>
            <a:spLocks noChangeArrowheads="1"/>
          </p:cNvSpPr>
          <p:nvPr userDrawn="1"/>
        </p:nvSpPr>
        <p:spPr bwMode="auto">
          <a:xfrm>
            <a:off x="5911850" y="7011990"/>
            <a:ext cx="44719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275" tIns="47139" rIns="94275" bIns="47139"/>
          <a:lstStyle>
            <a:lvl1pPr defTabSz="954088">
              <a:defRPr sz="1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defTabSz="954088">
              <a:defRPr sz="1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defTabSz="954088">
              <a:defRPr sz="1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defTabSz="954088">
              <a:defRPr sz="1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defTabSz="954088">
              <a:defRPr sz="1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466975" indent="-180975" defTabSz="9540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24175" indent="-180975" defTabSz="9540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381375" indent="-180975" defTabSz="9540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38575" indent="-180975" defTabSz="954088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marL="0" marR="0" lvl="0" indent="0" algn="r" defTabSz="91544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88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FP </a:t>
            </a:r>
            <a:r>
              <a:rPr kumimoji="0" lang="ko-KR" altLang="en-US" sz="988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교육용 자료로 고객에게 제시할 수 없습니다</a:t>
            </a:r>
            <a:endParaRPr kumimoji="0" lang="en-US" altLang="ko-KR" sz="988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교보서체 Bold" panose="020B0600000101010101" pitchFamily="50" charset="-127"/>
              <a:ea typeface="교보서체 Bold" panose="020B0600000101010101" pitchFamily="50" charset="-127"/>
              <a:cs typeface="+mn-cs"/>
            </a:endParaRPr>
          </a:p>
        </p:txBody>
      </p:sp>
      <p:sp>
        <p:nvSpPr>
          <p:cNvPr id="5" name="Rectangle 5"/>
          <p:cNvSpPr>
            <a:spLocks noChangeArrowheads="1"/>
          </p:cNvSpPr>
          <p:nvPr userDrawn="1"/>
        </p:nvSpPr>
        <p:spPr bwMode="auto">
          <a:xfrm>
            <a:off x="5911850" y="42866"/>
            <a:ext cx="4471988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4275" tIns="47139" rIns="94275" bIns="47139"/>
          <a:lstStyle/>
          <a:p>
            <a:pPr marL="0" marR="0" lvl="0" indent="0" algn="r" defTabSz="94335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328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교보서체 Regular"/>
                <a:ea typeface="교보서체 Regular"/>
                <a:cs typeface="+mn-cs"/>
              </a:rPr>
              <a:t>FP </a:t>
            </a:r>
            <a:r>
              <a:rPr kumimoji="0" lang="ko-KR" altLang="en-US" sz="1328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교보서체 Regular"/>
                <a:ea typeface="교보서체 Regular"/>
                <a:cs typeface="+mn-cs"/>
              </a:rPr>
              <a:t>교육용</a:t>
            </a:r>
            <a:endParaRPr kumimoji="0" lang="en-US" altLang="ko-KR" sz="1328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교보서체 Regular"/>
              <a:ea typeface="교보서체 Regular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080201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1" y="4"/>
            <a:ext cx="10387751" cy="7257339"/>
          </a:xfrm>
          <a:prstGeom prst="rect">
            <a:avLst/>
          </a:prstGeom>
        </p:spPr>
      </p:pic>
      <p:sp>
        <p:nvSpPr>
          <p:cNvPr id="8" name="Rectangle 5"/>
          <p:cNvSpPr>
            <a:spLocks noChangeArrowheads="1"/>
          </p:cNvSpPr>
          <p:nvPr userDrawn="1"/>
        </p:nvSpPr>
        <p:spPr bwMode="auto">
          <a:xfrm>
            <a:off x="8770386" y="421797"/>
            <a:ext cx="1417329" cy="251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4275" tIns="47139" rIns="94275" bIns="47139"/>
          <a:lstStyle/>
          <a:p>
            <a:pPr marL="0" marR="0" lvl="0" indent="0" algn="r" defTabSz="94335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28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fld id="{16B1565D-7790-4B20-9C8C-6E71895AF331}" type="slidenum">
              <a:rPr kumimoji="0" lang="ko-KR" altLang="en-US" sz="1328" b="1" i="0" u="none" strike="noStrike" kern="1200" cap="none" spc="0" normalizeH="0" baseline="0" noProof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pPr marL="0" marR="0" lvl="0" indent="0" algn="r" defTabSz="94335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328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60258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33.png"/><Relationship Id="rId5" Type="http://schemas.openxmlformats.org/officeDocument/2006/relationships/theme" Target="../theme/theme10.xml"/><Relationship Id="rId4" Type="http://schemas.openxmlformats.org/officeDocument/2006/relationships/slideLayout" Target="../slideLayouts/slideLayout42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5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6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5" Type="http://schemas.openxmlformats.org/officeDocument/2006/relationships/theme" Target="../theme/theme12.xml"/><Relationship Id="rId4" Type="http://schemas.openxmlformats.org/officeDocument/2006/relationships/slideLayout" Target="../slideLayouts/slideLayout51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4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5" Type="http://schemas.openxmlformats.org/officeDocument/2006/relationships/theme" Target="../theme/theme13.xml"/><Relationship Id="rId4" Type="http://schemas.openxmlformats.org/officeDocument/2006/relationships/slideLayout" Target="../slideLayouts/slideLayout55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5" Type="http://schemas.openxmlformats.org/officeDocument/2006/relationships/theme" Target="../theme/theme14.xml"/><Relationship Id="rId4" Type="http://schemas.openxmlformats.org/officeDocument/2006/relationships/slideLayout" Target="../slideLayouts/slideLayout59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2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5" Type="http://schemas.openxmlformats.org/officeDocument/2006/relationships/theme" Target="../theme/theme15.xml"/><Relationship Id="rId4" Type="http://schemas.openxmlformats.org/officeDocument/2006/relationships/slideLayout" Target="../slideLayouts/slideLayout63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6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5" Type="http://schemas.openxmlformats.org/officeDocument/2006/relationships/theme" Target="../theme/theme16.xml"/><Relationship Id="rId4" Type="http://schemas.openxmlformats.org/officeDocument/2006/relationships/slideLayout" Target="../slideLayouts/slideLayout67.xml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0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6" Type="http://schemas.openxmlformats.org/officeDocument/2006/relationships/image" Target="../media/image16.png"/><Relationship Id="rId5" Type="http://schemas.openxmlformats.org/officeDocument/2006/relationships/image" Target="../media/image51.png"/><Relationship Id="rId4" Type="http://schemas.openxmlformats.org/officeDocument/2006/relationships/theme" Target="../theme/theme17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slideLayout" Target="../slideLayouts/slideLayout73.xml"/><Relationship Id="rId7" Type="http://schemas.openxmlformats.org/officeDocument/2006/relationships/theme" Target="../theme/theme18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5.xml"/><Relationship Id="rId10" Type="http://schemas.openxmlformats.org/officeDocument/2006/relationships/image" Target="../media/image20.png"/><Relationship Id="rId4" Type="http://schemas.openxmlformats.org/officeDocument/2006/relationships/slideLayout" Target="../slideLayouts/slideLayout74.xml"/><Relationship Id="rId9" Type="http://schemas.openxmlformats.org/officeDocument/2006/relationships/image" Target="../media/image16.pn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slideLayout" Target="../slideLayouts/slideLayout79.xml"/><Relationship Id="rId7" Type="http://schemas.openxmlformats.org/officeDocument/2006/relationships/theme" Target="../theme/theme19.xml"/><Relationship Id="rId2" Type="http://schemas.openxmlformats.org/officeDocument/2006/relationships/slideLayout" Target="../slideLayouts/slideLayout78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5" Type="http://schemas.openxmlformats.org/officeDocument/2006/relationships/slideLayout" Target="../slideLayouts/slideLayout81.xml"/><Relationship Id="rId10" Type="http://schemas.openxmlformats.org/officeDocument/2006/relationships/image" Target="../media/image20.png"/><Relationship Id="rId4" Type="http://schemas.openxmlformats.org/officeDocument/2006/relationships/slideLayout" Target="../slideLayouts/slideLayout80.xml"/><Relationship Id="rId9" Type="http://schemas.openxmlformats.org/officeDocument/2006/relationships/image" Target="../media/image16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.png"/><Relationship Id="rId4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5.x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theme" Target="../theme/theme20.xml"/><Relationship Id="rId5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6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theme" Target="../theme/theme21.xml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10" Type="http://schemas.openxmlformats.org/officeDocument/2006/relationships/slideLayout" Target="../slideLayouts/slideLayout97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2.xml"/><Relationship Id="rId3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110.xml"/><Relationship Id="rId2" Type="http://schemas.openxmlformats.org/officeDocument/2006/relationships/slideLayout" Target="../slideLayouts/slideLayout105.xml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5" Type="http://schemas.openxmlformats.org/officeDocument/2006/relationships/slideLayout" Target="../slideLayouts/slideLayout108.xml"/><Relationship Id="rId4" Type="http://schemas.openxmlformats.org/officeDocument/2006/relationships/slideLayout" Target="../slideLayouts/slideLayout107.xml"/></Relationships>
</file>

<file path=ppt/slideMasters/_rels/slideMaster23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227.xml"/><Relationship Id="rId21" Type="http://schemas.openxmlformats.org/officeDocument/2006/relationships/slideLayout" Target="../slideLayouts/slideLayout131.xml"/><Relationship Id="rId42" Type="http://schemas.openxmlformats.org/officeDocument/2006/relationships/slideLayout" Target="../slideLayouts/slideLayout152.xml"/><Relationship Id="rId63" Type="http://schemas.openxmlformats.org/officeDocument/2006/relationships/slideLayout" Target="../slideLayouts/slideLayout173.xml"/><Relationship Id="rId84" Type="http://schemas.openxmlformats.org/officeDocument/2006/relationships/slideLayout" Target="../slideLayouts/slideLayout194.xml"/><Relationship Id="rId138" Type="http://schemas.openxmlformats.org/officeDocument/2006/relationships/slideLayout" Target="../slideLayouts/slideLayout248.xml"/><Relationship Id="rId107" Type="http://schemas.openxmlformats.org/officeDocument/2006/relationships/slideLayout" Target="../slideLayouts/slideLayout217.xml"/><Relationship Id="rId11" Type="http://schemas.openxmlformats.org/officeDocument/2006/relationships/slideLayout" Target="../slideLayouts/slideLayout121.xml"/><Relationship Id="rId32" Type="http://schemas.openxmlformats.org/officeDocument/2006/relationships/slideLayout" Target="../slideLayouts/slideLayout142.xml"/><Relationship Id="rId53" Type="http://schemas.openxmlformats.org/officeDocument/2006/relationships/slideLayout" Target="../slideLayouts/slideLayout163.xml"/><Relationship Id="rId74" Type="http://schemas.openxmlformats.org/officeDocument/2006/relationships/slideLayout" Target="../slideLayouts/slideLayout184.xml"/><Relationship Id="rId128" Type="http://schemas.openxmlformats.org/officeDocument/2006/relationships/slideLayout" Target="../slideLayouts/slideLayout238.xml"/><Relationship Id="rId5" Type="http://schemas.openxmlformats.org/officeDocument/2006/relationships/slideLayout" Target="../slideLayouts/slideLayout115.xml"/><Relationship Id="rId90" Type="http://schemas.openxmlformats.org/officeDocument/2006/relationships/slideLayout" Target="../slideLayouts/slideLayout200.xml"/><Relationship Id="rId95" Type="http://schemas.openxmlformats.org/officeDocument/2006/relationships/slideLayout" Target="../slideLayouts/slideLayout205.xml"/><Relationship Id="rId22" Type="http://schemas.openxmlformats.org/officeDocument/2006/relationships/slideLayout" Target="../slideLayouts/slideLayout132.xml"/><Relationship Id="rId27" Type="http://schemas.openxmlformats.org/officeDocument/2006/relationships/slideLayout" Target="../slideLayouts/slideLayout137.xml"/><Relationship Id="rId43" Type="http://schemas.openxmlformats.org/officeDocument/2006/relationships/slideLayout" Target="../slideLayouts/slideLayout153.xml"/><Relationship Id="rId48" Type="http://schemas.openxmlformats.org/officeDocument/2006/relationships/slideLayout" Target="../slideLayouts/slideLayout158.xml"/><Relationship Id="rId64" Type="http://schemas.openxmlformats.org/officeDocument/2006/relationships/slideLayout" Target="../slideLayouts/slideLayout174.xml"/><Relationship Id="rId69" Type="http://schemas.openxmlformats.org/officeDocument/2006/relationships/slideLayout" Target="../slideLayouts/slideLayout179.xml"/><Relationship Id="rId113" Type="http://schemas.openxmlformats.org/officeDocument/2006/relationships/slideLayout" Target="../slideLayouts/slideLayout223.xml"/><Relationship Id="rId118" Type="http://schemas.openxmlformats.org/officeDocument/2006/relationships/slideLayout" Target="../slideLayouts/slideLayout228.xml"/><Relationship Id="rId134" Type="http://schemas.openxmlformats.org/officeDocument/2006/relationships/slideLayout" Target="../slideLayouts/slideLayout244.xml"/><Relationship Id="rId139" Type="http://schemas.openxmlformats.org/officeDocument/2006/relationships/slideLayout" Target="../slideLayouts/slideLayout249.xml"/><Relationship Id="rId80" Type="http://schemas.openxmlformats.org/officeDocument/2006/relationships/slideLayout" Target="../slideLayouts/slideLayout190.xml"/><Relationship Id="rId85" Type="http://schemas.openxmlformats.org/officeDocument/2006/relationships/slideLayout" Target="../slideLayouts/slideLayout195.xml"/><Relationship Id="rId12" Type="http://schemas.openxmlformats.org/officeDocument/2006/relationships/slideLayout" Target="../slideLayouts/slideLayout122.xml"/><Relationship Id="rId17" Type="http://schemas.openxmlformats.org/officeDocument/2006/relationships/slideLayout" Target="../slideLayouts/slideLayout127.xml"/><Relationship Id="rId33" Type="http://schemas.openxmlformats.org/officeDocument/2006/relationships/slideLayout" Target="../slideLayouts/slideLayout143.xml"/><Relationship Id="rId38" Type="http://schemas.openxmlformats.org/officeDocument/2006/relationships/slideLayout" Target="../slideLayouts/slideLayout148.xml"/><Relationship Id="rId59" Type="http://schemas.openxmlformats.org/officeDocument/2006/relationships/slideLayout" Target="../slideLayouts/slideLayout169.xml"/><Relationship Id="rId103" Type="http://schemas.openxmlformats.org/officeDocument/2006/relationships/slideLayout" Target="../slideLayouts/slideLayout213.xml"/><Relationship Id="rId108" Type="http://schemas.openxmlformats.org/officeDocument/2006/relationships/slideLayout" Target="../slideLayouts/slideLayout218.xml"/><Relationship Id="rId124" Type="http://schemas.openxmlformats.org/officeDocument/2006/relationships/slideLayout" Target="../slideLayouts/slideLayout234.xml"/><Relationship Id="rId129" Type="http://schemas.openxmlformats.org/officeDocument/2006/relationships/slideLayout" Target="../slideLayouts/slideLayout239.xml"/><Relationship Id="rId54" Type="http://schemas.openxmlformats.org/officeDocument/2006/relationships/slideLayout" Target="../slideLayouts/slideLayout164.xml"/><Relationship Id="rId70" Type="http://schemas.openxmlformats.org/officeDocument/2006/relationships/slideLayout" Target="../slideLayouts/slideLayout180.xml"/><Relationship Id="rId75" Type="http://schemas.openxmlformats.org/officeDocument/2006/relationships/slideLayout" Target="../slideLayouts/slideLayout185.xml"/><Relationship Id="rId91" Type="http://schemas.openxmlformats.org/officeDocument/2006/relationships/slideLayout" Target="../slideLayouts/slideLayout201.xml"/><Relationship Id="rId96" Type="http://schemas.openxmlformats.org/officeDocument/2006/relationships/slideLayout" Target="../slideLayouts/slideLayout206.xml"/><Relationship Id="rId140" Type="http://schemas.openxmlformats.org/officeDocument/2006/relationships/slideLayout" Target="../slideLayouts/slideLayout250.xml"/><Relationship Id="rId145" Type="http://schemas.openxmlformats.org/officeDocument/2006/relationships/theme" Target="../theme/theme23.xml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23" Type="http://schemas.openxmlformats.org/officeDocument/2006/relationships/slideLayout" Target="../slideLayouts/slideLayout133.xml"/><Relationship Id="rId28" Type="http://schemas.openxmlformats.org/officeDocument/2006/relationships/slideLayout" Target="../slideLayouts/slideLayout138.xml"/><Relationship Id="rId49" Type="http://schemas.openxmlformats.org/officeDocument/2006/relationships/slideLayout" Target="../slideLayouts/slideLayout159.xml"/><Relationship Id="rId114" Type="http://schemas.openxmlformats.org/officeDocument/2006/relationships/slideLayout" Target="../slideLayouts/slideLayout224.xml"/><Relationship Id="rId119" Type="http://schemas.openxmlformats.org/officeDocument/2006/relationships/slideLayout" Target="../slideLayouts/slideLayout229.xml"/><Relationship Id="rId44" Type="http://schemas.openxmlformats.org/officeDocument/2006/relationships/slideLayout" Target="../slideLayouts/slideLayout154.xml"/><Relationship Id="rId60" Type="http://schemas.openxmlformats.org/officeDocument/2006/relationships/slideLayout" Target="../slideLayouts/slideLayout170.xml"/><Relationship Id="rId65" Type="http://schemas.openxmlformats.org/officeDocument/2006/relationships/slideLayout" Target="../slideLayouts/slideLayout175.xml"/><Relationship Id="rId81" Type="http://schemas.openxmlformats.org/officeDocument/2006/relationships/slideLayout" Target="../slideLayouts/slideLayout191.xml"/><Relationship Id="rId86" Type="http://schemas.openxmlformats.org/officeDocument/2006/relationships/slideLayout" Target="../slideLayouts/slideLayout196.xml"/><Relationship Id="rId130" Type="http://schemas.openxmlformats.org/officeDocument/2006/relationships/slideLayout" Target="../slideLayouts/slideLayout240.xml"/><Relationship Id="rId135" Type="http://schemas.openxmlformats.org/officeDocument/2006/relationships/slideLayout" Target="../slideLayouts/slideLayout245.xml"/><Relationship Id="rId13" Type="http://schemas.openxmlformats.org/officeDocument/2006/relationships/slideLayout" Target="../slideLayouts/slideLayout123.xml"/><Relationship Id="rId18" Type="http://schemas.openxmlformats.org/officeDocument/2006/relationships/slideLayout" Target="../slideLayouts/slideLayout128.xml"/><Relationship Id="rId39" Type="http://schemas.openxmlformats.org/officeDocument/2006/relationships/slideLayout" Target="../slideLayouts/slideLayout149.xml"/><Relationship Id="rId109" Type="http://schemas.openxmlformats.org/officeDocument/2006/relationships/slideLayout" Target="../slideLayouts/slideLayout219.xml"/><Relationship Id="rId34" Type="http://schemas.openxmlformats.org/officeDocument/2006/relationships/slideLayout" Target="../slideLayouts/slideLayout144.xml"/><Relationship Id="rId50" Type="http://schemas.openxmlformats.org/officeDocument/2006/relationships/slideLayout" Target="../slideLayouts/slideLayout160.xml"/><Relationship Id="rId55" Type="http://schemas.openxmlformats.org/officeDocument/2006/relationships/slideLayout" Target="../slideLayouts/slideLayout165.xml"/><Relationship Id="rId76" Type="http://schemas.openxmlformats.org/officeDocument/2006/relationships/slideLayout" Target="../slideLayouts/slideLayout186.xml"/><Relationship Id="rId97" Type="http://schemas.openxmlformats.org/officeDocument/2006/relationships/slideLayout" Target="../slideLayouts/slideLayout207.xml"/><Relationship Id="rId104" Type="http://schemas.openxmlformats.org/officeDocument/2006/relationships/slideLayout" Target="../slideLayouts/slideLayout214.xml"/><Relationship Id="rId120" Type="http://schemas.openxmlformats.org/officeDocument/2006/relationships/slideLayout" Target="../slideLayouts/slideLayout230.xml"/><Relationship Id="rId125" Type="http://schemas.openxmlformats.org/officeDocument/2006/relationships/slideLayout" Target="../slideLayouts/slideLayout235.xml"/><Relationship Id="rId141" Type="http://schemas.openxmlformats.org/officeDocument/2006/relationships/slideLayout" Target="../slideLayouts/slideLayout251.xml"/><Relationship Id="rId146" Type="http://schemas.openxmlformats.org/officeDocument/2006/relationships/image" Target="../media/image39.png"/><Relationship Id="rId7" Type="http://schemas.openxmlformats.org/officeDocument/2006/relationships/slideLayout" Target="../slideLayouts/slideLayout117.xml"/><Relationship Id="rId71" Type="http://schemas.openxmlformats.org/officeDocument/2006/relationships/slideLayout" Target="../slideLayouts/slideLayout181.xml"/><Relationship Id="rId92" Type="http://schemas.openxmlformats.org/officeDocument/2006/relationships/slideLayout" Target="../slideLayouts/slideLayout202.xml"/><Relationship Id="rId2" Type="http://schemas.openxmlformats.org/officeDocument/2006/relationships/slideLayout" Target="../slideLayouts/slideLayout112.xml"/><Relationship Id="rId29" Type="http://schemas.openxmlformats.org/officeDocument/2006/relationships/slideLayout" Target="../slideLayouts/slideLayout139.xml"/><Relationship Id="rId24" Type="http://schemas.openxmlformats.org/officeDocument/2006/relationships/slideLayout" Target="../slideLayouts/slideLayout134.xml"/><Relationship Id="rId40" Type="http://schemas.openxmlformats.org/officeDocument/2006/relationships/slideLayout" Target="../slideLayouts/slideLayout150.xml"/><Relationship Id="rId45" Type="http://schemas.openxmlformats.org/officeDocument/2006/relationships/slideLayout" Target="../slideLayouts/slideLayout155.xml"/><Relationship Id="rId66" Type="http://schemas.openxmlformats.org/officeDocument/2006/relationships/slideLayout" Target="../slideLayouts/slideLayout176.xml"/><Relationship Id="rId87" Type="http://schemas.openxmlformats.org/officeDocument/2006/relationships/slideLayout" Target="../slideLayouts/slideLayout197.xml"/><Relationship Id="rId110" Type="http://schemas.openxmlformats.org/officeDocument/2006/relationships/slideLayout" Target="../slideLayouts/slideLayout220.xml"/><Relationship Id="rId115" Type="http://schemas.openxmlformats.org/officeDocument/2006/relationships/slideLayout" Target="../slideLayouts/slideLayout225.xml"/><Relationship Id="rId131" Type="http://schemas.openxmlformats.org/officeDocument/2006/relationships/slideLayout" Target="../slideLayouts/slideLayout241.xml"/><Relationship Id="rId136" Type="http://schemas.openxmlformats.org/officeDocument/2006/relationships/slideLayout" Target="../slideLayouts/slideLayout246.xml"/><Relationship Id="rId61" Type="http://schemas.openxmlformats.org/officeDocument/2006/relationships/slideLayout" Target="../slideLayouts/slideLayout171.xml"/><Relationship Id="rId82" Type="http://schemas.openxmlformats.org/officeDocument/2006/relationships/slideLayout" Target="../slideLayouts/slideLayout192.xml"/><Relationship Id="rId19" Type="http://schemas.openxmlformats.org/officeDocument/2006/relationships/slideLayout" Target="../slideLayouts/slideLayout129.xml"/><Relationship Id="rId14" Type="http://schemas.openxmlformats.org/officeDocument/2006/relationships/slideLayout" Target="../slideLayouts/slideLayout124.xml"/><Relationship Id="rId30" Type="http://schemas.openxmlformats.org/officeDocument/2006/relationships/slideLayout" Target="../slideLayouts/slideLayout140.xml"/><Relationship Id="rId35" Type="http://schemas.openxmlformats.org/officeDocument/2006/relationships/slideLayout" Target="../slideLayouts/slideLayout145.xml"/><Relationship Id="rId56" Type="http://schemas.openxmlformats.org/officeDocument/2006/relationships/slideLayout" Target="../slideLayouts/slideLayout166.xml"/><Relationship Id="rId77" Type="http://schemas.openxmlformats.org/officeDocument/2006/relationships/slideLayout" Target="../slideLayouts/slideLayout187.xml"/><Relationship Id="rId100" Type="http://schemas.openxmlformats.org/officeDocument/2006/relationships/slideLayout" Target="../slideLayouts/slideLayout210.xml"/><Relationship Id="rId105" Type="http://schemas.openxmlformats.org/officeDocument/2006/relationships/slideLayout" Target="../slideLayouts/slideLayout215.xml"/><Relationship Id="rId126" Type="http://schemas.openxmlformats.org/officeDocument/2006/relationships/slideLayout" Target="../slideLayouts/slideLayout236.xml"/><Relationship Id="rId147" Type="http://schemas.openxmlformats.org/officeDocument/2006/relationships/hyperlink" Target="http://www.google.co.kr/url?sa=i&amp;rct=j&amp;q=&amp;esrc=s&amp;source=images&amp;cd=&amp;cad=rja&amp;uact=8&amp;ved=0ahUKEwjM2oOEod3UAhUFkZQKHUMlDawQjRwIBw&amp;url=http://vonzereader.blogspot.com/2016/12/top-ten-new-to-me-authors-i-read-for.html&amp;psig=AFQjCNHnwllXhVTnsCqlw2Ttcg3ZIr4JYA&amp;ust=1498626531161772" TargetMode="External"/><Relationship Id="rId8" Type="http://schemas.openxmlformats.org/officeDocument/2006/relationships/slideLayout" Target="../slideLayouts/slideLayout118.xml"/><Relationship Id="rId51" Type="http://schemas.openxmlformats.org/officeDocument/2006/relationships/slideLayout" Target="../slideLayouts/slideLayout161.xml"/><Relationship Id="rId72" Type="http://schemas.openxmlformats.org/officeDocument/2006/relationships/slideLayout" Target="../slideLayouts/slideLayout182.xml"/><Relationship Id="rId93" Type="http://schemas.openxmlformats.org/officeDocument/2006/relationships/slideLayout" Target="../slideLayouts/slideLayout203.xml"/><Relationship Id="rId98" Type="http://schemas.openxmlformats.org/officeDocument/2006/relationships/slideLayout" Target="../slideLayouts/slideLayout208.xml"/><Relationship Id="rId121" Type="http://schemas.openxmlformats.org/officeDocument/2006/relationships/slideLayout" Target="../slideLayouts/slideLayout231.xml"/><Relationship Id="rId142" Type="http://schemas.openxmlformats.org/officeDocument/2006/relationships/slideLayout" Target="../slideLayouts/slideLayout252.xml"/><Relationship Id="rId3" Type="http://schemas.openxmlformats.org/officeDocument/2006/relationships/slideLayout" Target="../slideLayouts/slideLayout113.xml"/><Relationship Id="rId25" Type="http://schemas.openxmlformats.org/officeDocument/2006/relationships/slideLayout" Target="../slideLayouts/slideLayout135.xml"/><Relationship Id="rId46" Type="http://schemas.openxmlformats.org/officeDocument/2006/relationships/slideLayout" Target="../slideLayouts/slideLayout156.xml"/><Relationship Id="rId67" Type="http://schemas.openxmlformats.org/officeDocument/2006/relationships/slideLayout" Target="../slideLayouts/slideLayout177.xml"/><Relationship Id="rId116" Type="http://schemas.openxmlformats.org/officeDocument/2006/relationships/slideLayout" Target="../slideLayouts/slideLayout226.xml"/><Relationship Id="rId137" Type="http://schemas.openxmlformats.org/officeDocument/2006/relationships/slideLayout" Target="../slideLayouts/slideLayout247.xml"/><Relationship Id="rId20" Type="http://schemas.openxmlformats.org/officeDocument/2006/relationships/slideLayout" Target="../slideLayouts/slideLayout130.xml"/><Relationship Id="rId41" Type="http://schemas.openxmlformats.org/officeDocument/2006/relationships/slideLayout" Target="../slideLayouts/slideLayout151.xml"/><Relationship Id="rId62" Type="http://schemas.openxmlformats.org/officeDocument/2006/relationships/slideLayout" Target="../slideLayouts/slideLayout172.xml"/><Relationship Id="rId83" Type="http://schemas.openxmlformats.org/officeDocument/2006/relationships/slideLayout" Target="../slideLayouts/slideLayout193.xml"/><Relationship Id="rId88" Type="http://schemas.openxmlformats.org/officeDocument/2006/relationships/slideLayout" Target="../slideLayouts/slideLayout198.xml"/><Relationship Id="rId111" Type="http://schemas.openxmlformats.org/officeDocument/2006/relationships/slideLayout" Target="../slideLayouts/slideLayout221.xml"/><Relationship Id="rId132" Type="http://schemas.openxmlformats.org/officeDocument/2006/relationships/slideLayout" Target="../slideLayouts/slideLayout242.xml"/><Relationship Id="rId15" Type="http://schemas.openxmlformats.org/officeDocument/2006/relationships/slideLayout" Target="../slideLayouts/slideLayout125.xml"/><Relationship Id="rId36" Type="http://schemas.openxmlformats.org/officeDocument/2006/relationships/slideLayout" Target="../slideLayouts/slideLayout146.xml"/><Relationship Id="rId57" Type="http://schemas.openxmlformats.org/officeDocument/2006/relationships/slideLayout" Target="../slideLayouts/slideLayout167.xml"/><Relationship Id="rId106" Type="http://schemas.openxmlformats.org/officeDocument/2006/relationships/slideLayout" Target="../slideLayouts/slideLayout216.xml"/><Relationship Id="rId127" Type="http://schemas.openxmlformats.org/officeDocument/2006/relationships/slideLayout" Target="../slideLayouts/slideLayout237.xml"/><Relationship Id="rId10" Type="http://schemas.openxmlformats.org/officeDocument/2006/relationships/slideLayout" Target="../slideLayouts/slideLayout120.xml"/><Relationship Id="rId31" Type="http://schemas.openxmlformats.org/officeDocument/2006/relationships/slideLayout" Target="../slideLayouts/slideLayout141.xml"/><Relationship Id="rId52" Type="http://schemas.openxmlformats.org/officeDocument/2006/relationships/slideLayout" Target="../slideLayouts/slideLayout162.xml"/><Relationship Id="rId73" Type="http://schemas.openxmlformats.org/officeDocument/2006/relationships/slideLayout" Target="../slideLayouts/slideLayout183.xml"/><Relationship Id="rId78" Type="http://schemas.openxmlformats.org/officeDocument/2006/relationships/slideLayout" Target="../slideLayouts/slideLayout188.xml"/><Relationship Id="rId94" Type="http://schemas.openxmlformats.org/officeDocument/2006/relationships/slideLayout" Target="../slideLayouts/slideLayout204.xml"/><Relationship Id="rId99" Type="http://schemas.openxmlformats.org/officeDocument/2006/relationships/slideLayout" Target="../slideLayouts/slideLayout209.xml"/><Relationship Id="rId101" Type="http://schemas.openxmlformats.org/officeDocument/2006/relationships/slideLayout" Target="../slideLayouts/slideLayout211.xml"/><Relationship Id="rId122" Type="http://schemas.openxmlformats.org/officeDocument/2006/relationships/slideLayout" Target="../slideLayouts/slideLayout232.xml"/><Relationship Id="rId143" Type="http://schemas.openxmlformats.org/officeDocument/2006/relationships/slideLayout" Target="../slideLayouts/slideLayout253.xml"/><Relationship Id="rId148" Type="http://schemas.openxmlformats.org/officeDocument/2006/relationships/image" Target="../media/image66.png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Relationship Id="rId26" Type="http://schemas.openxmlformats.org/officeDocument/2006/relationships/slideLayout" Target="../slideLayouts/slideLayout136.xml"/><Relationship Id="rId47" Type="http://schemas.openxmlformats.org/officeDocument/2006/relationships/slideLayout" Target="../slideLayouts/slideLayout157.xml"/><Relationship Id="rId68" Type="http://schemas.openxmlformats.org/officeDocument/2006/relationships/slideLayout" Target="../slideLayouts/slideLayout178.xml"/><Relationship Id="rId89" Type="http://schemas.openxmlformats.org/officeDocument/2006/relationships/slideLayout" Target="../slideLayouts/slideLayout199.xml"/><Relationship Id="rId112" Type="http://schemas.openxmlformats.org/officeDocument/2006/relationships/slideLayout" Target="../slideLayouts/slideLayout222.xml"/><Relationship Id="rId133" Type="http://schemas.openxmlformats.org/officeDocument/2006/relationships/slideLayout" Target="../slideLayouts/slideLayout243.xml"/><Relationship Id="rId16" Type="http://schemas.openxmlformats.org/officeDocument/2006/relationships/slideLayout" Target="../slideLayouts/slideLayout126.xml"/><Relationship Id="rId37" Type="http://schemas.openxmlformats.org/officeDocument/2006/relationships/slideLayout" Target="../slideLayouts/slideLayout147.xml"/><Relationship Id="rId58" Type="http://schemas.openxmlformats.org/officeDocument/2006/relationships/slideLayout" Target="../slideLayouts/slideLayout168.xml"/><Relationship Id="rId79" Type="http://schemas.openxmlformats.org/officeDocument/2006/relationships/slideLayout" Target="../slideLayouts/slideLayout189.xml"/><Relationship Id="rId102" Type="http://schemas.openxmlformats.org/officeDocument/2006/relationships/slideLayout" Target="../slideLayouts/slideLayout212.xml"/><Relationship Id="rId123" Type="http://schemas.openxmlformats.org/officeDocument/2006/relationships/slideLayout" Target="../slideLayouts/slideLayout233.xml"/><Relationship Id="rId144" Type="http://schemas.openxmlformats.org/officeDocument/2006/relationships/slideLayout" Target="../slideLayouts/slideLayout254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2.xml"/><Relationship Id="rId3" Type="http://schemas.openxmlformats.org/officeDocument/2006/relationships/slideLayout" Target="../slideLayouts/slideLayout257.xml"/><Relationship Id="rId7" Type="http://schemas.openxmlformats.org/officeDocument/2006/relationships/slideLayout" Target="../slideLayouts/slideLayout261.xml"/><Relationship Id="rId2" Type="http://schemas.openxmlformats.org/officeDocument/2006/relationships/slideLayout" Target="../slideLayouts/slideLayout256.xml"/><Relationship Id="rId1" Type="http://schemas.openxmlformats.org/officeDocument/2006/relationships/slideLayout" Target="../slideLayouts/slideLayout255.xml"/><Relationship Id="rId6" Type="http://schemas.openxmlformats.org/officeDocument/2006/relationships/slideLayout" Target="../slideLayouts/slideLayout260.xml"/><Relationship Id="rId5" Type="http://schemas.openxmlformats.org/officeDocument/2006/relationships/slideLayout" Target="../slideLayouts/slideLayout259.xml"/><Relationship Id="rId10" Type="http://schemas.openxmlformats.org/officeDocument/2006/relationships/image" Target="../media/image33.png"/><Relationship Id="rId4" Type="http://schemas.openxmlformats.org/officeDocument/2006/relationships/slideLayout" Target="../slideLayouts/slideLayout258.xml"/><Relationship Id="rId9" Type="http://schemas.openxmlformats.org/officeDocument/2006/relationships/theme" Target="../theme/theme24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3" Type="http://schemas.openxmlformats.org/officeDocument/2006/relationships/slideLayout" Target="../slideLayouts/slideLayout265.xml"/><Relationship Id="rId7" Type="http://schemas.openxmlformats.org/officeDocument/2006/relationships/theme" Target="../theme/theme25.xml"/><Relationship Id="rId2" Type="http://schemas.openxmlformats.org/officeDocument/2006/relationships/slideLayout" Target="../slideLayouts/slideLayout264.xml"/><Relationship Id="rId1" Type="http://schemas.openxmlformats.org/officeDocument/2006/relationships/slideLayout" Target="../slideLayouts/slideLayout263.xml"/><Relationship Id="rId6" Type="http://schemas.openxmlformats.org/officeDocument/2006/relationships/slideLayout" Target="../slideLayouts/slideLayout268.xml"/><Relationship Id="rId5" Type="http://schemas.openxmlformats.org/officeDocument/2006/relationships/slideLayout" Target="../slideLayouts/slideLayout267.xml"/><Relationship Id="rId4" Type="http://schemas.openxmlformats.org/officeDocument/2006/relationships/slideLayout" Target="../slideLayouts/slideLayout266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theme" Target="../theme/theme26.xml"/><Relationship Id="rId3" Type="http://schemas.openxmlformats.org/officeDocument/2006/relationships/slideLayout" Target="../slideLayouts/slideLayout271.xml"/><Relationship Id="rId7" Type="http://schemas.openxmlformats.org/officeDocument/2006/relationships/slideLayout" Target="../slideLayouts/slideLayout275.xml"/><Relationship Id="rId2" Type="http://schemas.openxmlformats.org/officeDocument/2006/relationships/slideLayout" Target="../slideLayouts/slideLayout270.xml"/><Relationship Id="rId1" Type="http://schemas.openxmlformats.org/officeDocument/2006/relationships/slideLayout" Target="../slideLayouts/slideLayout269.xml"/><Relationship Id="rId6" Type="http://schemas.openxmlformats.org/officeDocument/2006/relationships/slideLayout" Target="../slideLayouts/slideLayout274.xml"/><Relationship Id="rId5" Type="http://schemas.openxmlformats.org/officeDocument/2006/relationships/slideLayout" Target="../slideLayouts/slideLayout273.xml"/><Relationship Id="rId4" Type="http://schemas.openxmlformats.org/officeDocument/2006/relationships/slideLayout" Target="../slideLayouts/slideLayout272.xml"/></Relationships>
</file>

<file path=ppt/slideMasters/_rels/slideMaster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8.xml"/><Relationship Id="rId2" Type="http://schemas.openxmlformats.org/officeDocument/2006/relationships/slideLayout" Target="../slideLayouts/slideLayout277.xml"/><Relationship Id="rId1" Type="http://schemas.openxmlformats.org/officeDocument/2006/relationships/slideLayout" Target="../slideLayouts/slideLayout276.xml"/><Relationship Id="rId6" Type="http://schemas.openxmlformats.org/officeDocument/2006/relationships/image" Target="../media/image91.png"/><Relationship Id="rId5" Type="http://schemas.openxmlformats.org/officeDocument/2006/relationships/theme" Target="../theme/theme27.xml"/><Relationship Id="rId4" Type="http://schemas.openxmlformats.org/officeDocument/2006/relationships/slideLayout" Target="../slideLayouts/slideLayout279.xml"/></Relationships>
</file>

<file path=ppt/slideMasters/_rels/slideMaster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2.xml"/><Relationship Id="rId2" Type="http://schemas.openxmlformats.org/officeDocument/2006/relationships/slideLayout" Target="../slideLayouts/slideLayout281.xml"/><Relationship Id="rId1" Type="http://schemas.openxmlformats.org/officeDocument/2006/relationships/slideLayout" Target="../slideLayouts/slideLayout280.xml"/><Relationship Id="rId6" Type="http://schemas.openxmlformats.org/officeDocument/2006/relationships/image" Target="../media/image91.png"/><Relationship Id="rId5" Type="http://schemas.openxmlformats.org/officeDocument/2006/relationships/theme" Target="../theme/theme28.xml"/><Relationship Id="rId4" Type="http://schemas.openxmlformats.org/officeDocument/2006/relationships/slideLayout" Target="../slideLayouts/slideLayout283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1.xml"/><Relationship Id="rId3" Type="http://schemas.openxmlformats.org/officeDocument/2006/relationships/slideLayout" Target="../slideLayouts/slideLayout286.xml"/><Relationship Id="rId7" Type="http://schemas.openxmlformats.org/officeDocument/2006/relationships/slideLayout" Target="../slideLayouts/slideLayout290.xml"/><Relationship Id="rId2" Type="http://schemas.openxmlformats.org/officeDocument/2006/relationships/slideLayout" Target="../slideLayouts/slideLayout285.xml"/><Relationship Id="rId1" Type="http://schemas.openxmlformats.org/officeDocument/2006/relationships/slideLayout" Target="../slideLayouts/slideLayout284.xml"/><Relationship Id="rId6" Type="http://schemas.openxmlformats.org/officeDocument/2006/relationships/slideLayout" Target="../slideLayouts/slideLayout289.xml"/><Relationship Id="rId5" Type="http://schemas.openxmlformats.org/officeDocument/2006/relationships/slideLayout" Target="../slideLayouts/slideLayout288.xml"/><Relationship Id="rId10" Type="http://schemas.openxmlformats.org/officeDocument/2006/relationships/image" Target="../media/image91.png"/><Relationship Id="rId4" Type="http://schemas.openxmlformats.org/officeDocument/2006/relationships/slideLayout" Target="../slideLayouts/slideLayout287.xml"/><Relationship Id="rId9" Type="http://schemas.openxmlformats.org/officeDocument/2006/relationships/theme" Target="../theme/theme29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.pn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6.x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png"/><Relationship Id="rId3" Type="http://schemas.openxmlformats.org/officeDocument/2006/relationships/slideLayout" Target="../slideLayouts/slideLayout294.xml"/><Relationship Id="rId7" Type="http://schemas.openxmlformats.org/officeDocument/2006/relationships/theme" Target="../theme/theme30.xml"/><Relationship Id="rId2" Type="http://schemas.openxmlformats.org/officeDocument/2006/relationships/slideLayout" Target="../slideLayouts/slideLayout293.xml"/><Relationship Id="rId1" Type="http://schemas.openxmlformats.org/officeDocument/2006/relationships/slideLayout" Target="../slideLayouts/slideLayout292.xml"/><Relationship Id="rId6" Type="http://schemas.openxmlformats.org/officeDocument/2006/relationships/slideLayout" Target="../slideLayouts/slideLayout297.xml"/><Relationship Id="rId5" Type="http://schemas.openxmlformats.org/officeDocument/2006/relationships/slideLayout" Target="../slideLayouts/slideLayout296.xml"/><Relationship Id="rId4" Type="http://schemas.openxmlformats.org/officeDocument/2006/relationships/slideLayout" Target="../slideLayouts/slideLayout295.xml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5.xml"/><Relationship Id="rId3" Type="http://schemas.openxmlformats.org/officeDocument/2006/relationships/slideLayout" Target="../slideLayouts/slideLayout300.xml"/><Relationship Id="rId7" Type="http://schemas.openxmlformats.org/officeDocument/2006/relationships/slideLayout" Target="../slideLayouts/slideLayout304.xml"/><Relationship Id="rId2" Type="http://schemas.openxmlformats.org/officeDocument/2006/relationships/slideLayout" Target="../slideLayouts/slideLayout299.xml"/><Relationship Id="rId1" Type="http://schemas.openxmlformats.org/officeDocument/2006/relationships/slideLayout" Target="../slideLayouts/slideLayout298.xml"/><Relationship Id="rId6" Type="http://schemas.openxmlformats.org/officeDocument/2006/relationships/slideLayout" Target="../slideLayouts/slideLayout303.xml"/><Relationship Id="rId5" Type="http://schemas.openxmlformats.org/officeDocument/2006/relationships/slideLayout" Target="../slideLayouts/slideLayout302.xml"/><Relationship Id="rId10" Type="http://schemas.openxmlformats.org/officeDocument/2006/relationships/image" Target="../media/image91.png"/><Relationship Id="rId4" Type="http://schemas.openxmlformats.org/officeDocument/2006/relationships/slideLayout" Target="../slideLayouts/slideLayout301.xml"/><Relationship Id="rId9" Type="http://schemas.openxmlformats.org/officeDocument/2006/relationships/theme" Target="../theme/theme31.xml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3.xml"/><Relationship Id="rId3" Type="http://schemas.openxmlformats.org/officeDocument/2006/relationships/slideLayout" Target="../slideLayouts/slideLayout308.xml"/><Relationship Id="rId7" Type="http://schemas.openxmlformats.org/officeDocument/2006/relationships/slideLayout" Target="../slideLayouts/slideLayout312.xml"/><Relationship Id="rId2" Type="http://schemas.openxmlformats.org/officeDocument/2006/relationships/slideLayout" Target="../slideLayouts/slideLayout307.xml"/><Relationship Id="rId1" Type="http://schemas.openxmlformats.org/officeDocument/2006/relationships/slideLayout" Target="../slideLayouts/slideLayout306.xml"/><Relationship Id="rId6" Type="http://schemas.openxmlformats.org/officeDocument/2006/relationships/slideLayout" Target="../slideLayouts/slideLayout311.xml"/><Relationship Id="rId5" Type="http://schemas.openxmlformats.org/officeDocument/2006/relationships/slideLayout" Target="../slideLayouts/slideLayout310.xml"/><Relationship Id="rId4" Type="http://schemas.openxmlformats.org/officeDocument/2006/relationships/slideLayout" Target="../slideLayouts/slideLayout309.xml"/><Relationship Id="rId9" Type="http://schemas.openxmlformats.org/officeDocument/2006/relationships/theme" Target="../theme/theme32.xml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1.xml"/><Relationship Id="rId3" Type="http://schemas.openxmlformats.org/officeDocument/2006/relationships/slideLayout" Target="../slideLayouts/slideLayout316.xml"/><Relationship Id="rId7" Type="http://schemas.openxmlformats.org/officeDocument/2006/relationships/slideLayout" Target="../slideLayouts/slideLayout320.xml"/><Relationship Id="rId2" Type="http://schemas.openxmlformats.org/officeDocument/2006/relationships/slideLayout" Target="../slideLayouts/slideLayout315.xml"/><Relationship Id="rId1" Type="http://schemas.openxmlformats.org/officeDocument/2006/relationships/slideLayout" Target="../slideLayouts/slideLayout314.xml"/><Relationship Id="rId6" Type="http://schemas.openxmlformats.org/officeDocument/2006/relationships/slideLayout" Target="../slideLayouts/slideLayout319.xml"/><Relationship Id="rId5" Type="http://schemas.openxmlformats.org/officeDocument/2006/relationships/slideLayout" Target="../slideLayouts/slideLayout318.xml"/><Relationship Id="rId4" Type="http://schemas.openxmlformats.org/officeDocument/2006/relationships/slideLayout" Target="../slideLayouts/slideLayout317.xml"/><Relationship Id="rId9" Type="http://schemas.openxmlformats.org/officeDocument/2006/relationships/theme" Target="../theme/theme33.xml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theme" Target="../theme/theme34.xml"/><Relationship Id="rId3" Type="http://schemas.openxmlformats.org/officeDocument/2006/relationships/slideLayout" Target="../slideLayouts/slideLayout324.xml"/><Relationship Id="rId7" Type="http://schemas.openxmlformats.org/officeDocument/2006/relationships/slideLayout" Target="../slideLayouts/slideLayout328.xml"/><Relationship Id="rId2" Type="http://schemas.openxmlformats.org/officeDocument/2006/relationships/slideLayout" Target="../slideLayouts/slideLayout323.xml"/><Relationship Id="rId1" Type="http://schemas.openxmlformats.org/officeDocument/2006/relationships/slideLayout" Target="../slideLayouts/slideLayout322.xml"/><Relationship Id="rId6" Type="http://schemas.openxmlformats.org/officeDocument/2006/relationships/slideLayout" Target="../slideLayouts/slideLayout327.xml"/><Relationship Id="rId5" Type="http://schemas.openxmlformats.org/officeDocument/2006/relationships/slideLayout" Target="../slideLayouts/slideLayout326.xml"/><Relationship Id="rId4" Type="http://schemas.openxmlformats.org/officeDocument/2006/relationships/slideLayout" Target="../slideLayouts/slideLayout325.xml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theme" Target="../theme/theme35.xml"/><Relationship Id="rId3" Type="http://schemas.openxmlformats.org/officeDocument/2006/relationships/slideLayout" Target="../slideLayouts/slideLayout331.xml"/><Relationship Id="rId7" Type="http://schemas.openxmlformats.org/officeDocument/2006/relationships/slideLayout" Target="../slideLayouts/slideLayout335.xml"/><Relationship Id="rId2" Type="http://schemas.openxmlformats.org/officeDocument/2006/relationships/slideLayout" Target="../slideLayouts/slideLayout330.xml"/><Relationship Id="rId1" Type="http://schemas.openxmlformats.org/officeDocument/2006/relationships/slideLayout" Target="../slideLayouts/slideLayout329.xml"/><Relationship Id="rId6" Type="http://schemas.openxmlformats.org/officeDocument/2006/relationships/slideLayout" Target="../slideLayouts/slideLayout334.xml"/><Relationship Id="rId5" Type="http://schemas.openxmlformats.org/officeDocument/2006/relationships/slideLayout" Target="../slideLayouts/slideLayout333.xml"/><Relationship Id="rId4" Type="http://schemas.openxmlformats.org/officeDocument/2006/relationships/slideLayout" Target="../slideLayouts/slideLayout332.xml"/></Relationships>
</file>

<file path=ppt/slideMasters/_rels/slideMaster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8.xml"/><Relationship Id="rId2" Type="http://schemas.openxmlformats.org/officeDocument/2006/relationships/slideLayout" Target="../slideLayouts/slideLayout337.xml"/><Relationship Id="rId1" Type="http://schemas.openxmlformats.org/officeDocument/2006/relationships/slideLayout" Target="../slideLayouts/slideLayout336.xml"/><Relationship Id="rId5" Type="http://schemas.openxmlformats.org/officeDocument/2006/relationships/image" Target="../media/image33.png"/><Relationship Id="rId4" Type="http://schemas.openxmlformats.org/officeDocument/2006/relationships/theme" Target="../theme/theme36.xml"/></Relationships>
</file>

<file path=ppt/slideMasters/_rels/slideMaster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1.xml"/><Relationship Id="rId2" Type="http://schemas.openxmlformats.org/officeDocument/2006/relationships/slideLayout" Target="../slideLayouts/slideLayout340.xml"/><Relationship Id="rId1" Type="http://schemas.openxmlformats.org/officeDocument/2006/relationships/slideLayout" Target="../slideLayouts/slideLayout339.xml"/><Relationship Id="rId5" Type="http://schemas.openxmlformats.org/officeDocument/2006/relationships/image" Target="../media/image33.png"/><Relationship Id="rId4" Type="http://schemas.openxmlformats.org/officeDocument/2006/relationships/theme" Target="../theme/theme37.xml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9.xml"/><Relationship Id="rId3" Type="http://schemas.openxmlformats.org/officeDocument/2006/relationships/slideLayout" Target="../slideLayouts/slideLayout344.xml"/><Relationship Id="rId7" Type="http://schemas.openxmlformats.org/officeDocument/2006/relationships/slideLayout" Target="../slideLayouts/slideLayout348.xml"/><Relationship Id="rId2" Type="http://schemas.openxmlformats.org/officeDocument/2006/relationships/slideLayout" Target="../slideLayouts/slideLayout343.xml"/><Relationship Id="rId1" Type="http://schemas.openxmlformats.org/officeDocument/2006/relationships/slideLayout" Target="../slideLayouts/slideLayout342.xml"/><Relationship Id="rId6" Type="http://schemas.openxmlformats.org/officeDocument/2006/relationships/slideLayout" Target="../slideLayouts/slideLayout347.xml"/><Relationship Id="rId5" Type="http://schemas.openxmlformats.org/officeDocument/2006/relationships/slideLayout" Target="../slideLayouts/slideLayout346.xml"/><Relationship Id="rId10" Type="http://schemas.openxmlformats.org/officeDocument/2006/relationships/image" Target="../media/image91.png"/><Relationship Id="rId4" Type="http://schemas.openxmlformats.org/officeDocument/2006/relationships/slideLayout" Target="../slideLayouts/slideLayout345.xml"/><Relationship Id="rId9" Type="http://schemas.openxmlformats.org/officeDocument/2006/relationships/theme" Target="../theme/theme38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1.png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20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6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6.png"/><Relationship Id="rId5" Type="http://schemas.openxmlformats.org/officeDocument/2006/relationships/image" Target="../media/image19.jpeg"/><Relationship Id="rId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9.jpeg"/><Relationship Id="rId5" Type="http://schemas.openxmlformats.org/officeDocument/2006/relationships/theme" Target="../theme/theme8.xml"/><Relationship Id="rId4" Type="http://schemas.openxmlformats.org/officeDocument/2006/relationships/slideLayout" Target="../slideLayouts/slideLayout2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5" Type="http://schemas.openxmlformats.org/officeDocument/2006/relationships/slideLayout" Target="../slideLayouts/slideLayout34.xml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" y="680"/>
            <a:ext cx="10387752" cy="7060395"/>
          </a:xfrm>
          <a:prstGeom prst="rect">
            <a:avLst/>
          </a:prstGeom>
        </p:spPr>
      </p:pic>
      <p:sp>
        <p:nvSpPr>
          <p:cNvPr id="7" name="슬라이드 번호 개체 틀 2"/>
          <p:cNvSpPr txBox="1">
            <a:spLocks/>
          </p:cNvSpPr>
          <p:nvPr userDrawn="1"/>
        </p:nvSpPr>
        <p:spPr>
          <a:xfrm>
            <a:off x="9691481" y="6967999"/>
            <a:ext cx="631527" cy="322319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91202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0" lang="en-US" altLang="ko-KR" sz="1200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912025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  <p:sp>
        <p:nvSpPr>
          <p:cNvPr id="8" name="직사각형 7"/>
          <p:cNvSpPr/>
          <p:nvPr userDrawn="1"/>
        </p:nvSpPr>
        <p:spPr>
          <a:xfrm>
            <a:off x="9079046" y="29012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algn="ctr"/>
            <a:r>
              <a:rPr lang="ko-KR" altLang="en-US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사내교육용</a:t>
            </a:r>
            <a:r>
              <a:rPr lang="en-US" altLang="ko-KR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(</a:t>
            </a:r>
            <a:r>
              <a:rPr lang="ko-KR" altLang="en-US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대외비</a:t>
            </a:r>
            <a:r>
              <a:rPr lang="en-US" altLang="ko-KR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)</a:t>
            </a:r>
            <a:r>
              <a:rPr lang="ko-KR" altLang="en-US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1" r:id="rId3"/>
    <p:sldLayoutId id="2147484074" r:id="rId4"/>
    <p:sldLayoutId id="2147484070" r:id="rId5"/>
    <p:sldLayoutId id="2147484071" r:id="rId6"/>
    <p:sldLayoutId id="2147484072" r:id="rId7"/>
    <p:sldLayoutId id="2147484075" r:id="rId8"/>
    <p:sldLayoutId id="2147484137" r:id="rId9"/>
  </p:sldLayoutIdLst>
  <p:hf hdr="0" ftr="0" dt="0"/>
  <p:txStyles>
    <p:titleStyle>
      <a:lvl1pPr algn="ctr" defTabSz="871284" rtl="0" eaLnBrk="1" latinLnBrk="1" hangingPunct="1">
        <a:spcBef>
          <a:spcPct val="0"/>
        </a:spcBef>
        <a:buNone/>
        <a:defRPr sz="4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6732" indent="-326732" algn="l" defTabSz="871284" rtl="0" eaLnBrk="1" latinLnBrk="1" hangingPunct="1">
        <a:spcBef>
          <a:spcPct val="20000"/>
        </a:spcBef>
        <a:buFont typeface="Arial" pitchFamily="34" charset="0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1pPr>
      <a:lvl2pPr marL="707922" indent="-272276" algn="l" defTabSz="871284" rtl="0" eaLnBrk="1" latinLnBrk="1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89106" indent="-217821" algn="l" defTabSz="871284" rtl="0" eaLnBrk="1" latinLnBrk="1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524750" indent="-217821" algn="l" defTabSz="871284" rtl="0" eaLnBrk="1" latinLnBrk="1" hangingPunct="1">
        <a:spcBef>
          <a:spcPct val="20000"/>
        </a:spcBef>
        <a:buFont typeface="Arial" pitchFamily="34" charset="0"/>
        <a:buChar char="–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60390" indent="-217821" algn="l" defTabSz="871284" rtl="0" eaLnBrk="1" latinLnBrk="1" hangingPunct="1">
        <a:spcBef>
          <a:spcPct val="20000"/>
        </a:spcBef>
        <a:buFont typeface="Arial" pitchFamily="34" charset="0"/>
        <a:buChar char="»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6034" indent="-217821" algn="l" defTabSz="871284" rtl="0" eaLnBrk="1" latinLnBrk="1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31676" indent="-217821" algn="l" defTabSz="871284" rtl="0" eaLnBrk="1" latinLnBrk="1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67316" indent="-217821" algn="l" defTabSz="871284" rtl="0" eaLnBrk="1" latinLnBrk="1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702963" indent="-217821" algn="l" defTabSz="871284" rtl="0" eaLnBrk="1" latinLnBrk="1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871284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35643" algn="l" defTabSz="871284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71284" algn="l" defTabSz="871284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06928" algn="l" defTabSz="871284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42569" algn="l" defTabSz="871284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178212" algn="l" defTabSz="871284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13856" algn="l" defTabSz="871284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49498" algn="l" defTabSz="871284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85142" algn="l" defTabSz="871284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519198" y="290531"/>
            <a:ext cx="9345454" cy="1209146"/>
          </a:xfrm>
          <a:prstGeom prst="rect">
            <a:avLst/>
          </a:prstGeom>
        </p:spPr>
        <p:txBody>
          <a:bodyPr vert="horz" lIns="91430" tIns="45715" rIns="91430" bIns="45715" rtlCol="0" anchor="ctr">
            <a:normAutofit/>
          </a:bodyPr>
          <a:lstStyle/>
          <a:p>
            <a:r>
              <a:rPr lang="ko-KR" altLang="en-US" dirty="0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519198" y="1692809"/>
            <a:ext cx="9345454" cy="4787882"/>
          </a:xfrm>
          <a:prstGeom prst="rect">
            <a:avLst/>
          </a:prstGeom>
        </p:spPr>
        <p:txBody>
          <a:bodyPr vert="horz" lIns="91430" tIns="45715" rIns="91430" bIns="45715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519192" y="6724587"/>
            <a:ext cx="2422896" cy="386255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l">
              <a:defRPr sz="126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67233"/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547822" y="6724587"/>
            <a:ext cx="3288214" cy="386255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ctr">
              <a:defRPr sz="126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67233"/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7441750" y="6724587"/>
            <a:ext cx="2422896" cy="386255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r">
              <a:defRPr sz="126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67233"/>
            <a:fld id="{2747D207-944B-4363-884F-A02296F6E65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 defTabSz="967233"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그림 6"/>
          <p:cNvPicPr>
            <a:picLocks noChangeAspect="1"/>
          </p:cNvPicPr>
          <p:nvPr userDrawn="1"/>
        </p:nvPicPr>
        <p:blipFill>
          <a:blip r:embed="rId6" cstate="email"/>
          <a:stretch>
            <a:fillRect/>
          </a:stretch>
        </p:blipFill>
        <p:spPr>
          <a:xfrm>
            <a:off x="766" y="673"/>
            <a:ext cx="10382305" cy="7253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2702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5" r:id="rId4"/>
  </p:sldLayoutIdLst>
  <p:hf hdr="0" ftr="0" dt="0"/>
  <p:txStyles>
    <p:titleStyle>
      <a:lvl1pPr algn="ctr" defTabSz="967233" rtl="0" eaLnBrk="1" latinLnBrk="1" hangingPunct="1">
        <a:spcBef>
          <a:spcPct val="0"/>
        </a:spcBef>
        <a:buNone/>
        <a:defRPr sz="465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2713" indent="-362713" algn="l" defTabSz="967233" rtl="0" eaLnBrk="1" latinLnBrk="1" hangingPunct="1">
        <a:spcBef>
          <a:spcPct val="20000"/>
        </a:spcBef>
        <a:buFont typeface="Arial" panose="020B0604020202020204" pitchFamily="34" charset="0"/>
        <a:buChar char="•"/>
        <a:defRPr sz="3385" kern="1200">
          <a:solidFill>
            <a:schemeClr val="tx1"/>
          </a:solidFill>
          <a:latin typeface="+mn-lt"/>
          <a:ea typeface="+mn-ea"/>
          <a:cs typeface="+mn-cs"/>
        </a:defRPr>
      </a:lvl1pPr>
      <a:lvl2pPr marL="785877" indent="-302261" algn="l" defTabSz="967233" rtl="0" eaLnBrk="1" latinLnBrk="1" hangingPunct="1">
        <a:spcBef>
          <a:spcPct val="20000"/>
        </a:spcBef>
        <a:buFont typeface="Arial" panose="020B0604020202020204" pitchFamily="34" charset="0"/>
        <a:buChar char="–"/>
        <a:defRPr sz="2962" kern="1200">
          <a:solidFill>
            <a:schemeClr val="tx1"/>
          </a:solidFill>
          <a:latin typeface="+mn-lt"/>
          <a:ea typeface="+mn-ea"/>
          <a:cs typeface="+mn-cs"/>
        </a:defRPr>
      </a:lvl2pPr>
      <a:lvl3pPr marL="1209042" indent="-241808" algn="l" defTabSz="967233" rtl="0" eaLnBrk="1" latinLnBrk="1" hangingPunct="1">
        <a:spcBef>
          <a:spcPct val="20000"/>
        </a:spcBef>
        <a:buFont typeface="Arial" panose="020B0604020202020204" pitchFamily="34" charset="0"/>
        <a:buChar char="•"/>
        <a:defRPr sz="2539" kern="1200">
          <a:solidFill>
            <a:schemeClr val="tx1"/>
          </a:solidFill>
          <a:latin typeface="+mn-lt"/>
          <a:ea typeface="+mn-ea"/>
          <a:cs typeface="+mn-cs"/>
        </a:defRPr>
      </a:lvl3pPr>
      <a:lvl4pPr marL="1692658" indent="-241808" algn="l" defTabSz="967233" rtl="0" eaLnBrk="1" latinLnBrk="1" hangingPunct="1">
        <a:spcBef>
          <a:spcPct val="20000"/>
        </a:spcBef>
        <a:buFont typeface="Arial" panose="020B0604020202020204" pitchFamily="34" charset="0"/>
        <a:buChar char="–"/>
        <a:defRPr sz="2116" kern="1200">
          <a:solidFill>
            <a:schemeClr val="tx1"/>
          </a:solidFill>
          <a:latin typeface="+mn-lt"/>
          <a:ea typeface="+mn-ea"/>
          <a:cs typeface="+mn-cs"/>
        </a:defRPr>
      </a:lvl4pPr>
      <a:lvl5pPr marL="2176275" indent="-241808" algn="l" defTabSz="967233" rtl="0" eaLnBrk="1" latinLnBrk="1" hangingPunct="1">
        <a:spcBef>
          <a:spcPct val="20000"/>
        </a:spcBef>
        <a:buFont typeface="Arial" panose="020B0604020202020204" pitchFamily="34" charset="0"/>
        <a:buChar char="»"/>
        <a:defRPr sz="2116" kern="1200">
          <a:solidFill>
            <a:schemeClr val="tx1"/>
          </a:solidFill>
          <a:latin typeface="+mn-lt"/>
          <a:ea typeface="+mn-ea"/>
          <a:cs typeface="+mn-cs"/>
        </a:defRPr>
      </a:lvl5pPr>
      <a:lvl6pPr marL="2659892" indent="-241808" algn="l" defTabSz="967233" rtl="0" eaLnBrk="1" latinLnBrk="1" hangingPunct="1">
        <a:spcBef>
          <a:spcPct val="20000"/>
        </a:spcBef>
        <a:buFont typeface="Arial" panose="020B0604020202020204" pitchFamily="34" charset="0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6pPr>
      <a:lvl7pPr marL="3143508" indent="-241808" algn="l" defTabSz="967233" rtl="0" eaLnBrk="1" latinLnBrk="1" hangingPunct="1">
        <a:spcBef>
          <a:spcPct val="20000"/>
        </a:spcBef>
        <a:buFont typeface="Arial" panose="020B0604020202020204" pitchFamily="34" charset="0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7pPr>
      <a:lvl8pPr marL="3627125" indent="-241808" algn="l" defTabSz="967233" rtl="0" eaLnBrk="1" latinLnBrk="1" hangingPunct="1">
        <a:spcBef>
          <a:spcPct val="20000"/>
        </a:spcBef>
        <a:buFont typeface="Arial" panose="020B0604020202020204" pitchFamily="34" charset="0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8pPr>
      <a:lvl9pPr marL="4110741" indent="-241808" algn="l" defTabSz="967233" rtl="0" eaLnBrk="1" latinLnBrk="1" hangingPunct="1">
        <a:spcBef>
          <a:spcPct val="20000"/>
        </a:spcBef>
        <a:buFont typeface="Arial" panose="020B0604020202020204" pitchFamily="34" charset="0"/>
        <a:buChar char="•"/>
        <a:defRPr sz="21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67233" rtl="0" eaLnBrk="1" latinLnBrk="1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83617" algn="l" defTabSz="967233" rtl="0" eaLnBrk="1" latinLnBrk="1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67233" algn="l" defTabSz="967233" rtl="0" eaLnBrk="1" latinLnBrk="1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50851" algn="l" defTabSz="967233" rtl="0" eaLnBrk="1" latinLnBrk="1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934466" algn="l" defTabSz="967233" rtl="0" eaLnBrk="1" latinLnBrk="1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418083" algn="l" defTabSz="967233" rtl="0" eaLnBrk="1" latinLnBrk="1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901699" algn="l" defTabSz="967233" rtl="0" eaLnBrk="1" latinLnBrk="1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85317" algn="l" defTabSz="967233" rtl="0" eaLnBrk="1" latinLnBrk="1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868933" algn="l" defTabSz="967233" rtl="0" eaLnBrk="1" latinLnBrk="1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519193" y="290531"/>
            <a:ext cx="9345454" cy="1209146"/>
          </a:xfrm>
          <a:prstGeom prst="rect">
            <a:avLst/>
          </a:prstGeom>
        </p:spPr>
        <p:txBody>
          <a:bodyPr vert="horz" lIns="91204" tIns="45601" rIns="91204" bIns="45601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519193" y="1692822"/>
            <a:ext cx="9345454" cy="4787882"/>
          </a:xfrm>
          <a:prstGeom prst="rect">
            <a:avLst/>
          </a:prstGeom>
        </p:spPr>
        <p:txBody>
          <a:bodyPr vert="horz" lIns="91204" tIns="45601" rIns="91204" bIns="45601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519193" y="6724239"/>
            <a:ext cx="2422896" cy="386255"/>
          </a:xfrm>
          <a:prstGeom prst="rect">
            <a:avLst/>
          </a:prstGeom>
        </p:spPr>
        <p:txBody>
          <a:bodyPr vert="horz" lIns="91204" tIns="45601" rIns="91204" bIns="45601" rtlCol="0" anchor="ctr"/>
          <a:lstStyle>
            <a:lvl1pPr algn="l">
              <a:defRPr sz="118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77550">
              <a:defRPr/>
            </a:pPr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547816" y="6724239"/>
            <a:ext cx="3288215" cy="386255"/>
          </a:xfrm>
          <a:prstGeom prst="rect">
            <a:avLst/>
          </a:prstGeom>
        </p:spPr>
        <p:txBody>
          <a:bodyPr vert="horz" lIns="91204" tIns="45601" rIns="91204" bIns="45601" rtlCol="0" anchor="ctr"/>
          <a:lstStyle>
            <a:lvl1pPr algn="ctr">
              <a:defRPr sz="118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77550">
              <a:defRPr/>
            </a:pPr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46743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</p:sldLayoutIdLst>
  <p:hf hdr="0" ftr="0" dt="0"/>
  <p:txStyles>
    <p:titleStyle>
      <a:lvl1pPr algn="ctr" defTabSz="901004" rtl="0" eaLnBrk="1" latinLnBrk="1" hangingPunct="1">
        <a:spcBef>
          <a:spcPct val="0"/>
        </a:spcBef>
        <a:buNone/>
        <a:defRPr sz="434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37871" indent="-337871" algn="l" defTabSz="901004" rtl="0" eaLnBrk="1" latinLnBrk="1" hangingPunct="1">
        <a:spcBef>
          <a:spcPct val="20000"/>
        </a:spcBef>
        <a:buFont typeface="Arial" pitchFamily="34" charset="0"/>
        <a:buChar char="•"/>
        <a:defRPr sz="3161" kern="1200">
          <a:solidFill>
            <a:schemeClr val="tx1"/>
          </a:solidFill>
          <a:latin typeface="+mn-lt"/>
          <a:ea typeface="+mn-ea"/>
          <a:cs typeface="+mn-cs"/>
        </a:defRPr>
      </a:lvl1pPr>
      <a:lvl2pPr marL="732065" indent="-281563" algn="l" defTabSz="901004" rtl="0" eaLnBrk="1" latinLnBrk="1" hangingPunct="1">
        <a:spcBef>
          <a:spcPct val="20000"/>
        </a:spcBef>
        <a:buFont typeface="Arial" pitchFamily="34" charset="0"/>
        <a:buChar char="–"/>
        <a:defRPr sz="2766" kern="1200">
          <a:solidFill>
            <a:schemeClr val="tx1"/>
          </a:solidFill>
          <a:latin typeface="+mn-lt"/>
          <a:ea typeface="+mn-ea"/>
          <a:cs typeface="+mn-cs"/>
        </a:defRPr>
      </a:lvl2pPr>
      <a:lvl3pPr marL="1126254" indent="-225245" algn="l" defTabSz="901004" rtl="0" eaLnBrk="1" latinLnBrk="1" hangingPunct="1">
        <a:spcBef>
          <a:spcPct val="20000"/>
        </a:spcBef>
        <a:buFont typeface="Arial" pitchFamily="34" charset="0"/>
        <a:buChar char="•"/>
        <a:defRPr sz="2371" kern="1200">
          <a:solidFill>
            <a:schemeClr val="tx1"/>
          </a:solidFill>
          <a:latin typeface="+mn-lt"/>
          <a:ea typeface="+mn-ea"/>
          <a:cs typeface="+mn-cs"/>
        </a:defRPr>
      </a:lvl3pPr>
      <a:lvl4pPr marL="1576754" indent="-225245" algn="l" defTabSz="901004" rtl="0" eaLnBrk="1" latinLnBrk="1" hangingPunct="1">
        <a:spcBef>
          <a:spcPct val="20000"/>
        </a:spcBef>
        <a:buFont typeface="Arial" pitchFamily="34" charset="0"/>
        <a:buChar char="–"/>
        <a:defRPr sz="1976" kern="1200">
          <a:solidFill>
            <a:schemeClr val="tx1"/>
          </a:solidFill>
          <a:latin typeface="+mn-lt"/>
          <a:ea typeface="+mn-ea"/>
          <a:cs typeface="+mn-cs"/>
        </a:defRPr>
      </a:lvl4pPr>
      <a:lvl5pPr marL="2027257" indent="-225245" algn="l" defTabSz="901004" rtl="0" eaLnBrk="1" latinLnBrk="1" hangingPunct="1">
        <a:spcBef>
          <a:spcPct val="20000"/>
        </a:spcBef>
        <a:buFont typeface="Arial" pitchFamily="34" charset="0"/>
        <a:buChar char="»"/>
        <a:defRPr sz="1976" kern="1200">
          <a:solidFill>
            <a:schemeClr val="tx1"/>
          </a:solidFill>
          <a:latin typeface="+mn-lt"/>
          <a:ea typeface="+mn-ea"/>
          <a:cs typeface="+mn-cs"/>
        </a:defRPr>
      </a:lvl5pPr>
      <a:lvl6pPr marL="2477756" indent="-225245" algn="l" defTabSz="901004" rtl="0" eaLnBrk="1" latinLnBrk="1" hangingPunct="1">
        <a:spcBef>
          <a:spcPct val="20000"/>
        </a:spcBef>
        <a:buFont typeface="Arial" pitchFamily="34" charset="0"/>
        <a:buChar char="•"/>
        <a:defRPr sz="1976" kern="1200">
          <a:solidFill>
            <a:schemeClr val="tx1"/>
          </a:solidFill>
          <a:latin typeface="+mn-lt"/>
          <a:ea typeface="+mn-ea"/>
          <a:cs typeface="+mn-cs"/>
        </a:defRPr>
      </a:lvl6pPr>
      <a:lvl7pPr marL="2928259" indent="-225245" algn="l" defTabSz="901004" rtl="0" eaLnBrk="1" latinLnBrk="1" hangingPunct="1">
        <a:spcBef>
          <a:spcPct val="20000"/>
        </a:spcBef>
        <a:buFont typeface="Arial" pitchFamily="34" charset="0"/>
        <a:buChar char="•"/>
        <a:defRPr sz="1976" kern="1200">
          <a:solidFill>
            <a:schemeClr val="tx1"/>
          </a:solidFill>
          <a:latin typeface="+mn-lt"/>
          <a:ea typeface="+mn-ea"/>
          <a:cs typeface="+mn-cs"/>
        </a:defRPr>
      </a:lvl7pPr>
      <a:lvl8pPr marL="3378760" indent="-225245" algn="l" defTabSz="901004" rtl="0" eaLnBrk="1" latinLnBrk="1" hangingPunct="1">
        <a:spcBef>
          <a:spcPct val="20000"/>
        </a:spcBef>
        <a:buFont typeface="Arial" pitchFamily="34" charset="0"/>
        <a:buChar char="•"/>
        <a:defRPr sz="1976" kern="1200">
          <a:solidFill>
            <a:schemeClr val="tx1"/>
          </a:solidFill>
          <a:latin typeface="+mn-lt"/>
          <a:ea typeface="+mn-ea"/>
          <a:cs typeface="+mn-cs"/>
        </a:defRPr>
      </a:lvl8pPr>
      <a:lvl9pPr marL="3829262" indent="-225245" algn="l" defTabSz="901004" rtl="0" eaLnBrk="1" latinLnBrk="1" hangingPunct="1">
        <a:spcBef>
          <a:spcPct val="20000"/>
        </a:spcBef>
        <a:buFont typeface="Arial" pitchFamily="34" charset="0"/>
        <a:buChar char="•"/>
        <a:defRPr sz="197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01004" rtl="0" eaLnBrk="1" latinLnBrk="1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1pPr>
      <a:lvl2pPr marL="450498" algn="l" defTabSz="901004" rtl="0" eaLnBrk="1" latinLnBrk="1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2pPr>
      <a:lvl3pPr marL="901004" algn="l" defTabSz="901004" rtl="0" eaLnBrk="1" latinLnBrk="1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3pPr>
      <a:lvl4pPr marL="1351505" algn="l" defTabSz="901004" rtl="0" eaLnBrk="1" latinLnBrk="1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4pPr>
      <a:lvl5pPr marL="1802006" algn="l" defTabSz="901004" rtl="0" eaLnBrk="1" latinLnBrk="1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5pPr>
      <a:lvl6pPr marL="2252508" algn="l" defTabSz="901004" rtl="0" eaLnBrk="1" latinLnBrk="1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6pPr>
      <a:lvl7pPr marL="2703009" algn="l" defTabSz="901004" rtl="0" eaLnBrk="1" latinLnBrk="1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7pPr>
      <a:lvl8pPr marL="3153510" algn="l" defTabSz="901004" rtl="0" eaLnBrk="1" latinLnBrk="1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8pPr>
      <a:lvl9pPr marL="3604011" algn="l" defTabSz="901004" rtl="0" eaLnBrk="1" latinLnBrk="1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519193" y="290531"/>
            <a:ext cx="9345454" cy="1209146"/>
          </a:xfrm>
          <a:prstGeom prst="rect">
            <a:avLst/>
          </a:prstGeom>
        </p:spPr>
        <p:txBody>
          <a:bodyPr vert="horz" lIns="91204" tIns="45601" rIns="91204" bIns="45601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519193" y="1692822"/>
            <a:ext cx="9345454" cy="4787882"/>
          </a:xfrm>
          <a:prstGeom prst="rect">
            <a:avLst/>
          </a:prstGeom>
        </p:spPr>
        <p:txBody>
          <a:bodyPr vert="horz" lIns="91204" tIns="45601" rIns="91204" bIns="45601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519193" y="6724239"/>
            <a:ext cx="2422896" cy="386255"/>
          </a:xfrm>
          <a:prstGeom prst="rect">
            <a:avLst/>
          </a:prstGeom>
        </p:spPr>
        <p:txBody>
          <a:bodyPr vert="horz" lIns="91204" tIns="45601" rIns="91204" bIns="45601" rtlCol="0" anchor="ctr"/>
          <a:lstStyle>
            <a:lvl1pPr algn="l">
              <a:defRPr sz="118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77550">
              <a:defRPr/>
            </a:pPr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547816" y="6724239"/>
            <a:ext cx="3288215" cy="386255"/>
          </a:xfrm>
          <a:prstGeom prst="rect">
            <a:avLst/>
          </a:prstGeom>
        </p:spPr>
        <p:txBody>
          <a:bodyPr vert="horz" lIns="91204" tIns="45601" rIns="91204" bIns="45601" rtlCol="0" anchor="ctr"/>
          <a:lstStyle>
            <a:lvl1pPr algn="ctr">
              <a:defRPr sz="118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77550">
              <a:defRPr/>
            </a:pPr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2436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7" r:id="rId4"/>
  </p:sldLayoutIdLst>
  <p:hf hdr="0" ftr="0" dt="0"/>
  <p:txStyles>
    <p:titleStyle>
      <a:lvl1pPr algn="ctr" defTabSz="901004" rtl="0" eaLnBrk="1" latinLnBrk="1" hangingPunct="1">
        <a:spcBef>
          <a:spcPct val="0"/>
        </a:spcBef>
        <a:buNone/>
        <a:defRPr sz="434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37871" indent="-337871" algn="l" defTabSz="901004" rtl="0" eaLnBrk="1" latinLnBrk="1" hangingPunct="1">
        <a:spcBef>
          <a:spcPct val="20000"/>
        </a:spcBef>
        <a:buFont typeface="Arial" pitchFamily="34" charset="0"/>
        <a:buChar char="•"/>
        <a:defRPr sz="3161" kern="1200">
          <a:solidFill>
            <a:schemeClr val="tx1"/>
          </a:solidFill>
          <a:latin typeface="+mn-lt"/>
          <a:ea typeface="+mn-ea"/>
          <a:cs typeface="+mn-cs"/>
        </a:defRPr>
      </a:lvl1pPr>
      <a:lvl2pPr marL="732065" indent="-281563" algn="l" defTabSz="901004" rtl="0" eaLnBrk="1" latinLnBrk="1" hangingPunct="1">
        <a:spcBef>
          <a:spcPct val="20000"/>
        </a:spcBef>
        <a:buFont typeface="Arial" pitchFamily="34" charset="0"/>
        <a:buChar char="–"/>
        <a:defRPr sz="2766" kern="1200">
          <a:solidFill>
            <a:schemeClr val="tx1"/>
          </a:solidFill>
          <a:latin typeface="+mn-lt"/>
          <a:ea typeface="+mn-ea"/>
          <a:cs typeface="+mn-cs"/>
        </a:defRPr>
      </a:lvl2pPr>
      <a:lvl3pPr marL="1126254" indent="-225245" algn="l" defTabSz="901004" rtl="0" eaLnBrk="1" latinLnBrk="1" hangingPunct="1">
        <a:spcBef>
          <a:spcPct val="20000"/>
        </a:spcBef>
        <a:buFont typeface="Arial" pitchFamily="34" charset="0"/>
        <a:buChar char="•"/>
        <a:defRPr sz="2371" kern="1200">
          <a:solidFill>
            <a:schemeClr val="tx1"/>
          </a:solidFill>
          <a:latin typeface="+mn-lt"/>
          <a:ea typeface="+mn-ea"/>
          <a:cs typeface="+mn-cs"/>
        </a:defRPr>
      </a:lvl3pPr>
      <a:lvl4pPr marL="1576754" indent="-225245" algn="l" defTabSz="901004" rtl="0" eaLnBrk="1" latinLnBrk="1" hangingPunct="1">
        <a:spcBef>
          <a:spcPct val="20000"/>
        </a:spcBef>
        <a:buFont typeface="Arial" pitchFamily="34" charset="0"/>
        <a:buChar char="–"/>
        <a:defRPr sz="1976" kern="1200">
          <a:solidFill>
            <a:schemeClr val="tx1"/>
          </a:solidFill>
          <a:latin typeface="+mn-lt"/>
          <a:ea typeface="+mn-ea"/>
          <a:cs typeface="+mn-cs"/>
        </a:defRPr>
      </a:lvl4pPr>
      <a:lvl5pPr marL="2027257" indent="-225245" algn="l" defTabSz="901004" rtl="0" eaLnBrk="1" latinLnBrk="1" hangingPunct="1">
        <a:spcBef>
          <a:spcPct val="20000"/>
        </a:spcBef>
        <a:buFont typeface="Arial" pitchFamily="34" charset="0"/>
        <a:buChar char="»"/>
        <a:defRPr sz="1976" kern="1200">
          <a:solidFill>
            <a:schemeClr val="tx1"/>
          </a:solidFill>
          <a:latin typeface="+mn-lt"/>
          <a:ea typeface="+mn-ea"/>
          <a:cs typeface="+mn-cs"/>
        </a:defRPr>
      </a:lvl5pPr>
      <a:lvl6pPr marL="2477756" indent="-225245" algn="l" defTabSz="901004" rtl="0" eaLnBrk="1" latinLnBrk="1" hangingPunct="1">
        <a:spcBef>
          <a:spcPct val="20000"/>
        </a:spcBef>
        <a:buFont typeface="Arial" pitchFamily="34" charset="0"/>
        <a:buChar char="•"/>
        <a:defRPr sz="1976" kern="1200">
          <a:solidFill>
            <a:schemeClr val="tx1"/>
          </a:solidFill>
          <a:latin typeface="+mn-lt"/>
          <a:ea typeface="+mn-ea"/>
          <a:cs typeface="+mn-cs"/>
        </a:defRPr>
      </a:lvl6pPr>
      <a:lvl7pPr marL="2928259" indent="-225245" algn="l" defTabSz="901004" rtl="0" eaLnBrk="1" latinLnBrk="1" hangingPunct="1">
        <a:spcBef>
          <a:spcPct val="20000"/>
        </a:spcBef>
        <a:buFont typeface="Arial" pitchFamily="34" charset="0"/>
        <a:buChar char="•"/>
        <a:defRPr sz="1976" kern="1200">
          <a:solidFill>
            <a:schemeClr val="tx1"/>
          </a:solidFill>
          <a:latin typeface="+mn-lt"/>
          <a:ea typeface="+mn-ea"/>
          <a:cs typeface="+mn-cs"/>
        </a:defRPr>
      </a:lvl7pPr>
      <a:lvl8pPr marL="3378760" indent="-225245" algn="l" defTabSz="901004" rtl="0" eaLnBrk="1" latinLnBrk="1" hangingPunct="1">
        <a:spcBef>
          <a:spcPct val="20000"/>
        </a:spcBef>
        <a:buFont typeface="Arial" pitchFamily="34" charset="0"/>
        <a:buChar char="•"/>
        <a:defRPr sz="1976" kern="1200">
          <a:solidFill>
            <a:schemeClr val="tx1"/>
          </a:solidFill>
          <a:latin typeface="+mn-lt"/>
          <a:ea typeface="+mn-ea"/>
          <a:cs typeface="+mn-cs"/>
        </a:defRPr>
      </a:lvl8pPr>
      <a:lvl9pPr marL="3829262" indent="-225245" algn="l" defTabSz="901004" rtl="0" eaLnBrk="1" latinLnBrk="1" hangingPunct="1">
        <a:spcBef>
          <a:spcPct val="20000"/>
        </a:spcBef>
        <a:buFont typeface="Arial" pitchFamily="34" charset="0"/>
        <a:buChar char="•"/>
        <a:defRPr sz="197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01004" rtl="0" eaLnBrk="1" latinLnBrk="1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1pPr>
      <a:lvl2pPr marL="450498" algn="l" defTabSz="901004" rtl="0" eaLnBrk="1" latinLnBrk="1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2pPr>
      <a:lvl3pPr marL="901004" algn="l" defTabSz="901004" rtl="0" eaLnBrk="1" latinLnBrk="1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3pPr>
      <a:lvl4pPr marL="1351505" algn="l" defTabSz="901004" rtl="0" eaLnBrk="1" latinLnBrk="1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4pPr>
      <a:lvl5pPr marL="1802006" algn="l" defTabSz="901004" rtl="0" eaLnBrk="1" latinLnBrk="1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5pPr>
      <a:lvl6pPr marL="2252508" algn="l" defTabSz="901004" rtl="0" eaLnBrk="1" latinLnBrk="1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6pPr>
      <a:lvl7pPr marL="2703009" algn="l" defTabSz="901004" rtl="0" eaLnBrk="1" latinLnBrk="1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7pPr>
      <a:lvl8pPr marL="3153510" algn="l" defTabSz="901004" rtl="0" eaLnBrk="1" latinLnBrk="1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8pPr>
      <a:lvl9pPr marL="3604011" algn="l" defTabSz="901004" rtl="0" eaLnBrk="1" latinLnBrk="1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519193" y="290531"/>
            <a:ext cx="9345454" cy="1209146"/>
          </a:xfrm>
          <a:prstGeom prst="rect">
            <a:avLst/>
          </a:prstGeom>
        </p:spPr>
        <p:txBody>
          <a:bodyPr vert="horz" lIns="91204" tIns="45601" rIns="91204" bIns="45601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519193" y="1692822"/>
            <a:ext cx="9345454" cy="4787882"/>
          </a:xfrm>
          <a:prstGeom prst="rect">
            <a:avLst/>
          </a:prstGeom>
        </p:spPr>
        <p:txBody>
          <a:bodyPr vert="horz" lIns="91204" tIns="45601" rIns="91204" bIns="45601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519193" y="6724239"/>
            <a:ext cx="2422896" cy="386255"/>
          </a:xfrm>
          <a:prstGeom prst="rect">
            <a:avLst/>
          </a:prstGeom>
        </p:spPr>
        <p:txBody>
          <a:bodyPr vert="horz" lIns="91204" tIns="45601" rIns="91204" bIns="45601" rtlCol="0" anchor="ctr"/>
          <a:lstStyle>
            <a:lvl1pPr algn="l">
              <a:defRPr sz="118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77550">
              <a:defRPr/>
            </a:pPr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547816" y="6724239"/>
            <a:ext cx="3288215" cy="386255"/>
          </a:xfrm>
          <a:prstGeom prst="rect">
            <a:avLst/>
          </a:prstGeom>
        </p:spPr>
        <p:txBody>
          <a:bodyPr vert="horz" lIns="91204" tIns="45601" rIns="91204" bIns="45601" rtlCol="0" anchor="ctr"/>
          <a:lstStyle>
            <a:lvl1pPr algn="ctr">
              <a:defRPr sz="118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77550">
              <a:defRPr/>
            </a:pPr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3211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</p:sldLayoutIdLst>
  <p:hf hdr="0" ftr="0" dt="0"/>
  <p:txStyles>
    <p:titleStyle>
      <a:lvl1pPr algn="ctr" defTabSz="901004" rtl="0" eaLnBrk="1" latinLnBrk="1" hangingPunct="1">
        <a:spcBef>
          <a:spcPct val="0"/>
        </a:spcBef>
        <a:buNone/>
        <a:defRPr sz="434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37871" indent="-337871" algn="l" defTabSz="901004" rtl="0" eaLnBrk="1" latinLnBrk="1" hangingPunct="1">
        <a:spcBef>
          <a:spcPct val="20000"/>
        </a:spcBef>
        <a:buFont typeface="Arial" pitchFamily="34" charset="0"/>
        <a:buChar char="•"/>
        <a:defRPr sz="3161" kern="1200">
          <a:solidFill>
            <a:schemeClr val="tx1"/>
          </a:solidFill>
          <a:latin typeface="+mn-lt"/>
          <a:ea typeface="+mn-ea"/>
          <a:cs typeface="+mn-cs"/>
        </a:defRPr>
      </a:lvl1pPr>
      <a:lvl2pPr marL="732065" indent="-281563" algn="l" defTabSz="901004" rtl="0" eaLnBrk="1" latinLnBrk="1" hangingPunct="1">
        <a:spcBef>
          <a:spcPct val="20000"/>
        </a:spcBef>
        <a:buFont typeface="Arial" pitchFamily="34" charset="0"/>
        <a:buChar char="–"/>
        <a:defRPr sz="2766" kern="1200">
          <a:solidFill>
            <a:schemeClr val="tx1"/>
          </a:solidFill>
          <a:latin typeface="+mn-lt"/>
          <a:ea typeface="+mn-ea"/>
          <a:cs typeface="+mn-cs"/>
        </a:defRPr>
      </a:lvl2pPr>
      <a:lvl3pPr marL="1126254" indent="-225245" algn="l" defTabSz="901004" rtl="0" eaLnBrk="1" latinLnBrk="1" hangingPunct="1">
        <a:spcBef>
          <a:spcPct val="20000"/>
        </a:spcBef>
        <a:buFont typeface="Arial" pitchFamily="34" charset="0"/>
        <a:buChar char="•"/>
        <a:defRPr sz="2371" kern="1200">
          <a:solidFill>
            <a:schemeClr val="tx1"/>
          </a:solidFill>
          <a:latin typeface="+mn-lt"/>
          <a:ea typeface="+mn-ea"/>
          <a:cs typeface="+mn-cs"/>
        </a:defRPr>
      </a:lvl3pPr>
      <a:lvl4pPr marL="1576754" indent="-225245" algn="l" defTabSz="901004" rtl="0" eaLnBrk="1" latinLnBrk="1" hangingPunct="1">
        <a:spcBef>
          <a:spcPct val="20000"/>
        </a:spcBef>
        <a:buFont typeface="Arial" pitchFamily="34" charset="0"/>
        <a:buChar char="–"/>
        <a:defRPr sz="1976" kern="1200">
          <a:solidFill>
            <a:schemeClr val="tx1"/>
          </a:solidFill>
          <a:latin typeface="+mn-lt"/>
          <a:ea typeface="+mn-ea"/>
          <a:cs typeface="+mn-cs"/>
        </a:defRPr>
      </a:lvl4pPr>
      <a:lvl5pPr marL="2027257" indent="-225245" algn="l" defTabSz="901004" rtl="0" eaLnBrk="1" latinLnBrk="1" hangingPunct="1">
        <a:spcBef>
          <a:spcPct val="20000"/>
        </a:spcBef>
        <a:buFont typeface="Arial" pitchFamily="34" charset="0"/>
        <a:buChar char="»"/>
        <a:defRPr sz="1976" kern="1200">
          <a:solidFill>
            <a:schemeClr val="tx1"/>
          </a:solidFill>
          <a:latin typeface="+mn-lt"/>
          <a:ea typeface="+mn-ea"/>
          <a:cs typeface="+mn-cs"/>
        </a:defRPr>
      </a:lvl5pPr>
      <a:lvl6pPr marL="2477756" indent="-225245" algn="l" defTabSz="901004" rtl="0" eaLnBrk="1" latinLnBrk="1" hangingPunct="1">
        <a:spcBef>
          <a:spcPct val="20000"/>
        </a:spcBef>
        <a:buFont typeface="Arial" pitchFamily="34" charset="0"/>
        <a:buChar char="•"/>
        <a:defRPr sz="1976" kern="1200">
          <a:solidFill>
            <a:schemeClr val="tx1"/>
          </a:solidFill>
          <a:latin typeface="+mn-lt"/>
          <a:ea typeface="+mn-ea"/>
          <a:cs typeface="+mn-cs"/>
        </a:defRPr>
      </a:lvl6pPr>
      <a:lvl7pPr marL="2928259" indent="-225245" algn="l" defTabSz="901004" rtl="0" eaLnBrk="1" latinLnBrk="1" hangingPunct="1">
        <a:spcBef>
          <a:spcPct val="20000"/>
        </a:spcBef>
        <a:buFont typeface="Arial" pitchFamily="34" charset="0"/>
        <a:buChar char="•"/>
        <a:defRPr sz="1976" kern="1200">
          <a:solidFill>
            <a:schemeClr val="tx1"/>
          </a:solidFill>
          <a:latin typeface="+mn-lt"/>
          <a:ea typeface="+mn-ea"/>
          <a:cs typeface="+mn-cs"/>
        </a:defRPr>
      </a:lvl7pPr>
      <a:lvl8pPr marL="3378760" indent="-225245" algn="l" defTabSz="901004" rtl="0" eaLnBrk="1" latinLnBrk="1" hangingPunct="1">
        <a:spcBef>
          <a:spcPct val="20000"/>
        </a:spcBef>
        <a:buFont typeface="Arial" pitchFamily="34" charset="0"/>
        <a:buChar char="•"/>
        <a:defRPr sz="1976" kern="1200">
          <a:solidFill>
            <a:schemeClr val="tx1"/>
          </a:solidFill>
          <a:latin typeface="+mn-lt"/>
          <a:ea typeface="+mn-ea"/>
          <a:cs typeface="+mn-cs"/>
        </a:defRPr>
      </a:lvl8pPr>
      <a:lvl9pPr marL="3829262" indent="-225245" algn="l" defTabSz="901004" rtl="0" eaLnBrk="1" latinLnBrk="1" hangingPunct="1">
        <a:spcBef>
          <a:spcPct val="20000"/>
        </a:spcBef>
        <a:buFont typeface="Arial" pitchFamily="34" charset="0"/>
        <a:buChar char="•"/>
        <a:defRPr sz="197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01004" rtl="0" eaLnBrk="1" latinLnBrk="1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1pPr>
      <a:lvl2pPr marL="450498" algn="l" defTabSz="901004" rtl="0" eaLnBrk="1" latinLnBrk="1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2pPr>
      <a:lvl3pPr marL="901004" algn="l" defTabSz="901004" rtl="0" eaLnBrk="1" latinLnBrk="1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3pPr>
      <a:lvl4pPr marL="1351505" algn="l" defTabSz="901004" rtl="0" eaLnBrk="1" latinLnBrk="1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4pPr>
      <a:lvl5pPr marL="1802006" algn="l" defTabSz="901004" rtl="0" eaLnBrk="1" latinLnBrk="1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5pPr>
      <a:lvl6pPr marL="2252508" algn="l" defTabSz="901004" rtl="0" eaLnBrk="1" latinLnBrk="1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6pPr>
      <a:lvl7pPr marL="2703009" algn="l" defTabSz="901004" rtl="0" eaLnBrk="1" latinLnBrk="1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7pPr>
      <a:lvl8pPr marL="3153510" algn="l" defTabSz="901004" rtl="0" eaLnBrk="1" latinLnBrk="1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8pPr>
      <a:lvl9pPr marL="3604011" algn="l" defTabSz="901004" rtl="0" eaLnBrk="1" latinLnBrk="1" hangingPunct="1">
        <a:defRPr sz="177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57033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</p:sldLayoutIdLst>
  <p:hf hdr="0" ftr="0" dt="0"/>
  <p:txStyles>
    <p:titleStyle>
      <a:lvl1pPr algn="ctr" defTabSz="778657" rtl="0" eaLnBrk="1" latinLnBrk="1" hangingPunct="1">
        <a:spcBef>
          <a:spcPct val="0"/>
        </a:spcBef>
        <a:buNone/>
        <a:defRPr sz="375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1995" indent="-291995" algn="l" defTabSz="778657" rtl="0" eaLnBrk="1" latinLnBrk="1" hangingPunct="1">
        <a:spcBef>
          <a:spcPct val="20000"/>
        </a:spcBef>
        <a:buFont typeface="Arial" pitchFamily="34" charset="0"/>
        <a:buChar char="•"/>
        <a:defRPr sz="2739" kern="1200">
          <a:solidFill>
            <a:schemeClr val="tx1"/>
          </a:solidFill>
          <a:latin typeface="+mn-lt"/>
          <a:ea typeface="+mn-ea"/>
          <a:cs typeface="+mn-cs"/>
        </a:defRPr>
      </a:lvl1pPr>
      <a:lvl2pPr marL="632657" indent="-243333" algn="l" defTabSz="778657" rtl="0" eaLnBrk="1" latinLnBrk="1" hangingPunct="1">
        <a:spcBef>
          <a:spcPct val="20000"/>
        </a:spcBef>
        <a:buFont typeface="Arial" pitchFamily="34" charset="0"/>
        <a:buChar char="–"/>
        <a:defRPr sz="2347" kern="1200">
          <a:solidFill>
            <a:schemeClr val="tx1"/>
          </a:solidFill>
          <a:latin typeface="+mn-lt"/>
          <a:ea typeface="+mn-ea"/>
          <a:cs typeface="+mn-cs"/>
        </a:defRPr>
      </a:lvl2pPr>
      <a:lvl3pPr marL="973321" indent="-194665" algn="l" defTabSz="778657" rtl="0" eaLnBrk="1" latinLnBrk="1" hangingPunct="1">
        <a:spcBef>
          <a:spcPct val="20000"/>
        </a:spcBef>
        <a:buFont typeface="Arial" pitchFamily="34" charset="0"/>
        <a:buChar char="•"/>
        <a:defRPr sz="2035" kern="1200">
          <a:solidFill>
            <a:schemeClr val="tx1"/>
          </a:solidFill>
          <a:latin typeface="+mn-lt"/>
          <a:ea typeface="+mn-ea"/>
          <a:cs typeface="+mn-cs"/>
        </a:defRPr>
      </a:lvl3pPr>
      <a:lvl4pPr marL="1362645" indent="-194665" algn="l" defTabSz="778657" rtl="0" eaLnBrk="1" latinLnBrk="1" hangingPunct="1">
        <a:spcBef>
          <a:spcPct val="20000"/>
        </a:spcBef>
        <a:buFont typeface="Arial" pitchFamily="34" charset="0"/>
        <a:buChar char="–"/>
        <a:defRPr sz="1722" kern="1200">
          <a:solidFill>
            <a:schemeClr val="tx1"/>
          </a:solidFill>
          <a:latin typeface="+mn-lt"/>
          <a:ea typeface="+mn-ea"/>
          <a:cs typeface="+mn-cs"/>
        </a:defRPr>
      </a:lvl4pPr>
      <a:lvl5pPr marL="1751972" indent="-194665" algn="l" defTabSz="778657" rtl="0" eaLnBrk="1" latinLnBrk="1" hangingPunct="1">
        <a:spcBef>
          <a:spcPct val="20000"/>
        </a:spcBef>
        <a:buFont typeface="Arial" pitchFamily="34" charset="0"/>
        <a:buChar char="»"/>
        <a:defRPr sz="1722" kern="1200">
          <a:solidFill>
            <a:schemeClr val="tx1"/>
          </a:solidFill>
          <a:latin typeface="+mn-lt"/>
          <a:ea typeface="+mn-ea"/>
          <a:cs typeface="+mn-cs"/>
        </a:defRPr>
      </a:lvl5pPr>
      <a:lvl6pPr marL="2141300" indent="-194665" algn="l" defTabSz="778657" rtl="0" eaLnBrk="1" latinLnBrk="1" hangingPunct="1">
        <a:spcBef>
          <a:spcPct val="20000"/>
        </a:spcBef>
        <a:buFont typeface="Arial" pitchFamily="34" charset="0"/>
        <a:buChar char="•"/>
        <a:defRPr sz="1722" kern="1200">
          <a:solidFill>
            <a:schemeClr val="tx1"/>
          </a:solidFill>
          <a:latin typeface="+mn-lt"/>
          <a:ea typeface="+mn-ea"/>
          <a:cs typeface="+mn-cs"/>
        </a:defRPr>
      </a:lvl6pPr>
      <a:lvl7pPr marL="2530627" indent="-194665" algn="l" defTabSz="778657" rtl="0" eaLnBrk="1" latinLnBrk="1" hangingPunct="1">
        <a:spcBef>
          <a:spcPct val="20000"/>
        </a:spcBef>
        <a:buFont typeface="Arial" pitchFamily="34" charset="0"/>
        <a:buChar char="•"/>
        <a:defRPr sz="1722" kern="1200">
          <a:solidFill>
            <a:schemeClr val="tx1"/>
          </a:solidFill>
          <a:latin typeface="+mn-lt"/>
          <a:ea typeface="+mn-ea"/>
          <a:cs typeface="+mn-cs"/>
        </a:defRPr>
      </a:lvl7pPr>
      <a:lvl8pPr marL="2919953" indent="-194665" algn="l" defTabSz="778657" rtl="0" eaLnBrk="1" latinLnBrk="1" hangingPunct="1">
        <a:spcBef>
          <a:spcPct val="20000"/>
        </a:spcBef>
        <a:buFont typeface="Arial" pitchFamily="34" charset="0"/>
        <a:buChar char="•"/>
        <a:defRPr sz="1722" kern="1200">
          <a:solidFill>
            <a:schemeClr val="tx1"/>
          </a:solidFill>
          <a:latin typeface="+mn-lt"/>
          <a:ea typeface="+mn-ea"/>
          <a:cs typeface="+mn-cs"/>
        </a:defRPr>
      </a:lvl8pPr>
      <a:lvl9pPr marL="3309283" indent="-194665" algn="l" defTabSz="778657" rtl="0" eaLnBrk="1" latinLnBrk="1" hangingPunct="1">
        <a:spcBef>
          <a:spcPct val="20000"/>
        </a:spcBef>
        <a:buFont typeface="Arial" pitchFamily="34" charset="0"/>
        <a:buChar char="•"/>
        <a:defRPr sz="172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778657" rtl="0" eaLnBrk="1" latinLnBrk="1" hangingPunct="1">
        <a:defRPr sz="1565" kern="1200">
          <a:solidFill>
            <a:schemeClr val="tx1"/>
          </a:solidFill>
          <a:latin typeface="+mn-lt"/>
          <a:ea typeface="+mn-ea"/>
          <a:cs typeface="+mn-cs"/>
        </a:defRPr>
      </a:lvl1pPr>
      <a:lvl2pPr marL="389329" algn="l" defTabSz="778657" rtl="0" eaLnBrk="1" latinLnBrk="1" hangingPunct="1">
        <a:defRPr sz="1565" kern="1200">
          <a:solidFill>
            <a:schemeClr val="tx1"/>
          </a:solidFill>
          <a:latin typeface="+mn-lt"/>
          <a:ea typeface="+mn-ea"/>
          <a:cs typeface="+mn-cs"/>
        </a:defRPr>
      </a:lvl2pPr>
      <a:lvl3pPr marL="778657" algn="l" defTabSz="778657" rtl="0" eaLnBrk="1" latinLnBrk="1" hangingPunct="1">
        <a:defRPr sz="1565" kern="1200">
          <a:solidFill>
            <a:schemeClr val="tx1"/>
          </a:solidFill>
          <a:latin typeface="+mn-lt"/>
          <a:ea typeface="+mn-ea"/>
          <a:cs typeface="+mn-cs"/>
        </a:defRPr>
      </a:lvl3pPr>
      <a:lvl4pPr marL="1167983" algn="l" defTabSz="778657" rtl="0" eaLnBrk="1" latinLnBrk="1" hangingPunct="1">
        <a:defRPr sz="1565" kern="1200">
          <a:solidFill>
            <a:schemeClr val="tx1"/>
          </a:solidFill>
          <a:latin typeface="+mn-lt"/>
          <a:ea typeface="+mn-ea"/>
          <a:cs typeface="+mn-cs"/>
        </a:defRPr>
      </a:lvl4pPr>
      <a:lvl5pPr marL="1557311" algn="l" defTabSz="778657" rtl="0" eaLnBrk="1" latinLnBrk="1" hangingPunct="1">
        <a:defRPr sz="1565" kern="1200">
          <a:solidFill>
            <a:schemeClr val="tx1"/>
          </a:solidFill>
          <a:latin typeface="+mn-lt"/>
          <a:ea typeface="+mn-ea"/>
          <a:cs typeface="+mn-cs"/>
        </a:defRPr>
      </a:lvl5pPr>
      <a:lvl6pPr marL="1946637" algn="l" defTabSz="778657" rtl="0" eaLnBrk="1" latinLnBrk="1" hangingPunct="1">
        <a:defRPr sz="1565" kern="1200">
          <a:solidFill>
            <a:schemeClr val="tx1"/>
          </a:solidFill>
          <a:latin typeface="+mn-lt"/>
          <a:ea typeface="+mn-ea"/>
          <a:cs typeface="+mn-cs"/>
        </a:defRPr>
      </a:lvl6pPr>
      <a:lvl7pPr marL="2335965" algn="l" defTabSz="778657" rtl="0" eaLnBrk="1" latinLnBrk="1" hangingPunct="1">
        <a:defRPr sz="1565" kern="1200">
          <a:solidFill>
            <a:schemeClr val="tx1"/>
          </a:solidFill>
          <a:latin typeface="+mn-lt"/>
          <a:ea typeface="+mn-ea"/>
          <a:cs typeface="+mn-cs"/>
        </a:defRPr>
      </a:lvl7pPr>
      <a:lvl8pPr marL="2725291" algn="l" defTabSz="778657" rtl="0" eaLnBrk="1" latinLnBrk="1" hangingPunct="1">
        <a:defRPr sz="1565" kern="1200">
          <a:solidFill>
            <a:schemeClr val="tx1"/>
          </a:solidFill>
          <a:latin typeface="+mn-lt"/>
          <a:ea typeface="+mn-ea"/>
          <a:cs typeface="+mn-cs"/>
        </a:defRPr>
      </a:lvl8pPr>
      <a:lvl9pPr marL="3114618" algn="l" defTabSz="778657" rtl="0" eaLnBrk="1" latinLnBrk="1" hangingPunct="1">
        <a:defRPr sz="15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94329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</p:sldLayoutIdLst>
  <p:hf hdr="0" ftr="0" dt="0"/>
  <p:txStyles>
    <p:titleStyle>
      <a:lvl1pPr algn="ctr" defTabSz="778657" rtl="0" eaLnBrk="1" latinLnBrk="1" hangingPunct="1">
        <a:spcBef>
          <a:spcPct val="0"/>
        </a:spcBef>
        <a:buNone/>
        <a:defRPr sz="375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1995" indent="-291995" algn="l" defTabSz="778657" rtl="0" eaLnBrk="1" latinLnBrk="1" hangingPunct="1">
        <a:spcBef>
          <a:spcPct val="20000"/>
        </a:spcBef>
        <a:buFont typeface="Arial" pitchFamily="34" charset="0"/>
        <a:buChar char="•"/>
        <a:defRPr sz="2739" kern="1200">
          <a:solidFill>
            <a:schemeClr val="tx1"/>
          </a:solidFill>
          <a:latin typeface="+mn-lt"/>
          <a:ea typeface="+mn-ea"/>
          <a:cs typeface="+mn-cs"/>
        </a:defRPr>
      </a:lvl1pPr>
      <a:lvl2pPr marL="632657" indent="-243333" algn="l" defTabSz="778657" rtl="0" eaLnBrk="1" latinLnBrk="1" hangingPunct="1">
        <a:spcBef>
          <a:spcPct val="20000"/>
        </a:spcBef>
        <a:buFont typeface="Arial" pitchFamily="34" charset="0"/>
        <a:buChar char="–"/>
        <a:defRPr sz="2347" kern="1200">
          <a:solidFill>
            <a:schemeClr val="tx1"/>
          </a:solidFill>
          <a:latin typeface="+mn-lt"/>
          <a:ea typeface="+mn-ea"/>
          <a:cs typeface="+mn-cs"/>
        </a:defRPr>
      </a:lvl2pPr>
      <a:lvl3pPr marL="973321" indent="-194665" algn="l" defTabSz="778657" rtl="0" eaLnBrk="1" latinLnBrk="1" hangingPunct="1">
        <a:spcBef>
          <a:spcPct val="20000"/>
        </a:spcBef>
        <a:buFont typeface="Arial" pitchFamily="34" charset="0"/>
        <a:buChar char="•"/>
        <a:defRPr sz="2035" kern="1200">
          <a:solidFill>
            <a:schemeClr val="tx1"/>
          </a:solidFill>
          <a:latin typeface="+mn-lt"/>
          <a:ea typeface="+mn-ea"/>
          <a:cs typeface="+mn-cs"/>
        </a:defRPr>
      </a:lvl3pPr>
      <a:lvl4pPr marL="1362645" indent="-194665" algn="l" defTabSz="778657" rtl="0" eaLnBrk="1" latinLnBrk="1" hangingPunct="1">
        <a:spcBef>
          <a:spcPct val="20000"/>
        </a:spcBef>
        <a:buFont typeface="Arial" pitchFamily="34" charset="0"/>
        <a:buChar char="–"/>
        <a:defRPr sz="1722" kern="1200">
          <a:solidFill>
            <a:schemeClr val="tx1"/>
          </a:solidFill>
          <a:latin typeface="+mn-lt"/>
          <a:ea typeface="+mn-ea"/>
          <a:cs typeface="+mn-cs"/>
        </a:defRPr>
      </a:lvl4pPr>
      <a:lvl5pPr marL="1751972" indent="-194665" algn="l" defTabSz="778657" rtl="0" eaLnBrk="1" latinLnBrk="1" hangingPunct="1">
        <a:spcBef>
          <a:spcPct val="20000"/>
        </a:spcBef>
        <a:buFont typeface="Arial" pitchFamily="34" charset="0"/>
        <a:buChar char="»"/>
        <a:defRPr sz="1722" kern="1200">
          <a:solidFill>
            <a:schemeClr val="tx1"/>
          </a:solidFill>
          <a:latin typeface="+mn-lt"/>
          <a:ea typeface="+mn-ea"/>
          <a:cs typeface="+mn-cs"/>
        </a:defRPr>
      </a:lvl5pPr>
      <a:lvl6pPr marL="2141300" indent="-194665" algn="l" defTabSz="778657" rtl="0" eaLnBrk="1" latinLnBrk="1" hangingPunct="1">
        <a:spcBef>
          <a:spcPct val="20000"/>
        </a:spcBef>
        <a:buFont typeface="Arial" pitchFamily="34" charset="0"/>
        <a:buChar char="•"/>
        <a:defRPr sz="1722" kern="1200">
          <a:solidFill>
            <a:schemeClr val="tx1"/>
          </a:solidFill>
          <a:latin typeface="+mn-lt"/>
          <a:ea typeface="+mn-ea"/>
          <a:cs typeface="+mn-cs"/>
        </a:defRPr>
      </a:lvl6pPr>
      <a:lvl7pPr marL="2530627" indent="-194665" algn="l" defTabSz="778657" rtl="0" eaLnBrk="1" latinLnBrk="1" hangingPunct="1">
        <a:spcBef>
          <a:spcPct val="20000"/>
        </a:spcBef>
        <a:buFont typeface="Arial" pitchFamily="34" charset="0"/>
        <a:buChar char="•"/>
        <a:defRPr sz="1722" kern="1200">
          <a:solidFill>
            <a:schemeClr val="tx1"/>
          </a:solidFill>
          <a:latin typeface="+mn-lt"/>
          <a:ea typeface="+mn-ea"/>
          <a:cs typeface="+mn-cs"/>
        </a:defRPr>
      </a:lvl7pPr>
      <a:lvl8pPr marL="2919953" indent="-194665" algn="l" defTabSz="778657" rtl="0" eaLnBrk="1" latinLnBrk="1" hangingPunct="1">
        <a:spcBef>
          <a:spcPct val="20000"/>
        </a:spcBef>
        <a:buFont typeface="Arial" pitchFamily="34" charset="0"/>
        <a:buChar char="•"/>
        <a:defRPr sz="1722" kern="1200">
          <a:solidFill>
            <a:schemeClr val="tx1"/>
          </a:solidFill>
          <a:latin typeface="+mn-lt"/>
          <a:ea typeface="+mn-ea"/>
          <a:cs typeface="+mn-cs"/>
        </a:defRPr>
      </a:lvl8pPr>
      <a:lvl9pPr marL="3309283" indent="-194665" algn="l" defTabSz="778657" rtl="0" eaLnBrk="1" latinLnBrk="1" hangingPunct="1">
        <a:spcBef>
          <a:spcPct val="20000"/>
        </a:spcBef>
        <a:buFont typeface="Arial" pitchFamily="34" charset="0"/>
        <a:buChar char="•"/>
        <a:defRPr sz="172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778657" rtl="0" eaLnBrk="1" latinLnBrk="1" hangingPunct="1">
        <a:defRPr sz="1565" kern="1200">
          <a:solidFill>
            <a:schemeClr val="tx1"/>
          </a:solidFill>
          <a:latin typeface="+mn-lt"/>
          <a:ea typeface="+mn-ea"/>
          <a:cs typeface="+mn-cs"/>
        </a:defRPr>
      </a:lvl1pPr>
      <a:lvl2pPr marL="389329" algn="l" defTabSz="778657" rtl="0" eaLnBrk="1" latinLnBrk="1" hangingPunct="1">
        <a:defRPr sz="1565" kern="1200">
          <a:solidFill>
            <a:schemeClr val="tx1"/>
          </a:solidFill>
          <a:latin typeface="+mn-lt"/>
          <a:ea typeface="+mn-ea"/>
          <a:cs typeface="+mn-cs"/>
        </a:defRPr>
      </a:lvl2pPr>
      <a:lvl3pPr marL="778657" algn="l" defTabSz="778657" rtl="0" eaLnBrk="1" latinLnBrk="1" hangingPunct="1">
        <a:defRPr sz="1565" kern="1200">
          <a:solidFill>
            <a:schemeClr val="tx1"/>
          </a:solidFill>
          <a:latin typeface="+mn-lt"/>
          <a:ea typeface="+mn-ea"/>
          <a:cs typeface="+mn-cs"/>
        </a:defRPr>
      </a:lvl3pPr>
      <a:lvl4pPr marL="1167983" algn="l" defTabSz="778657" rtl="0" eaLnBrk="1" latinLnBrk="1" hangingPunct="1">
        <a:defRPr sz="1565" kern="1200">
          <a:solidFill>
            <a:schemeClr val="tx1"/>
          </a:solidFill>
          <a:latin typeface="+mn-lt"/>
          <a:ea typeface="+mn-ea"/>
          <a:cs typeface="+mn-cs"/>
        </a:defRPr>
      </a:lvl4pPr>
      <a:lvl5pPr marL="1557311" algn="l" defTabSz="778657" rtl="0" eaLnBrk="1" latinLnBrk="1" hangingPunct="1">
        <a:defRPr sz="1565" kern="1200">
          <a:solidFill>
            <a:schemeClr val="tx1"/>
          </a:solidFill>
          <a:latin typeface="+mn-lt"/>
          <a:ea typeface="+mn-ea"/>
          <a:cs typeface="+mn-cs"/>
        </a:defRPr>
      </a:lvl5pPr>
      <a:lvl6pPr marL="1946637" algn="l" defTabSz="778657" rtl="0" eaLnBrk="1" latinLnBrk="1" hangingPunct="1">
        <a:defRPr sz="1565" kern="1200">
          <a:solidFill>
            <a:schemeClr val="tx1"/>
          </a:solidFill>
          <a:latin typeface="+mn-lt"/>
          <a:ea typeface="+mn-ea"/>
          <a:cs typeface="+mn-cs"/>
        </a:defRPr>
      </a:lvl6pPr>
      <a:lvl7pPr marL="2335965" algn="l" defTabSz="778657" rtl="0" eaLnBrk="1" latinLnBrk="1" hangingPunct="1">
        <a:defRPr sz="1565" kern="1200">
          <a:solidFill>
            <a:schemeClr val="tx1"/>
          </a:solidFill>
          <a:latin typeface="+mn-lt"/>
          <a:ea typeface="+mn-ea"/>
          <a:cs typeface="+mn-cs"/>
        </a:defRPr>
      </a:lvl7pPr>
      <a:lvl8pPr marL="2725291" algn="l" defTabSz="778657" rtl="0" eaLnBrk="1" latinLnBrk="1" hangingPunct="1">
        <a:defRPr sz="1565" kern="1200">
          <a:solidFill>
            <a:schemeClr val="tx1"/>
          </a:solidFill>
          <a:latin typeface="+mn-lt"/>
          <a:ea typeface="+mn-ea"/>
          <a:cs typeface="+mn-cs"/>
        </a:defRPr>
      </a:lvl8pPr>
      <a:lvl9pPr marL="3114618" algn="l" defTabSz="778657" rtl="0" eaLnBrk="1" latinLnBrk="1" hangingPunct="1">
        <a:defRPr sz="15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76163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</p:sldLayoutIdLst>
  <p:hf hdr="0" ftr="0" dt="0"/>
  <p:txStyles>
    <p:titleStyle>
      <a:lvl1pPr algn="ctr" defTabSz="778657" rtl="0" eaLnBrk="1" latinLnBrk="1" hangingPunct="1">
        <a:spcBef>
          <a:spcPct val="0"/>
        </a:spcBef>
        <a:buNone/>
        <a:defRPr sz="375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1995" indent="-291995" algn="l" defTabSz="778657" rtl="0" eaLnBrk="1" latinLnBrk="1" hangingPunct="1">
        <a:spcBef>
          <a:spcPct val="20000"/>
        </a:spcBef>
        <a:buFont typeface="Arial" pitchFamily="34" charset="0"/>
        <a:buChar char="•"/>
        <a:defRPr sz="2739" kern="1200">
          <a:solidFill>
            <a:schemeClr val="tx1"/>
          </a:solidFill>
          <a:latin typeface="+mn-lt"/>
          <a:ea typeface="+mn-ea"/>
          <a:cs typeface="+mn-cs"/>
        </a:defRPr>
      </a:lvl1pPr>
      <a:lvl2pPr marL="632657" indent="-243333" algn="l" defTabSz="778657" rtl="0" eaLnBrk="1" latinLnBrk="1" hangingPunct="1">
        <a:spcBef>
          <a:spcPct val="20000"/>
        </a:spcBef>
        <a:buFont typeface="Arial" pitchFamily="34" charset="0"/>
        <a:buChar char="–"/>
        <a:defRPr sz="2347" kern="1200">
          <a:solidFill>
            <a:schemeClr val="tx1"/>
          </a:solidFill>
          <a:latin typeface="+mn-lt"/>
          <a:ea typeface="+mn-ea"/>
          <a:cs typeface="+mn-cs"/>
        </a:defRPr>
      </a:lvl2pPr>
      <a:lvl3pPr marL="973321" indent="-194665" algn="l" defTabSz="778657" rtl="0" eaLnBrk="1" latinLnBrk="1" hangingPunct="1">
        <a:spcBef>
          <a:spcPct val="20000"/>
        </a:spcBef>
        <a:buFont typeface="Arial" pitchFamily="34" charset="0"/>
        <a:buChar char="•"/>
        <a:defRPr sz="2035" kern="1200">
          <a:solidFill>
            <a:schemeClr val="tx1"/>
          </a:solidFill>
          <a:latin typeface="+mn-lt"/>
          <a:ea typeface="+mn-ea"/>
          <a:cs typeface="+mn-cs"/>
        </a:defRPr>
      </a:lvl3pPr>
      <a:lvl4pPr marL="1362645" indent="-194665" algn="l" defTabSz="778657" rtl="0" eaLnBrk="1" latinLnBrk="1" hangingPunct="1">
        <a:spcBef>
          <a:spcPct val="20000"/>
        </a:spcBef>
        <a:buFont typeface="Arial" pitchFamily="34" charset="0"/>
        <a:buChar char="–"/>
        <a:defRPr sz="1722" kern="1200">
          <a:solidFill>
            <a:schemeClr val="tx1"/>
          </a:solidFill>
          <a:latin typeface="+mn-lt"/>
          <a:ea typeface="+mn-ea"/>
          <a:cs typeface="+mn-cs"/>
        </a:defRPr>
      </a:lvl4pPr>
      <a:lvl5pPr marL="1751972" indent="-194665" algn="l" defTabSz="778657" rtl="0" eaLnBrk="1" latinLnBrk="1" hangingPunct="1">
        <a:spcBef>
          <a:spcPct val="20000"/>
        </a:spcBef>
        <a:buFont typeface="Arial" pitchFamily="34" charset="0"/>
        <a:buChar char="»"/>
        <a:defRPr sz="1722" kern="1200">
          <a:solidFill>
            <a:schemeClr val="tx1"/>
          </a:solidFill>
          <a:latin typeface="+mn-lt"/>
          <a:ea typeface="+mn-ea"/>
          <a:cs typeface="+mn-cs"/>
        </a:defRPr>
      </a:lvl5pPr>
      <a:lvl6pPr marL="2141300" indent="-194665" algn="l" defTabSz="778657" rtl="0" eaLnBrk="1" latinLnBrk="1" hangingPunct="1">
        <a:spcBef>
          <a:spcPct val="20000"/>
        </a:spcBef>
        <a:buFont typeface="Arial" pitchFamily="34" charset="0"/>
        <a:buChar char="•"/>
        <a:defRPr sz="1722" kern="1200">
          <a:solidFill>
            <a:schemeClr val="tx1"/>
          </a:solidFill>
          <a:latin typeface="+mn-lt"/>
          <a:ea typeface="+mn-ea"/>
          <a:cs typeface="+mn-cs"/>
        </a:defRPr>
      </a:lvl6pPr>
      <a:lvl7pPr marL="2530627" indent="-194665" algn="l" defTabSz="778657" rtl="0" eaLnBrk="1" latinLnBrk="1" hangingPunct="1">
        <a:spcBef>
          <a:spcPct val="20000"/>
        </a:spcBef>
        <a:buFont typeface="Arial" pitchFamily="34" charset="0"/>
        <a:buChar char="•"/>
        <a:defRPr sz="1722" kern="1200">
          <a:solidFill>
            <a:schemeClr val="tx1"/>
          </a:solidFill>
          <a:latin typeface="+mn-lt"/>
          <a:ea typeface="+mn-ea"/>
          <a:cs typeface="+mn-cs"/>
        </a:defRPr>
      </a:lvl7pPr>
      <a:lvl8pPr marL="2919953" indent="-194665" algn="l" defTabSz="778657" rtl="0" eaLnBrk="1" latinLnBrk="1" hangingPunct="1">
        <a:spcBef>
          <a:spcPct val="20000"/>
        </a:spcBef>
        <a:buFont typeface="Arial" pitchFamily="34" charset="0"/>
        <a:buChar char="•"/>
        <a:defRPr sz="1722" kern="1200">
          <a:solidFill>
            <a:schemeClr val="tx1"/>
          </a:solidFill>
          <a:latin typeface="+mn-lt"/>
          <a:ea typeface="+mn-ea"/>
          <a:cs typeface="+mn-cs"/>
        </a:defRPr>
      </a:lvl8pPr>
      <a:lvl9pPr marL="3309283" indent="-194665" algn="l" defTabSz="778657" rtl="0" eaLnBrk="1" latinLnBrk="1" hangingPunct="1">
        <a:spcBef>
          <a:spcPct val="20000"/>
        </a:spcBef>
        <a:buFont typeface="Arial" pitchFamily="34" charset="0"/>
        <a:buChar char="•"/>
        <a:defRPr sz="172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778657" rtl="0" eaLnBrk="1" latinLnBrk="1" hangingPunct="1">
        <a:defRPr sz="1565" kern="1200">
          <a:solidFill>
            <a:schemeClr val="tx1"/>
          </a:solidFill>
          <a:latin typeface="+mn-lt"/>
          <a:ea typeface="+mn-ea"/>
          <a:cs typeface="+mn-cs"/>
        </a:defRPr>
      </a:lvl1pPr>
      <a:lvl2pPr marL="389329" algn="l" defTabSz="778657" rtl="0" eaLnBrk="1" latinLnBrk="1" hangingPunct="1">
        <a:defRPr sz="1565" kern="1200">
          <a:solidFill>
            <a:schemeClr val="tx1"/>
          </a:solidFill>
          <a:latin typeface="+mn-lt"/>
          <a:ea typeface="+mn-ea"/>
          <a:cs typeface="+mn-cs"/>
        </a:defRPr>
      </a:lvl2pPr>
      <a:lvl3pPr marL="778657" algn="l" defTabSz="778657" rtl="0" eaLnBrk="1" latinLnBrk="1" hangingPunct="1">
        <a:defRPr sz="1565" kern="1200">
          <a:solidFill>
            <a:schemeClr val="tx1"/>
          </a:solidFill>
          <a:latin typeface="+mn-lt"/>
          <a:ea typeface="+mn-ea"/>
          <a:cs typeface="+mn-cs"/>
        </a:defRPr>
      </a:lvl3pPr>
      <a:lvl4pPr marL="1167983" algn="l" defTabSz="778657" rtl="0" eaLnBrk="1" latinLnBrk="1" hangingPunct="1">
        <a:defRPr sz="1565" kern="1200">
          <a:solidFill>
            <a:schemeClr val="tx1"/>
          </a:solidFill>
          <a:latin typeface="+mn-lt"/>
          <a:ea typeface="+mn-ea"/>
          <a:cs typeface="+mn-cs"/>
        </a:defRPr>
      </a:lvl4pPr>
      <a:lvl5pPr marL="1557311" algn="l" defTabSz="778657" rtl="0" eaLnBrk="1" latinLnBrk="1" hangingPunct="1">
        <a:defRPr sz="1565" kern="1200">
          <a:solidFill>
            <a:schemeClr val="tx1"/>
          </a:solidFill>
          <a:latin typeface="+mn-lt"/>
          <a:ea typeface="+mn-ea"/>
          <a:cs typeface="+mn-cs"/>
        </a:defRPr>
      </a:lvl5pPr>
      <a:lvl6pPr marL="1946637" algn="l" defTabSz="778657" rtl="0" eaLnBrk="1" latinLnBrk="1" hangingPunct="1">
        <a:defRPr sz="1565" kern="1200">
          <a:solidFill>
            <a:schemeClr val="tx1"/>
          </a:solidFill>
          <a:latin typeface="+mn-lt"/>
          <a:ea typeface="+mn-ea"/>
          <a:cs typeface="+mn-cs"/>
        </a:defRPr>
      </a:lvl6pPr>
      <a:lvl7pPr marL="2335965" algn="l" defTabSz="778657" rtl="0" eaLnBrk="1" latinLnBrk="1" hangingPunct="1">
        <a:defRPr sz="1565" kern="1200">
          <a:solidFill>
            <a:schemeClr val="tx1"/>
          </a:solidFill>
          <a:latin typeface="+mn-lt"/>
          <a:ea typeface="+mn-ea"/>
          <a:cs typeface="+mn-cs"/>
        </a:defRPr>
      </a:lvl7pPr>
      <a:lvl8pPr marL="2725291" algn="l" defTabSz="778657" rtl="0" eaLnBrk="1" latinLnBrk="1" hangingPunct="1">
        <a:defRPr sz="1565" kern="1200">
          <a:solidFill>
            <a:schemeClr val="tx1"/>
          </a:solidFill>
          <a:latin typeface="+mn-lt"/>
          <a:ea typeface="+mn-ea"/>
          <a:cs typeface="+mn-cs"/>
        </a:defRPr>
      </a:lvl8pPr>
      <a:lvl9pPr marL="3114618" algn="l" defTabSz="778657" rtl="0" eaLnBrk="1" latinLnBrk="1" hangingPunct="1">
        <a:defRPr sz="15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881" y="164579"/>
            <a:ext cx="348918" cy="629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그림 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57" y="2"/>
            <a:ext cx="10386996" cy="72565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9823172" y="6956147"/>
            <a:ext cx="577827" cy="251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3710" tIns="46856" rIns="93710" bIns="46856"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marL="0" marR="0" lvl="0" indent="0" algn="r" defTabSz="937589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92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fld id="{984180F1-E13E-4965-A32A-268A431B8F2F}" type="slidenum">
              <a:rPr kumimoji="0" lang="ko-KR" altLang="en-US" sz="1492" b="1" i="0" u="none" strike="noStrike" kern="1200" cap="none" spc="0" normalizeH="0" baseline="0" noProof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pPr marL="0" marR="0" lvl="0" indent="0" algn="r" defTabSz="937589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492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pic>
        <p:nvPicPr>
          <p:cNvPr id="5125" name="그림 12" descr="그림5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9717" y="104123"/>
            <a:ext cx="876240" cy="350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1396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3" r:id="rId3"/>
  </p:sldLayoutIdLst>
  <p:hf hdr="0" ftr="0" dt="0"/>
  <p:txStyles>
    <p:titleStyle>
      <a:lvl1pPr algn="ctr" defTabSz="936210" rtl="0" eaLnBrk="0" fontAlgn="base" latinLnBrk="1" hangingPunct="0">
        <a:spcBef>
          <a:spcPct val="0"/>
        </a:spcBef>
        <a:spcAft>
          <a:spcPct val="0"/>
        </a:spcAft>
        <a:defRPr sz="4475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936210" rtl="0" eaLnBrk="0" fontAlgn="base" latinLnBrk="1" hangingPunct="0">
        <a:spcBef>
          <a:spcPct val="0"/>
        </a:spcBef>
        <a:spcAft>
          <a:spcPct val="0"/>
        </a:spcAft>
        <a:defRPr sz="4475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defTabSz="936210" rtl="0" eaLnBrk="0" fontAlgn="base" latinLnBrk="1" hangingPunct="0">
        <a:spcBef>
          <a:spcPct val="0"/>
        </a:spcBef>
        <a:spcAft>
          <a:spcPct val="0"/>
        </a:spcAft>
        <a:defRPr sz="4475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defTabSz="936210" rtl="0" eaLnBrk="0" fontAlgn="base" latinLnBrk="1" hangingPunct="0">
        <a:spcBef>
          <a:spcPct val="0"/>
        </a:spcBef>
        <a:spcAft>
          <a:spcPct val="0"/>
        </a:spcAft>
        <a:defRPr sz="4475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defTabSz="936210" rtl="0" eaLnBrk="0" fontAlgn="base" latinLnBrk="1" hangingPunct="0">
        <a:spcBef>
          <a:spcPct val="0"/>
        </a:spcBef>
        <a:spcAft>
          <a:spcPct val="0"/>
        </a:spcAft>
        <a:defRPr sz="4475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4685" algn="ctr" defTabSz="936210" rtl="0" fontAlgn="base" latinLnBrk="1">
        <a:spcBef>
          <a:spcPct val="0"/>
        </a:spcBef>
        <a:spcAft>
          <a:spcPct val="0"/>
        </a:spcAft>
        <a:defRPr sz="4475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09371" algn="ctr" defTabSz="936210" rtl="0" fontAlgn="base" latinLnBrk="1">
        <a:spcBef>
          <a:spcPct val="0"/>
        </a:spcBef>
        <a:spcAft>
          <a:spcPct val="0"/>
        </a:spcAft>
        <a:defRPr sz="4475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64056" algn="ctr" defTabSz="936210" rtl="0" fontAlgn="base" latinLnBrk="1">
        <a:spcBef>
          <a:spcPct val="0"/>
        </a:spcBef>
        <a:spcAft>
          <a:spcPct val="0"/>
        </a:spcAft>
        <a:defRPr sz="4475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18742" algn="ctr" defTabSz="936210" rtl="0" fontAlgn="base" latinLnBrk="1">
        <a:spcBef>
          <a:spcPct val="0"/>
        </a:spcBef>
        <a:spcAft>
          <a:spcPct val="0"/>
        </a:spcAft>
        <a:defRPr sz="4475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50487" indent="-350487" algn="l" defTabSz="936210" rtl="0" eaLnBrk="0" fontAlgn="base" latinLnBrk="1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82" kern="1200">
          <a:solidFill>
            <a:schemeClr val="tx1"/>
          </a:solidFill>
          <a:latin typeface="+mn-lt"/>
          <a:ea typeface="+mn-ea"/>
          <a:cs typeface="+mn-cs"/>
        </a:defRPr>
      </a:lvl1pPr>
      <a:lvl2pPr marL="760967" indent="-292073" algn="l" defTabSz="936210" rtl="0" eaLnBrk="0" fontAlgn="base" latinLnBrk="1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785" kern="1200">
          <a:solidFill>
            <a:schemeClr val="tx1"/>
          </a:solidFill>
          <a:latin typeface="+mn-lt"/>
          <a:ea typeface="+mn-ea"/>
          <a:cs typeface="+mn-cs"/>
        </a:defRPr>
      </a:lvl2pPr>
      <a:lvl3pPr marL="1171446" indent="-233658" algn="l" defTabSz="936210" rtl="0" eaLnBrk="0" fontAlgn="base" latinLnBrk="1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86" kern="1200">
          <a:solidFill>
            <a:schemeClr val="tx1"/>
          </a:solidFill>
          <a:latin typeface="+mn-lt"/>
          <a:ea typeface="+mn-ea"/>
          <a:cs typeface="+mn-cs"/>
        </a:defRPr>
      </a:lvl3pPr>
      <a:lvl4pPr marL="1640341" indent="-233658" algn="l" defTabSz="936210" rtl="0" eaLnBrk="0" fontAlgn="base" latinLnBrk="1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88" kern="1200">
          <a:solidFill>
            <a:schemeClr val="tx1"/>
          </a:solidFill>
          <a:latin typeface="+mn-lt"/>
          <a:ea typeface="+mn-ea"/>
          <a:cs typeface="+mn-cs"/>
        </a:defRPr>
      </a:lvl4pPr>
      <a:lvl5pPr marL="2109235" indent="-233658" algn="l" defTabSz="936210" rtl="0" eaLnBrk="0" fontAlgn="base" latinLnBrk="1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88" kern="1200">
          <a:solidFill>
            <a:schemeClr val="tx1"/>
          </a:solidFill>
          <a:latin typeface="+mn-lt"/>
          <a:ea typeface="+mn-ea"/>
          <a:cs typeface="+mn-cs"/>
        </a:defRPr>
      </a:lvl5pPr>
      <a:lvl6pPr marL="2578360" indent="-234398" algn="l" defTabSz="937589" rtl="0" eaLnBrk="1" latinLnBrk="1" hangingPunct="1">
        <a:spcBef>
          <a:spcPct val="20000"/>
        </a:spcBef>
        <a:buFont typeface="Arial" pitchFamily="34" charset="0"/>
        <a:buChar char="•"/>
        <a:defRPr sz="2088" kern="1200">
          <a:solidFill>
            <a:schemeClr val="tx1"/>
          </a:solidFill>
          <a:latin typeface="+mn-lt"/>
          <a:ea typeface="+mn-ea"/>
          <a:cs typeface="+mn-cs"/>
        </a:defRPr>
      </a:lvl6pPr>
      <a:lvl7pPr marL="3047152" indent="-234398" algn="l" defTabSz="937589" rtl="0" eaLnBrk="1" latinLnBrk="1" hangingPunct="1">
        <a:spcBef>
          <a:spcPct val="20000"/>
        </a:spcBef>
        <a:buFont typeface="Arial" pitchFamily="34" charset="0"/>
        <a:buChar char="•"/>
        <a:defRPr sz="2088" kern="1200">
          <a:solidFill>
            <a:schemeClr val="tx1"/>
          </a:solidFill>
          <a:latin typeface="+mn-lt"/>
          <a:ea typeface="+mn-ea"/>
          <a:cs typeface="+mn-cs"/>
        </a:defRPr>
      </a:lvl7pPr>
      <a:lvl8pPr marL="3515944" indent="-234398" algn="l" defTabSz="937589" rtl="0" eaLnBrk="1" latinLnBrk="1" hangingPunct="1">
        <a:spcBef>
          <a:spcPct val="20000"/>
        </a:spcBef>
        <a:buFont typeface="Arial" pitchFamily="34" charset="0"/>
        <a:buChar char="•"/>
        <a:defRPr sz="2088" kern="1200">
          <a:solidFill>
            <a:schemeClr val="tx1"/>
          </a:solidFill>
          <a:latin typeface="+mn-lt"/>
          <a:ea typeface="+mn-ea"/>
          <a:cs typeface="+mn-cs"/>
        </a:defRPr>
      </a:lvl8pPr>
      <a:lvl9pPr marL="3984739" indent="-234398" algn="l" defTabSz="937589" rtl="0" eaLnBrk="1" latinLnBrk="1" hangingPunct="1">
        <a:spcBef>
          <a:spcPct val="20000"/>
        </a:spcBef>
        <a:buFont typeface="Arial" pitchFamily="34" charset="0"/>
        <a:buChar char="•"/>
        <a:defRPr sz="20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37589" rtl="0" eaLnBrk="1" latinLnBrk="1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1pPr>
      <a:lvl2pPr marL="468794" algn="l" defTabSz="937589" rtl="0" eaLnBrk="1" latinLnBrk="1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2pPr>
      <a:lvl3pPr marL="937589" algn="l" defTabSz="937589" rtl="0" eaLnBrk="1" latinLnBrk="1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3pPr>
      <a:lvl4pPr marL="1406379" algn="l" defTabSz="937589" rtl="0" eaLnBrk="1" latinLnBrk="1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4pPr>
      <a:lvl5pPr marL="1875173" algn="l" defTabSz="937589" rtl="0" eaLnBrk="1" latinLnBrk="1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5pPr>
      <a:lvl6pPr marL="2343965" algn="l" defTabSz="937589" rtl="0" eaLnBrk="1" latinLnBrk="1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6pPr>
      <a:lvl7pPr marL="2812756" algn="l" defTabSz="937589" rtl="0" eaLnBrk="1" latinLnBrk="1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7pPr>
      <a:lvl8pPr marL="3281549" algn="l" defTabSz="937589" rtl="0" eaLnBrk="1" latinLnBrk="1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8pPr>
      <a:lvl9pPr marL="3750340" algn="l" defTabSz="937589" rtl="0" eaLnBrk="1" latinLnBrk="1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881" y="164579"/>
            <a:ext cx="348918" cy="629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그림 1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57" y="2"/>
            <a:ext cx="10386996" cy="72565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9823174" y="6956147"/>
            <a:ext cx="577827" cy="251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3710" tIns="46856" rIns="93710" bIns="46856"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marL="0" marR="0" lvl="0" indent="0" algn="r" defTabSz="937589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92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fld id="{09B7D0B5-DACC-4765-915E-B8C2787F2262}" type="slidenum">
              <a:rPr kumimoji="0" lang="ko-KR" altLang="en-US" sz="1492" b="1" i="0" u="none" strike="noStrike" kern="1200" cap="none" spc="0" normalizeH="0" baseline="0" noProof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pPr marL="0" marR="0" lvl="0" indent="0" algn="r" defTabSz="937589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492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pic>
        <p:nvPicPr>
          <p:cNvPr id="2053" name="그림 12" descr="그림5.png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9717" y="104123"/>
            <a:ext cx="876240" cy="350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32791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</p:sldLayoutIdLst>
  <p:hf hdr="0" ftr="0" dt="0"/>
  <p:txStyles>
    <p:titleStyle>
      <a:lvl1pPr algn="ctr" defTabSz="936210" rtl="0" eaLnBrk="0" fontAlgn="base" latinLnBrk="1" hangingPunct="0">
        <a:spcBef>
          <a:spcPct val="0"/>
        </a:spcBef>
        <a:spcAft>
          <a:spcPct val="0"/>
        </a:spcAft>
        <a:defRPr sz="4475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936210" rtl="0" eaLnBrk="0" fontAlgn="base" latinLnBrk="1" hangingPunct="0">
        <a:spcBef>
          <a:spcPct val="0"/>
        </a:spcBef>
        <a:spcAft>
          <a:spcPct val="0"/>
        </a:spcAft>
        <a:defRPr sz="4475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defTabSz="936210" rtl="0" eaLnBrk="0" fontAlgn="base" latinLnBrk="1" hangingPunct="0">
        <a:spcBef>
          <a:spcPct val="0"/>
        </a:spcBef>
        <a:spcAft>
          <a:spcPct val="0"/>
        </a:spcAft>
        <a:defRPr sz="4475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defTabSz="936210" rtl="0" eaLnBrk="0" fontAlgn="base" latinLnBrk="1" hangingPunct="0">
        <a:spcBef>
          <a:spcPct val="0"/>
        </a:spcBef>
        <a:spcAft>
          <a:spcPct val="0"/>
        </a:spcAft>
        <a:defRPr sz="4475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defTabSz="936210" rtl="0" eaLnBrk="0" fontAlgn="base" latinLnBrk="1" hangingPunct="0">
        <a:spcBef>
          <a:spcPct val="0"/>
        </a:spcBef>
        <a:spcAft>
          <a:spcPct val="0"/>
        </a:spcAft>
        <a:defRPr sz="4475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4685" algn="ctr" defTabSz="936210" rtl="0" fontAlgn="base" latinLnBrk="1">
        <a:spcBef>
          <a:spcPct val="0"/>
        </a:spcBef>
        <a:spcAft>
          <a:spcPct val="0"/>
        </a:spcAft>
        <a:defRPr sz="4475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09371" algn="ctr" defTabSz="936210" rtl="0" fontAlgn="base" latinLnBrk="1">
        <a:spcBef>
          <a:spcPct val="0"/>
        </a:spcBef>
        <a:spcAft>
          <a:spcPct val="0"/>
        </a:spcAft>
        <a:defRPr sz="4475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64056" algn="ctr" defTabSz="936210" rtl="0" fontAlgn="base" latinLnBrk="1">
        <a:spcBef>
          <a:spcPct val="0"/>
        </a:spcBef>
        <a:spcAft>
          <a:spcPct val="0"/>
        </a:spcAft>
        <a:defRPr sz="4475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18742" algn="ctr" defTabSz="936210" rtl="0" fontAlgn="base" latinLnBrk="1">
        <a:spcBef>
          <a:spcPct val="0"/>
        </a:spcBef>
        <a:spcAft>
          <a:spcPct val="0"/>
        </a:spcAft>
        <a:defRPr sz="4475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50487" indent="-350487" algn="l" defTabSz="936210" rtl="0" eaLnBrk="0" fontAlgn="base" latinLnBrk="1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82" kern="1200">
          <a:solidFill>
            <a:schemeClr val="tx1"/>
          </a:solidFill>
          <a:latin typeface="+mn-lt"/>
          <a:ea typeface="+mn-ea"/>
          <a:cs typeface="+mn-cs"/>
        </a:defRPr>
      </a:lvl1pPr>
      <a:lvl2pPr marL="760967" indent="-292073" algn="l" defTabSz="936210" rtl="0" eaLnBrk="0" fontAlgn="base" latinLnBrk="1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785" kern="1200">
          <a:solidFill>
            <a:schemeClr val="tx1"/>
          </a:solidFill>
          <a:latin typeface="+mn-lt"/>
          <a:ea typeface="+mn-ea"/>
          <a:cs typeface="+mn-cs"/>
        </a:defRPr>
      </a:lvl2pPr>
      <a:lvl3pPr marL="1171446" indent="-233658" algn="l" defTabSz="936210" rtl="0" eaLnBrk="0" fontAlgn="base" latinLnBrk="1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86" kern="1200">
          <a:solidFill>
            <a:schemeClr val="tx1"/>
          </a:solidFill>
          <a:latin typeface="+mn-lt"/>
          <a:ea typeface="+mn-ea"/>
          <a:cs typeface="+mn-cs"/>
        </a:defRPr>
      </a:lvl3pPr>
      <a:lvl4pPr marL="1640341" indent="-233658" algn="l" defTabSz="936210" rtl="0" eaLnBrk="0" fontAlgn="base" latinLnBrk="1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88" kern="1200">
          <a:solidFill>
            <a:schemeClr val="tx1"/>
          </a:solidFill>
          <a:latin typeface="+mn-lt"/>
          <a:ea typeface="+mn-ea"/>
          <a:cs typeface="+mn-cs"/>
        </a:defRPr>
      </a:lvl4pPr>
      <a:lvl5pPr marL="2109235" indent="-233658" algn="l" defTabSz="936210" rtl="0" eaLnBrk="0" fontAlgn="base" latinLnBrk="1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88" kern="1200">
          <a:solidFill>
            <a:schemeClr val="tx1"/>
          </a:solidFill>
          <a:latin typeface="+mn-lt"/>
          <a:ea typeface="+mn-ea"/>
          <a:cs typeface="+mn-cs"/>
        </a:defRPr>
      </a:lvl5pPr>
      <a:lvl6pPr marL="2578360" indent="-234398" algn="l" defTabSz="937589" rtl="0" eaLnBrk="1" latinLnBrk="1" hangingPunct="1">
        <a:spcBef>
          <a:spcPct val="20000"/>
        </a:spcBef>
        <a:buFont typeface="Arial" pitchFamily="34" charset="0"/>
        <a:buChar char="•"/>
        <a:defRPr sz="2088" kern="1200">
          <a:solidFill>
            <a:schemeClr val="tx1"/>
          </a:solidFill>
          <a:latin typeface="+mn-lt"/>
          <a:ea typeface="+mn-ea"/>
          <a:cs typeface="+mn-cs"/>
        </a:defRPr>
      </a:lvl6pPr>
      <a:lvl7pPr marL="3047152" indent="-234398" algn="l" defTabSz="937589" rtl="0" eaLnBrk="1" latinLnBrk="1" hangingPunct="1">
        <a:spcBef>
          <a:spcPct val="20000"/>
        </a:spcBef>
        <a:buFont typeface="Arial" pitchFamily="34" charset="0"/>
        <a:buChar char="•"/>
        <a:defRPr sz="2088" kern="1200">
          <a:solidFill>
            <a:schemeClr val="tx1"/>
          </a:solidFill>
          <a:latin typeface="+mn-lt"/>
          <a:ea typeface="+mn-ea"/>
          <a:cs typeface="+mn-cs"/>
        </a:defRPr>
      </a:lvl7pPr>
      <a:lvl8pPr marL="3515944" indent="-234398" algn="l" defTabSz="937589" rtl="0" eaLnBrk="1" latinLnBrk="1" hangingPunct="1">
        <a:spcBef>
          <a:spcPct val="20000"/>
        </a:spcBef>
        <a:buFont typeface="Arial" pitchFamily="34" charset="0"/>
        <a:buChar char="•"/>
        <a:defRPr sz="2088" kern="1200">
          <a:solidFill>
            <a:schemeClr val="tx1"/>
          </a:solidFill>
          <a:latin typeface="+mn-lt"/>
          <a:ea typeface="+mn-ea"/>
          <a:cs typeface="+mn-cs"/>
        </a:defRPr>
      </a:lvl8pPr>
      <a:lvl9pPr marL="3984739" indent="-234398" algn="l" defTabSz="937589" rtl="0" eaLnBrk="1" latinLnBrk="1" hangingPunct="1">
        <a:spcBef>
          <a:spcPct val="20000"/>
        </a:spcBef>
        <a:buFont typeface="Arial" pitchFamily="34" charset="0"/>
        <a:buChar char="•"/>
        <a:defRPr sz="20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37589" rtl="0" eaLnBrk="1" latinLnBrk="1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1pPr>
      <a:lvl2pPr marL="468794" algn="l" defTabSz="937589" rtl="0" eaLnBrk="1" latinLnBrk="1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2pPr>
      <a:lvl3pPr marL="937589" algn="l" defTabSz="937589" rtl="0" eaLnBrk="1" latinLnBrk="1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3pPr>
      <a:lvl4pPr marL="1406379" algn="l" defTabSz="937589" rtl="0" eaLnBrk="1" latinLnBrk="1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4pPr>
      <a:lvl5pPr marL="1875173" algn="l" defTabSz="937589" rtl="0" eaLnBrk="1" latinLnBrk="1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5pPr>
      <a:lvl6pPr marL="2343965" algn="l" defTabSz="937589" rtl="0" eaLnBrk="1" latinLnBrk="1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6pPr>
      <a:lvl7pPr marL="2812756" algn="l" defTabSz="937589" rtl="0" eaLnBrk="1" latinLnBrk="1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7pPr>
      <a:lvl8pPr marL="3281549" algn="l" defTabSz="937589" rtl="0" eaLnBrk="1" latinLnBrk="1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8pPr>
      <a:lvl9pPr marL="3750340" algn="l" defTabSz="937589" rtl="0" eaLnBrk="1" latinLnBrk="1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881" y="164579"/>
            <a:ext cx="348918" cy="629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그림 1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57" y="2"/>
            <a:ext cx="10386996" cy="72565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9823174" y="6956147"/>
            <a:ext cx="577827" cy="251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3710" tIns="46856" rIns="93710" bIns="46856"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marL="0" marR="0" lvl="0" indent="0" algn="r" defTabSz="937589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92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fld id="{3E36CC89-0EDC-4B04-A309-E46A0FA4371F}" type="slidenum">
              <a:rPr kumimoji="0" lang="ko-KR" altLang="en-US" sz="1492" b="1" i="0" u="none" strike="noStrike" kern="1200" cap="none" spc="0" normalizeH="0" baseline="0" noProof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pPr marL="0" marR="0" lvl="0" indent="0" algn="r" defTabSz="937589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492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pic>
        <p:nvPicPr>
          <p:cNvPr id="2053" name="그림 12" descr="그림5.png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9717" y="104123"/>
            <a:ext cx="876240" cy="350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57910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</p:sldLayoutIdLst>
  <p:hf hdr="0" ftr="0" dt="0"/>
  <p:txStyles>
    <p:titleStyle>
      <a:lvl1pPr algn="ctr" defTabSz="936210" rtl="0" eaLnBrk="0" fontAlgn="base" latinLnBrk="1" hangingPunct="0">
        <a:spcBef>
          <a:spcPct val="0"/>
        </a:spcBef>
        <a:spcAft>
          <a:spcPct val="0"/>
        </a:spcAft>
        <a:defRPr sz="4475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936210" rtl="0" eaLnBrk="0" fontAlgn="base" latinLnBrk="1" hangingPunct="0">
        <a:spcBef>
          <a:spcPct val="0"/>
        </a:spcBef>
        <a:spcAft>
          <a:spcPct val="0"/>
        </a:spcAft>
        <a:defRPr sz="4475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defTabSz="936210" rtl="0" eaLnBrk="0" fontAlgn="base" latinLnBrk="1" hangingPunct="0">
        <a:spcBef>
          <a:spcPct val="0"/>
        </a:spcBef>
        <a:spcAft>
          <a:spcPct val="0"/>
        </a:spcAft>
        <a:defRPr sz="4475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defTabSz="936210" rtl="0" eaLnBrk="0" fontAlgn="base" latinLnBrk="1" hangingPunct="0">
        <a:spcBef>
          <a:spcPct val="0"/>
        </a:spcBef>
        <a:spcAft>
          <a:spcPct val="0"/>
        </a:spcAft>
        <a:defRPr sz="4475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defTabSz="936210" rtl="0" eaLnBrk="0" fontAlgn="base" latinLnBrk="1" hangingPunct="0">
        <a:spcBef>
          <a:spcPct val="0"/>
        </a:spcBef>
        <a:spcAft>
          <a:spcPct val="0"/>
        </a:spcAft>
        <a:defRPr sz="4475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4685" algn="ctr" defTabSz="936210" rtl="0" fontAlgn="base" latinLnBrk="1">
        <a:spcBef>
          <a:spcPct val="0"/>
        </a:spcBef>
        <a:spcAft>
          <a:spcPct val="0"/>
        </a:spcAft>
        <a:defRPr sz="4475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09371" algn="ctr" defTabSz="936210" rtl="0" fontAlgn="base" latinLnBrk="1">
        <a:spcBef>
          <a:spcPct val="0"/>
        </a:spcBef>
        <a:spcAft>
          <a:spcPct val="0"/>
        </a:spcAft>
        <a:defRPr sz="4475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64056" algn="ctr" defTabSz="936210" rtl="0" fontAlgn="base" latinLnBrk="1">
        <a:spcBef>
          <a:spcPct val="0"/>
        </a:spcBef>
        <a:spcAft>
          <a:spcPct val="0"/>
        </a:spcAft>
        <a:defRPr sz="4475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18742" algn="ctr" defTabSz="936210" rtl="0" fontAlgn="base" latinLnBrk="1">
        <a:spcBef>
          <a:spcPct val="0"/>
        </a:spcBef>
        <a:spcAft>
          <a:spcPct val="0"/>
        </a:spcAft>
        <a:defRPr sz="4475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50487" indent="-350487" algn="l" defTabSz="936210" rtl="0" eaLnBrk="0" fontAlgn="base" latinLnBrk="1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82" kern="1200">
          <a:solidFill>
            <a:schemeClr val="tx1"/>
          </a:solidFill>
          <a:latin typeface="+mn-lt"/>
          <a:ea typeface="+mn-ea"/>
          <a:cs typeface="+mn-cs"/>
        </a:defRPr>
      </a:lvl1pPr>
      <a:lvl2pPr marL="760967" indent="-292073" algn="l" defTabSz="936210" rtl="0" eaLnBrk="0" fontAlgn="base" latinLnBrk="1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785" kern="1200">
          <a:solidFill>
            <a:schemeClr val="tx1"/>
          </a:solidFill>
          <a:latin typeface="+mn-lt"/>
          <a:ea typeface="+mn-ea"/>
          <a:cs typeface="+mn-cs"/>
        </a:defRPr>
      </a:lvl2pPr>
      <a:lvl3pPr marL="1171446" indent="-233658" algn="l" defTabSz="936210" rtl="0" eaLnBrk="0" fontAlgn="base" latinLnBrk="1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86" kern="1200">
          <a:solidFill>
            <a:schemeClr val="tx1"/>
          </a:solidFill>
          <a:latin typeface="+mn-lt"/>
          <a:ea typeface="+mn-ea"/>
          <a:cs typeface="+mn-cs"/>
        </a:defRPr>
      </a:lvl3pPr>
      <a:lvl4pPr marL="1640341" indent="-233658" algn="l" defTabSz="936210" rtl="0" eaLnBrk="0" fontAlgn="base" latinLnBrk="1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88" kern="1200">
          <a:solidFill>
            <a:schemeClr val="tx1"/>
          </a:solidFill>
          <a:latin typeface="+mn-lt"/>
          <a:ea typeface="+mn-ea"/>
          <a:cs typeface="+mn-cs"/>
        </a:defRPr>
      </a:lvl4pPr>
      <a:lvl5pPr marL="2109235" indent="-233658" algn="l" defTabSz="936210" rtl="0" eaLnBrk="0" fontAlgn="base" latinLnBrk="1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88" kern="1200">
          <a:solidFill>
            <a:schemeClr val="tx1"/>
          </a:solidFill>
          <a:latin typeface="+mn-lt"/>
          <a:ea typeface="+mn-ea"/>
          <a:cs typeface="+mn-cs"/>
        </a:defRPr>
      </a:lvl5pPr>
      <a:lvl6pPr marL="2578360" indent="-234398" algn="l" defTabSz="937589" rtl="0" eaLnBrk="1" latinLnBrk="1" hangingPunct="1">
        <a:spcBef>
          <a:spcPct val="20000"/>
        </a:spcBef>
        <a:buFont typeface="Arial" pitchFamily="34" charset="0"/>
        <a:buChar char="•"/>
        <a:defRPr sz="2088" kern="1200">
          <a:solidFill>
            <a:schemeClr val="tx1"/>
          </a:solidFill>
          <a:latin typeface="+mn-lt"/>
          <a:ea typeface="+mn-ea"/>
          <a:cs typeface="+mn-cs"/>
        </a:defRPr>
      </a:lvl6pPr>
      <a:lvl7pPr marL="3047152" indent="-234398" algn="l" defTabSz="937589" rtl="0" eaLnBrk="1" latinLnBrk="1" hangingPunct="1">
        <a:spcBef>
          <a:spcPct val="20000"/>
        </a:spcBef>
        <a:buFont typeface="Arial" pitchFamily="34" charset="0"/>
        <a:buChar char="•"/>
        <a:defRPr sz="2088" kern="1200">
          <a:solidFill>
            <a:schemeClr val="tx1"/>
          </a:solidFill>
          <a:latin typeface="+mn-lt"/>
          <a:ea typeface="+mn-ea"/>
          <a:cs typeface="+mn-cs"/>
        </a:defRPr>
      </a:lvl7pPr>
      <a:lvl8pPr marL="3515944" indent="-234398" algn="l" defTabSz="937589" rtl="0" eaLnBrk="1" latinLnBrk="1" hangingPunct="1">
        <a:spcBef>
          <a:spcPct val="20000"/>
        </a:spcBef>
        <a:buFont typeface="Arial" pitchFamily="34" charset="0"/>
        <a:buChar char="•"/>
        <a:defRPr sz="2088" kern="1200">
          <a:solidFill>
            <a:schemeClr val="tx1"/>
          </a:solidFill>
          <a:latin typeface="+mn-lt"/>
          <a:ea typeface="+mn-ea"/>
          <a:cs typeface="+mn-cs"/>
        </a:defRPr>
      </a:lvl8pPr>
      <a:lvl9pPr marL="3984739" indent="-234398" algn="l" defTabSz="937589" rtl="0" eaLnBrk="1" latinLnBrk="1" hangingPunct="1">
        <a:spcBef>
          <a:spcPct val="20000"/>
        </a:spcBef>
        <a:buFont typeface="Arial" pitchFamily="34" charset="0"/>
        <a:buChar char="•"/>
        <a:defRPr sz="20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37589" rtl="0" eaLnBrk="1" latinLnBrk="1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1pPr>
      <a:lvl2pPr marL="468794" algn="l" defTabSz="937589" rtl="0" eaLnBrk="1" latinLnBrk="1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2pPr>
      <a:lvl3pPr marL="937589" algn="l" defTabSz="937589" rtl="0" eaLnBrk="1" latinLnBrk="1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3pPr>
      <a:lvl4pPr marL="1406379" algn="l" defTabSz="937589" rtl="0" eaLnBrk="1" latinLnBrk="1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4pPr>
      <a:lvl5pPr marL="1875173" algn="l" defTabSz="937589" rtl="0" eaLnBrk="1" latinLnBrk="1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5pPr>
      <a:lvl6pPr marL="2343965" algn="l" defTabSz="937589" rtl="0" eaLnBrk="1" latinLnBrk="1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6pPr>
      <a:lvl7pPr marL="2812756" algn="l" defTabSz="937589" rtl="0" eaLnBrk="1" latinLnBrk="1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7pPr>
      <a:lvl8pPr marL="3281549" algn="l" defTabSz="937589" rtl="0" eaLnBrk="1" latinLnBrk="1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8pPr>
      <a:lvl9pPr marL="3750340" algn="l" defTabSz="937589" rtl="0" eaLnBrk="1" latinLnBrk="1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" y="680"/>
            <a:ext cx="10387752" cy="7060395"/>
          </a:xfrm>
          <a:prstGeom prst="rect">
            <a:avLst/>
          </a:prstGeom>
        </p:spPr>
      </p:pic>
      <p:sp>
        <p:nvSpPr>
          <p:cNvPr id="7" name="슬라이드 번호 개체 틀 2"/>
          <p:cNvSpPr txBox="1">
            <a:spLocks/>
          </p:cNvSpPr>
          <p:nvPr userDrawn="1"/>
        </p:nvSpPr>
        <p:spPr>
          <a:xfrm>
            <a:off x="9691481" y="6967999"/>
            <a:ext cx="631527" cy="322319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algn="r">
              <a:defRPr/>
            </a:pPr>
            <a:fld id="{C518B652-5059-46A7-89D9-3F882A9610B1}" type="slidenum">
              <a:rPr lang="en-US" altLang="ko-KR" sz="1200" b="1" smtClean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나눔고딕" pitchFamily="50" charset="-127"/>
                <a:ea typeface="나눔고딕" pitchFamily="50" charset="-127"/>
              </a:rPr>
              <a:pPr algn="r">
                <a:defRPr/>
              </a:pPr>
              <a:t>‹#›</a:t>
            </a:fld>
            <a:endParaRPr lang="en-US" altLang="ko-KR" sz="1200" b="1" dirty="0">
              <a:solidFill>
                <a:sysClr val="windowText" lastClr="000000">
                  <a:lumMod val="65000"/>
                  <a:lumOff val="35000"/>
                </a:sysClr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8" name="직사각형 7"/>
          <p:cNvSpPr/>
          <p:nvPr userDrawn="1"/>
        </p:nvSpPr>
        <p:spPr>
          <a:xfrm>
            <a:off x="9079046" y="29012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algn="ctr"/>
            <a:r>
              <a:rPr lang="ko-KR" altLang="en-US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나눔고딕" pitchFamily="50" charset="-127"/>
                <a:ea typeface="나눔고딕" pitchFamily="50" charset="-127"/>
              </a:rPr>
              <a:t>사내교육용</a:t>
            </a:r>
            <a:r>
              <a:rPr lang="en-US" altLang="ko-KR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나눔고딕" pitchFamily="50" charset="-127"/>
                <a:ea typeface="나눔고딕" pitchFamily="50" charset="-127"/>
              </a:rPr>
              <a:t>(</a:t>
            </a:r>
            <a:r>
              <a:rPr lang="ko-KR" altLang="en-US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나눔고딕" pitchFamily="50" charset="-127"/>
                <a:ea typeface="나눔고딕" pitchFamily="50" charset="-127"/>
              </a:rPr>
              <a:t>대외비</a:t>
            </a:r>
            <a:r>
              <a:rPr lang="en-US" altLang="ko-KR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나눔고딕" pitchFamily="50" charset="-127"/>
                <a:ea typeface="나눔고딕" pitchFamily="50" charset="-127"/>
              </a:rPr>
              <a:t>)</a:t>
            </a:r>
            <a:r>
              <a:rPr lang="ko-KR" altLang="en-US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나눔고딕" pitchFamily="50" charset="-127"/>
                <a:ea typeface="나눔고딕" pitchFamily="50" charset="-127"/>
              </a:rPr>
              <a:t>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6" r:id="rId3"/>
  </p:sldLayoutIdLst>
  <p:hf hdr="0" ftr="0" dt="0"/>
  <p:txStyles>
    <p:titleStyle>
      <a:lvl1pPr algn="ctr" defTabSz="871284" rtl="0" eaLnBrk="1" latinLnBrk="1" hangingPunct="1">
        <a:spcBef>
          <a:spcPct val="0"/>
        </a:spcBef>
        <a:buNone/>
        <a:defRPr sz="4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6732" indent="-326732" algn="l" defTabSz="871284" rtl="0" eaLnBrk="1" latinLnBrk="1" hangingPunct="1">
        <a:spcBef>
          <a:spcPct val="20000"/>
        </a:spcBef>
        <a:buFont typeface="Arial" pitchFamily="34" charset="0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1pPr>
      <a:lvl2pPr marL="707922" indent="-272276" algn="l" defTabSz="871284" rtl="0" eaLnBrk="1" latinLnBrk="1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89106" indent="-217821" algn="l" defTabSz="871284" rtl="0" eaLnBrk="1" latinLnBrk="1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524750" indent="-217821" algn="l" defTabSz="871284" rtl="0" eaLnBrk="1" latinLnBrk="1" hangingPunct="1">
        <a:spcBef>
          <a:spcPct val="20000"/>
        </a:spcBef>
        <a:buFont typeface="Arial" pitchFamily="34" charset="0"/>
        <a:buChar char="–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60390" indent="-217821" algn="l" defTabSz="871284" rtl="0" eaLnBrk="1" latinLnBrk="1" hangingPunct="1">
        <a:spcBef>
          <a:spcPct val="20000"/>
        </a:spcBef>
        <a:buFont typeface="Arial" pitchFamily="34" charset="0"/>
        <a:buChar char="»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6034" indent="-217821" algn="l" defTabSz="871284" rtl="0" eaLnBrk="1" latinLnBrk="1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31676" indent="-217821" algn="l" defTabSz="871284" rtl="0" eaLnBrk="1" latinLnBrk="1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67316" indent="-217821" algn="l" defTabSz="871284" rtl="0" eaLnBrk="1" latinLnBrk="1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702963" indent="-217821" algn="l" defTabSz="871284" rtl="0" eaLnBrk="1" latinLnBrk="1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871284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35643" algn="l" defTabSz="871284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71284" algn="l" defTabSz="871284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06928" algn="l" defTabSz="871284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42569" algn="l" defTabSz="871284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178212" algn="l" defTabSz="871284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13856" algn="l" defTabSz="871284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49498" algn="l" defTabSz="871284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85142" algn="l" defTabSz="871284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24700" y="6962189"/>
            <a:ext cx="6777856" cy="2400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5471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60" b="1" i="0" u="none" strike="noStrike" kern="1200" cap="none" spc="0" normalizeH="0" baseline="0" noProof="0" dirty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※ </a:t>
            </a:r>
            <a:r>
              <a:rPr kumimoji="0" lang="ko-KR" altLang="en-US" sz="960" b="1" i="0" u="none" strike="noStrike" kern="1200" cap="none" spc="0" normalizeH="0" baseline="0" noProof="0" dirty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본 자료는 컨설턴트 교육용으로 </a:t>
            </a:r>
            <a:r>
              <a:rPr kumimoji="0" lang="ko-KR" altLang="en-US" sz="960" b="1" i="0" u="none" strike="noStrike" kern="1200" cap="none" spc="0" normalizeH="0" baseline="0" noProof="0" dirty="0" err="1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환급금</a:t>
            </a:r>
            <a:r>
              <a:rPr kumimoji="0" lang="ko-KR" altLang="en-US" sz="960" b="1" i="0" u="none" strike="noStrike" kern="1200" cap="none" spc="0" normalizeH="0" baseline="0" noProof="0" dirty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및 보험금 지급의 근거가 될 수 없으며 고객안내자료로 활용할 수 없습니다</a:t>
            </a:r>
            <a:r>
              <a:rPr kumimoji="0" lang="en-US" altLang="ko-KR" sz="960" b="1" i="0" u="none" strike="noStrike" kern="1200" cap="none" spc="0" normalizeH="0" baseline="0" noProof="0" dirty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960" b="1" i="0" u="none" strike="noStrike" kern="1200" cap="none" spc="0" normalizeH="0" baseline="0" noProof="0" dirty="0">
              <a:ln>
                <a:noFill/>
              </a:ln>
              <a:solidFill>
                <a:srgbClr val="14145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9" name="모서리가 둥근 직사각형 8"/>
          <p:cNvSpPr/>
          <p:nvPr/>
        </p:nvSpPr>
        <p:spPr>
          <a:xfrm>
            <a:off x="9180431" y="134071"/>
            <a:ext cx="1015230" cy="234671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127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17274" rIns="0" bIns="17274" rtlCol="0" anchor="ctr">
            <a:spAutoFit/>
          </a:bodyPr>
          <a:lstStyle/>
          <a:p>
            <a:pPr marL="0" marR="0" lvl="0" indent="0" algn="ctr" defTabSz="87755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52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FP</a:t>
            </a:r>
            <a:r>
              <a:rPr kumimoji="0" lang="ko-KR" altLang="en-US" sz="1152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교육용자료</a:t>
            </a:r>
            <a:endParaRPr kumimoji="0" lang="ko-KR" altLang="en-US" sz="1152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1847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803" r:id="rId2"/>
    <p:sldLayoutId id="2147483804" r:id="rId3"/>
    <p:sldLayoutId id="2147483805" r:id="rId4"/>
    <p:sldLayoutId id="2147483806" r:id="rId5"/>
  </p:sldLayoutIdLst>
  <p:hf hdr="0" ftr="0" dt="0"/>
  <p:txStyles>
    <p:titleStyle>
      <a:lvl1pPr algn="ctr" defTabSz="778657" rtl="0" eaLnBrk="1" latinLnBrk="1" hangingPunct="1">
        <a:spcBef>
          <a:spcPct val="0"/>
        </a:spcBef>
        <a:buNone/>
        <a:defRPr sz="375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1995" indent="-291995" algn="l" defTabSz="778657" rtl="0" eaLnBrk="1" latinLnBrk="1" hangingPunct="1">
        <a:spcBef>
          <a:spcPct val="20000"/>
        </a:spcBef>
        <a:buFont typeface="Arial" pitchFamily="34" charset="0"/>
        <a:buChar char="•"/>
        <a:defRPr sz="2739" kern="1200">
          <a:solidFill>
            <a:schemeClr val="tx1"/>
          </a:solidFill>
          <a:latin typeface="+mn-lt"/>
          <a:ea typeface="+mn-ea"/>
          <a:cs typeface="+mn-cs"/>
        </a:defRPr>
      </a:lvl1pPr>
      <a:lvl2pPr marL="632657" indent="-243333" algn="l" defTabSz="778657" rtl="0" eaLnBrk="1" latinLnBrk="1" hangingPunct="1">
        <a:spcBef>
          <a:spcPct val="20000"/>
        </a:spcBef>
        <a:buFont typeface="Arial" pitchFamily="34" charset="0"/>
        <a:buChar char="–"/>
        <a:defRPr sz="2347" kern="1200">
          <a:solidFill>
            <a:schemeClr val="tx1"/>
          </a:solidFill>
          <a:latin typeface="+mn-lt"/>
          <a:ea typeface="+mn-ea"/>
          <a:cs typeface="+mn-cs"/>
        </a:defRPr>
      </a:lvl2pPr>
      <a:lvl3pPr marL="973321" indent="-194665" algn="l" defTabSz="778657" rtl="0" eaLnBrk="1" latinLnBrk="1" hangingPunct="1">
        <a:spcBef>
          <a:spcPct val="20000"/>
        </a:spcBef>
        <a:buFont typeface="Arial" pitchFamily="34" charset="0"/>
        <a:buChar char="•"/>
        <a:defRPr sz="2035" kern="1200">
          <a:solidFill>
            <a:schemeClr val="tx1"/>
          </a:solidFill>
          <a:latin typeface="+mn-lt"/>
          <a:ea typeface="+mn-ea"/>
          <a:cs typeface="+mn-cs"/>
        </a:defRPr>
      </a:lvl3pPr>
      <a:lvl4pPr marL="1362645" indent="-194665" algn="l" defTabSz="778657" rtl="0" eaLnBrk="1" latinLnBrk="1" hangingPunct="1">
        <a:spcBef>
          <a:spcPct val="20000"/>
        </a:spcBef>
        <a:buFont typeface="Arial" pitchFamily="34" charset="0"/>
        <a:buChar char="–"/>
        <a:defRPr sz="1722" kern="1200">
          <a:solidFill>
            <a:schemeClr val="tx1"/>
          </a:solidFill>
          <a:latin typeface="+mn-lt"/>
          <a:ea typeface="+mn-ea"/>
          <a:cs typeface="+mn-cs"/>
        </a:defRPr>
      </a:lvl4pPr>
      <a:lvl5pPr marL="1751972" indent="-194665" algn="l" defTabSz="778657" rtl="0" eaLnBrk="1" latinLnBrk="1" hangingPunct="1">
        <a:spcBef>
          <a:spcPct val="20000"/>
        </a:spcBef>
        <a:buFont typeface="Arial" pitchFamily="34" charset="0"/>
        <a:buChar char="»"/>
        <a:defRPr sz="1722" kern="1200">
          <a:solidFill>
            <a:schemeClr val="tx1"/>
          </a:solidFill>
          <a:latin typeface="+mn-lt"/>
          <a:ea typeface="+mn-ea"/>
          <a:cs typeface="+mn-cs"/>
        </a:defRPr>
      </a:lvl5pPr>
      <a:lvl6pPr marL="2141300" indent="-194665" algn="l" defTabSz="778657" rtl="0" eaLnBrk="1" latinLnBrk="1" hangingPunct="1">
        <a:spcBef>
          <a:spcPct val="20000"/>
        </a:spcBef>
        <a:buFont typeface="Arial" pitchFamily="34" charset="0"/>
        <a:buChar char="•"/>
        <a:defRPr sz="1722" kern="1200">
          <a:solidFill>
            <a:schemeClr val="tx1"/>
          </a:solidFill>
          <a:latin typeface="+mn-lt"/>
          <a:ea typeface="+mn-ea"/>
          <a:cs typeface="+mn-cs"/>
        </a:defRPr>
      </a:lvl6pPr>
      <a:lvl7pPr marL="2530627" indent="-194665" algn="l" defTabSz="778657" rtl="0" eaLnBrk="1" latinLnBrk="1" hangingPunct="1">
        <a:spcBef>
          <a:spcPct val="20000"/>
        </a:spcBef>
        <a:buFont typeface="Arial" pitchFamily="34" charset="0"/>
        <a:buChar char="•"/>
        <a:defRPr sz="1722" kern="1200">
          <a:solidFill>
            <a:schemeClr val="tx1"/>
          </a:solidFill>
          <a:latin typeface="+mn-lt"/>
          <a:ea typeface="+mn-ea"/>
          <a:cs typeface="+mn-cs"/>
        </a:defRPr>
      </a:lvl7pPr>
      <a:lvl8pPr marL="2919953" indent="-194665" algn="l" defTabSz="778657" rtl="0" eaLnBrk="1" latinLnBrk="1" hangingPunct="1">
        <a:spcBef>
          <a:spcPct val="20000"/>
        </a:spcBef>
        <a:buFont typeface="Arial" pitchFamily="34" charset="0"/>
        <a:buChar char="•"/>
        <a:defRPr sz="1722" kern="1200">
          <a:solidFill>
            <a:schemeClr val="tx1"/>
          </a:solidFill>
          <a:latin typeface="+mn-lt"/>
          <a:ea typeface="+mn-ea"/>
          <a:cs typeface="+mn-cs"/>
        </a:defRPr>
      </a:lvl8pPr>
      <a:lvl9pPr marL="3309283" indent="-194665" algn="l" defTabSz="778657" rtl="0" eaLnBrk="1" latinLnBrk="1" hangingPunct="1">
        <a:spcBef>
          <a:spcPct val="20000"/>
        </a:spcBef>
        <a:buFont typeface="Arial" pitchFamily="34" charset="0"/>
        <a:buChar char="•"/>
        <a:defRPr sz="172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778657" rtl="0" eaLnBrk="1" latinLnBrk="1" hangingPunct="1">
        <a:defRPr sz="1565" kern="1200">
          <a:solidFill>
            <a:schemeClr val="tx1"/>
          </a:solidFill>
          <a:latin typeface="+mn-lt"/>
          <a:ea typeface="+mn-ea"/>
          <a:cs typeface="+mn-cs"/>
        </a:defRPr>
      </a:lvl1pPr>
      <a:lvl2pPr marL="389329" algn="l" defTabSz="778657" rtl="0" eaLnBrk="1" latinLnBrk="1" hangingPunct="1">
        <a:defRPr sz="1565" kern="1200">
          <a:solidFill>
            <a:schemeClr val="tx1"/>
          </a:solidFill>
          <a:latin typeface="+mn-lt"/>
          <a:ea typeface="+mn-ea"/>
          <a:cs typeface="+mn-cs"/>
        </a:defRPr>
      </a:lvl2pPr>
      <a:lvl3pPr marL="778657" algn="l" defTabSz="778657" rtl="0" eaLnBrk="1" latinLnBrk="1" hangingPunct="1">
        <a:defRPr sz="1565" kern="1200">
          <a:solidFill>
            <a:schemeClr val="tx1"/>
          </a:solidFill>
          <a:latin typeface="+mn-lt"/>
          <a:ea typeface="+mn-ea"/>
          <a:cs typeface="+mn-cs"/>
        </a:defRPr>
      </a:lvl3pPr>
      <a:lvl4pPr marL="1167983" algn="l" defTabSz="778657" rtl="0" eaLnBrk="1" latinLnBrk="1" hangingPunct="1">
        <a:defRPr sz="1565" kern="1200">
          <a:solidFill>
            <a:schemeClr val="tx1"/>
          </a:solidFill>
          <a:latin typeface="+mn-lt"/>
          <a:ea typeface="+mn-ea"/>
          <a:cs typeface="+mn-cs"/>
        </a:defRPr>
      </a:lvl4pPr>
      <a:lvl5pPr marL="1557311" algn="l" defTabSz="778657" rtl="0" eaLnBrk="1" latinLnBrk="1" hangingPunct="1">
        <a:defRPr sz="1565" kern="1200">
          <a:solidFill>
            <a:schemeClr val="tx1"/>
          </a:solidFill>
          <a:latin typeface="+mn-lt"/>
          <a:ea typeface="+mn-ea"/>
          <a:cs typeface="+mn-cs"/>
        </a:defRPr>
      </a:lvl5pPr>
      <a:lvl6pPr marL="1946637" algn="l" defTabSz="778657" rtl="0" eaLnBrk="1" latinLnBrk="1" hangingPunct="1">
        <a:defRPr sz="1565" kern="1200">
          <a:solidFill>
            <a:schemeClr val="tx1"/>
          </a:solidFill>
          <a:latin typeface="+mn-lt"/>
          <a:ea typeface="+mn-ea"/>
          <a:cs typeface="+mn-cs"/>
        </a:defRPr>
      </a:lvl6pPr>
      <a:lvl7pPr marL="2335965" algn="l" defTabSz="778657" rtl="0" eaLnBrk="1" latinLnBrk="1" hangingPunct="1">
        <a:defRPr sz="1565" kern="1200">
          <a:solidFill>
            <a:schemeClr val="tx1"/>
          </a:solidFill>
          <a:latin typeface="+mn-lt"/>
          <a:ea typeface="+mn-ea"/>
          <a:cs typeface="+mn-cs"/>
        </a:defRPr>
      </a:lvl7pPr>
      <a:lvl8pPr marL="2725291" algn="l" defTabSz="778657" rtl="0" eaLnBrk="1" latinLnBrk="1" hangingPunct="1">
        <a:defRPr sz="1565" kern="1200">
          <a:solidFill>
            <a:schemeClr val="tx1"/>
          </a:solidFill>
          <a:latin typeface="+mn-lt"/>
          <a:ea typeface="+mn-ea"/>
          <a:cs typeface="+mn-cs"/>
        </a:defRPr>
      </a:lvl8pPr>
      <a:lvl9pPr marL="3114618" algn="l" defTabSz="778657" rtl="0" eaLnBrk="1" latinLnBrk="1" hangingPunct="1">
        <a:defRPr sz="15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0856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09" r:id="rId2"/>
    <p:sldLayoutId id="2147483810" r:id="rId3"/>
    <p:sldLayoutId id="2147483811" r:id="rId4"/>
    <p:sldLayoutId id="2147483812" r:id="rId5"/>
    <p:sldLayoutId id="2147483813" r:id="rId6"/>
    <p:sldLayoutId id="2147483814" r:id="rId7"/>
    <p:sldLayoutId id="2147483816" r:id="rId8"/>
    <p:sldLayoutId id="2147483817" r:id="rId9"/>
    <p:sldLayoutId id="2147483818" r:id="rId10"/>
    <p:sldLayoutId id="2147483820" r:id="rId11"/>
    <p:sldLayoutId id="2147483821" r:id="rId12"/>
    <p:sldLayoutId id="2147483822" r:id="rId13"/>
    <p:sldLayoutId id="2147483823" r:id="rId14"/>
    <p:sldLayoutId id="2147483824" r:id="rId15"/>
    <p:sldLayoutId id="2147483825" r:id="rId16"/>
  </p:sldLayoutIdLst>
  <p:hf hdr="0" ftr="0" dt="0"/>
  <p:txStyles>
    <p:titleStyle>
      <a:lvl1pPr algn="ctr" defTabSz="873330" rtl="0" eaLnBrk="1" latinLnBrk="1" hangingPunct="1">
        <a:spcBef>
          <a:spcPct val="0"/>
        </a:spcBef>
        <a:buNone/>
        <a:defRPr sz="420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7498" indent="-327498" algn="l" defTabSz="873330" rtl="0" eaLnBrk="1" latinLnBrk="1" hangingPunct="1">
        <a:spcBef>
          <a:spcPct val="20000"/>
        </a:spcBef>
        <a:buFont typeface="Arial" panose="020B0604020202020204" pitchFamily="34" charset="0"/>
        <a:buChar char="•"/>
        <a:defRPr sz="3057" kern="1200">
          <a:solidFill>
            <a:schemeClr val="tx1"/>
          </a:solidFill>
          <a:latin typeface="+mn-lt"/>
          <a:ea typeface="+mn-ea"/>
          <a:cs typeface="+mn-cs"/>
        </a:defRPr>
      </a:lvl1pPr>
      <a:lvl2pPr marL="709581" indent="-272915" algn="l" defTabSz="873330" rtl="0" eaLnBrk="1" latinLnBrk="1" hangingPunct="1">
        <a:spcBef>
          <a:spcPct val="20000"/>
        </a:spcBef>
        <a:buFont typeface="Arial" panose="020B0604020202020204" pitchFamily="34" charset="0"/>
        <a:buChar char="–"/>
        <a:defRPr sz="2675" kern="1200">
          <a:solidFill>
            <a:schemeClr val="tx1"/>
          </a:solidFill>
          <a:latin typeface="+mn-lt"/>
          <a:ea typeface="+mn-ea"/>
          <a:cs typeface="+mn-cs"/>
        </a:defRPr>
      </a:lvl2pPr>
      <a:lvl3pPr marL="1091663" indent="-218333" algn="l" defTabSz="873330" rtl="0" eaLnBrk="1" latinLnBrk="1" hangingPunct="1">
        <a:spcBef>
          <a:spcPct val="20000"/>
        </a:spcBef>
        <a:buFont typeface="Arial" panose="020B0604020202020204" pitchFamily="34" charset="0"/>
        <a:buChar char="•"/>
        <a:defRPr sz="2291" kern="1200">
          <a:solidFill>
            <a:schemeClr val="tx1"/>
          </a:solidFill>
          <a:latin typeface="+mn-lt"/>
          <a:ea typeface="+mn-ea"/>
          <a:cs typeface="+mn-cs"/>
        </a:defRPr>
      </a:lvl3pPr>
      <a:lvl4pPr marL="1528328" indent="-218333" algn="l" defTabSz="873330" rtl="0" eaLnBrk="1" latinLnBrk="1" hangingPunct="1">
        <a:spcBef>
          <a:spcPct val="20000"/>
        </a:spcBef>
        <a:buFont typeface="Arial" panose="020B0604020202020204" pitchFamily="34" charset="0"/>
        <a:buChar char="–"/>
        <a:defRPr sz="1909" kern="1200">
          <a:solidFill>
            <a:schemeClr val="tx1"/>
          </a:solidFill>
          <a:latin typeface="+mn-lt"/>
          <a:ea typeface="+mn-ea"/>
          <a:cs typeface="+mn-cs"/>
        </a:defRPr>
      </a:lvl4pPr>
      <a:lvl5pPr marL="1964993" indent="-218333" algn="l" defTabSz="873330" rtl="0" eaLnBrk="1" latinLnBrk="1" hangingPunct="1">
        <a:spcBef>
          <a:spcPct val="20000"/>
        </a:spcBef>
        <a:buFont typeface="Arial" panose="020B0604020202020204" pitchFamily="34" charset="0"/>
        <a:buChar char="»"/>
        <a:defRPr sz="1909" kern="1200">
          <a:solidFill>
            <a:schemeClr val="tx1"/>
          </a:solidFill>
          <a:latin typeface="+mn-lt"/>
          <a:ea typeface="+mn-ea"/>
          <a:cs typeface="+mn-cs"/>
        </a:defRPr>
      </a:lvl5pPr>
      <a:lvl6pPr marL="2401658" indent="-218333" algn="l" defTabSz="873330" rtl="0" eaLnBrk="1" latinLnBrk="1" hangingPunct="1">
        <a:spcBef>
          <a:spcPct val="20000"/>
        </a:spcBef>
        <a:buFont typeface="Arial" panose="020B0604020202020204" pitchFamily="34" charset="0"/>
        <a:buChar char="•"/>
        <a:defRPr sz="1909" kern="1200">
          <a:solidFill>
            <a:schemeClr val="tx1"/>
          </a:solidFill>
          <a:latin typeface="+mn-lt"/>
          <a:ea typeface="+mn-ea"/>
          <a:cs typeface="+mn-cs"/>
        </a:defRPr>
      </a:lvl6pPr>
      <a:lvl7pPr marL="2838323" indent="-218333" algn="l" defTabSz="873330" rtl="0" eaLnBrk="1" latinLnBrk="1" hangingPunct="1">
        <a:spcBef>
          <a:spcPct val="20000"/>
        </a:spcBef>
        <a:buFont typeface="Arial" panose="020B0604020202020204" pitchFamily="34" charset="0"/>
        <a:buChar char="•"/>
        <a:defRPr sz="1909" kern="1200">
          <a:solidFill>
            <a:schemeClr val="tx1"/>
          </a:solidFill>
          <a:latin typeface="+mn-lt"/>
          <a:ea typeface="+mn-ea"/>
          <a:cs typeface="+mn-cs"/>
        </a:defRPr>
      </a:lvl7pPr>
      <a:lvl8pPr marL="3274988" indent="-218333" algn="l" defTabSz="873330" rtl="0" eaLnBrk="1" latinLnBrk="1" hangingPunct="1">
        <a:spcBef>
          <a:spcPct val="20000"/>
        </a:spcBef>
        <a:buFont typeface="Arial" panose="020B0604020202020204" pitchFamily="34" charset="0"/>
        <a:buChar char="•"/>
        <a:defRPr sz="1909" kern="1200">
          <a:solidFill>
            <a:schemeClr val="tx1"/>
          </a:solidFill>
          <a:latin typeface="+mn-lt"/>
          <a:ea typeface="+mn-ea"/>
          <a:cs typeface="+mn-cs"/>
        </a:defRPr>
      </a:lvl8pPr>
      <a:lvl9pPr marL="3711653" indent="-218333" algn="l" defTabSz="873330" rtl="0" eaLnBrk="1" latinLnBrk="1" hangingPunct="1">
        <a:spcBef>
          <a:spcPct val="20000"/>
        </a:spcBef>
        <a:buFont typeface="Arial" panose="020B0604020202020204" pitchFamily="34" charset="0"/>
        <a:buChar char="•"/>
        <a:defRPr sz="190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873330" rtl="0" eaLnBrk="1" latinLnBrk="1" hangingPunct="1">
        <a:defRPr sz="1718" kern="1200">
          <a:solidFill>
            <a:schemeClr val="tx1"/>
          </a:solidFill>
          <a:latin typeface="+mn-lt"/>
          <a:ea typeface="+mn-ea"/>
          <a:cs typeface="+mn-cs"/>
        </a:defRPr>
      </a:lvl1pPr>
      <a:lvl2pPr marL="436665" algn="l" defTabSz="873330" rtl="0" eaLnBrk="1" latinLnBrk="1" hangingPunct="1">
        <a:defRPr sz="1718" kern="1200">
          <a:solidFill>
            <a:schemeClr val="tx1"/>
          </a:solidFill>
          <a:latin typeface="+mn-lt"/>
          <a:ea typeface="+mn-ea"/>
          <a:cs typeface="+mn-cs"/>
        </a:defRPr>
      </a:lvl2pPr>
      <a:lvl3pPr marL="873330" algn="l" defTabSz="873330" rtl="0" eaLnBrk="1" latinLnBrk="1" hangingPunct="1">
        <a:defRPr sz="1718" kern="1200">
          <a:solidFill>
            <a:schemeClr val="tx1"/>
          </a:solidFill>
          <a:latin typeface="+mn-lt"/>
          <a:ea typeface="+mn-ea"/>
          <a:cs typeface="+mn-cs"/>
        </a:defRPr>
      </a:lvl3pPr>
      <a:lvl4pPr marL="1309995" algn="l" defTabSz="873330" rtl="0" eaLnBrk="1" latinLnBrk="1" hangingPunct="1">
        <a:defRPr sz="1718" kern="1200">
          <a:solidFill>
            <a:schemeClr val="tx1"/>
          </a:solidFill>
          <a:latin typeface="+mn-lt"/>
          <a:ea typeface="+mn-ea"/>
          <a:cs typeface="+mn-cs"/>
        </a:defRPr>
      </a:lvl4pPr>
      <a:lvl5pPr marL="1746660" algn="l" defTabSz="873330" rtl="0" eaLnBrk="1" latinLnBrk="1" hangingPunct="1">
        <a:defRPr sz="1718" kern="1200">
          <a:solidFill>
            <a:schemeClr val="tx1"/>
          </a:solidFill>
          <a:latin typeface="+mn-lt"/>
          <a:ea typeface="+mn-ea"/>
          <a:cs typeface="+mn-cs"/>
        </a:defRPr>
      </a:lvl5pPr>
      <a:lvl6pPr marL="2183325" algn="l" defTabSz="873330" rtl="0" eaLnBrk="1" latinLnBrk="1" hangingPunct="1">
        <a:defRPr sz="1718" kern="1200">
          <a:solidFill>
            <a:schemeClr val="tx1"/>
          </a:solidFill>
          <a:latin typeface="+mn-lt"/>
          <a:ea typeface="+mn-ea"/>
          <a:cs typeface="+mn-cs"/>
        </a:defRPr>
      </a:lvl6pPr>
      <a:lvl7pPr marL="2619991" algn="l" defTabSz="873330" rtl="0" eaLnBrk="1" latinLnBrk="1" hangingPunct="1">
        <a:defRPr sz="1718" kern="1200">
          <a:solidFill>
            <a:schemeClr val="tx1"/>
          </a:solidFill>
          <a:latin typeface="+mn-lt"/>
          <a:ea typeface="+mn-ea"/>
          <a:cs typeface="+mn-cs"/>
        </a:defRPr>
      </a:lvl7pPr>
      <a:lvl8pPr marL="3056655" algn="l" defTabSz="873330" rtl="0" eaLnBrk="1" latinLnBrk="1" hangingPunct="1">
        <a:defRPr sz="1718" kern="1200">
          <a:solidFill>
            <a:schemeClr val="tx1"/>
          </a:solidFill>
          <a:latin typeface="+mn-lt"/>
          <a:ea typeface="+mn-ea"/>
          <a:cs typeface="+mn-cs"/>
        </a:defRPr>
      </a:lvl8pPr>
      <a:lvl9pPr marL="3493321" algn="l" defTabSz="873330" rtl="0" eaLnBrk="1" latinLnBrk="1" hangingPunct="1">
        <a:defRPr sz="171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85732" y="6961564"/>
            <a:ext cx="10194249" cy="2111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4288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772" b="1" i="0" u="none" strike="noStrike" kern="1200" cap="none" spc="0" normalizeH="0" baseline="0" noProof="0" dirty="0" smtClean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※ </a:t>
            </a:r>
            <a:r>
              <a:rPr kumimoji="0" lang="ko-KR" altLang="en-US" sz="772" b="1" i="0" u="none" strike="noStrike" kern="1200" cap="none" spc="0" normalizeH="0" baseline="0" noProof="0" dirty="0" smtClean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본 자료는 컨설턴트 교육용으로 </a:t>
            </a:r>
            <a:r>
              <a:rPr kumimoji="0" lang="ko-KR" altLang="en-US" sz="772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환급금</a:t>
            </a:r>
            <a:r>
              <a:rPr kumimoji="0" lang="ko-KR" altLang="en-US" sz="772" b="1" i="0" u="none" strike="noStrike" kern="1200" cap="none" spc="0" normalizeH="0" baseline="0" noProof="0" dirty="0" smtClean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및 보험금 지급의 근거가 될 수 없으며 고객안내자료로 활용할 수 없습니다</a:t>
            </a:r>
            <a:r>
              <a:rPr kumimoji="0" lang="en-US" altLang="ko-KR" sz="772" b="1" i="0" u="none" strike="noStrike" kern="1200" cap="none" spc="0" normalizeH="0" baseline="0" noProof="0" dirty="0" smtClean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772" b="1" i="0" u="none" strike="noStrike" kern="1200" cap="none" spc="0" normalizeH="0" baseline="0" noProof="0" dirty="0">
              <a:ln>
                <a:noFill/>
              </a:ln>
              <a:solidFill>
                <a:srgbClr val="14145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" name="모서리가 둥근 직사각형 3"/>
          <p:cNvSpPr/>
          <p:nvPr userDrawn="1"/>
        </p:nvSpPr>
        <p:spPr>
          <a:xfrm>
            <a:off x="9271922" y="124517"/>
            <a:ext cx="877356" cy="184863"/>
          </a:xfrm>
          <a:prstGeom prst="roundRect">
            <a:avLst/>
          </a:prstGeom>
          <a:gradFill flip="none" rotWithShape="1">
            <a:gsLst>
              <a:gs pos="25000">
                <a:schemeClr val="tx1"/>
              </a:gs>
              <a:gs pos="75000">
                <a:srgbClr val="FD2906"/>
              </a:gs>
            </a:gsLst>
            <a:lin ang="0" scaled="1"/>
            <a:tileRect/>
          </a:gradFill>
          <a:ln w="12700">
            <a:gradFill flip="none" rotWithShape="1">
              <a:gsLst>
                <a:gs pos="25000">
                  <a:schemeClr val="tx1"/>
                </a:gs>
                <a:gs pos="75000">
                  <a:srgbClr val="FD2906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12039" rIns="0" bIns="12039" rtlCol="0" anchor="ctr">
            <a:spAutoFit/>
          </a:bodyPr>
          <a:lstStyle/>
          <a:p>
            <a:pPr marL="0" marR="0" lvl="0" indent="0" algn="ctr" defTabSz="69904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27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FP</a:t>
            </a:r>
            <a:r>
              <a:rPr kumimoji="0" lang="ko-KR" altLang="en-US" sz="927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교육용자료</a:t>
            </a:r>
            <a:endParaRPr kumimoji="0" lang="ko-KR" altLang="en-US" sz="927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9550030" y="421803"/>
            <a:ext cx="611838" cy="2347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4258" tIns="37130" rIns="74258" bIns="37130"/>
          <a:lstStyle/>
          <a:p>
            <a:pPr marL="0" marR="0" lvl="0" indent="0" algn="r" defTabSz="74302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81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fld id="{16B1565D-7790-4B20-9C8C-6E71895AF331}" type="slidenum">
              <a:rPr kumimoji="0" lang="ko-KR" altLang="en-US" sz="1081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pPr marL="0" marR="0" lvl="0" indent="0" algn="r" defTabSz="74302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081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15383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743132" rtl="0" eaLnBrk="1" latinLnBrk="1" hangingPunct="1">
        <a:spcBef>
          <a:spcPct val="0"/>
        </a:spcBef>
        <a:buNone/>
        <a:defRPr sz="358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8674" indent="-278674" algn="l" defTabSz="743132" rtl="0" eaLnBrk="1" latinLnBrk="1" hangingPunct="1">
        <a:spcBef>
          <a:spcPct val="20000"/>
        </a:spcBef>
        <a:buFont typeface="Arial" pitchFamily="34" charset="0"/>
        <a:buChar char="•"/>
        <a:defRPr sz="2615" kern="1200">
          <a:solidFill>
            <a:schemeClr val="tx1"/>
          </a:solidFill>
          <a:latin typeface="+mn-lt"/>
          <a:ea typeface="+mn-ea"/>
          <a:cs typeface="+mn-cs"/>
        </a:defRPr>
      </a:lvl1pPr>
      <a:lvl2pPr marL="603793" indent="-232230" algn="l" defTabSz="743132" rtl="0" eaLnBrk="1" latinLnBrk="1" hangingPunct="1">
        <a:spcBef>
          <a:spcPct val="20000"/>
        </a:spcBef>
        <a:buFont typeface="Arial" pitchFamily="34" charset="0"/>
        <a:buChar char="–"/>
        <a:defRPr sz="2241" kern="1200">
          <a:solidFill>
            <a:schemeClr val="tx1"/>
          </a:solidFill>
          <a:latin typeface="+mn-lt"/>
          <a:ea typeface="+mn-ea"/>
          <a:cs typeface="+mn-cs"/>
        </a:defRPr>
      </a:lvl2pPr>
      <a:lvl3pPr marL="928914" indent="-185783" algn="l" defTabSz="743132" rtl="0" eaLnBrk="1" latinLnBrk="1" hangingPunct="1">
        <a:spcBef>
          <a:spcPct val="20000"/>
        </a:spcBef>
        <a:buFont typeface="Arial" pitchFamily="34" charset="0"/>
        <a:buChar char="•"/>
        <a:defRPr sz="1942" kern="1200">
          <a:solidFill>
            <a:schemeClr val="tx1"/>
          </a:solidFill>
          <a:latin typeface="+mn-lt"/>
          <a:ea typeface="+mn-ea"/>
          <a:cs typeface="+mn-cs"/>
        </a:defRPr>
      </a:lvl3pPr>
      <a:lvl4pPr marL="1300478" indent="-185783" algn="l" defTabSz="743132" rtl="0" eaLnBrk="1" latinLnBrk="1" hangingPunct="1">
        <a:spcBef>
          <a:spcPct val="20000"/>
        </a:spcBef>
        <a:buFont typeface="Arial" pitchFamily="34" charset="0"/>
        <a:buChar char="–"/>
        <a:defRPr sz="1643" kern="1200">
          <a:solidFill>
            <a:schemeClr val="tx1"/>
          </a:solidFill>
          <a:latin typeface="+mn-lt"/>
          <a:ea typeface="+mn-ea"/>
          <a:cs typeface="+mn-cs"/>
        </a:defRPr>
      </a:lvl4pPr>
      <a:lvl5pPr marL="1672042" indent="-185783" algn="l" defTabSz="743132" rtl="0" eaLnBrk="1" latinLnBrk="1" hangingPunct="1">
        <a:spcBef>
          <a:spcPct val="20000"/>
        </a:spcBef>
        <a:buFont typeface="Arial" pitchFamily="34" charset="0"/>
        <a:buChar char="»"/>
        <a:defRPr sz="1643" kern="1200">
          <a:solidFill>
            <a:schemeClr val="tx1"/>
          </a:solidFill>
          <a:latin typeface="+mn-lt"/>
          <a:ea typeface="+mn-ea"/>
          <a:cs typeface="+mn-cs"/>
        </a:defRPr>
      </a:lvl5pPr>
      <a:lvl6pPr marL="2043608" indent="-185783" algn="l" defTabSz="743132" rtl="0" eaLnBrk="1" latinLnBrk="1" hangingPunct="1">
        <a:spcBef>
          <a:spcPct val="20000"/>
        </a:spcBef>
        <a:buFont typeface="Arial" pitchFamily="34" charset="0"/>
        <a:buChar char="•"/>
        <a:defRPr sz="1643" kern="1200">
          <a:solidFill>
            <a:schemeClr val="tx1"/>
          </a:solidFill>
          <a:latin typeface="+mn-lt"/>
          <a:ea typeface="+mn-ea"/>
          <a:cs typeface="+mn-cs"/>
        </a:defRPr>
      </a:lvl6pPr>
      <a:lvl7pPr marL="2415174" indent="-185783" algn="l" defTabSz="743132" rtl="0" eaLnBrk="1" latinLnBrk="1" hangingPunct="1">
        <a:spcBef>
          <a:spcPct val="20000"/>
        </a:spcBef>
        <a:buFont typeface="Arial" pitchFamily="34" charset="0"/>
        <a:buChar char="•"/>
        <a:defRPr sz="1643" kern="1200">
          <a:solidFill>
            <a:schemeClr val="tx1"/>
          </a:solidFill>
          <a:latin typeface="+mn-lt"/>
          <a:ea typeface="+mn-ea"/>
          <a:cs typeface="+mn-cs"/>
        </a:defRPr>
      </a:lvl7pPr>
      <a:lvl8pPr marL="2786739" indent="-185783" algn="l" defTabSz="743132" rtl="0" eaLnBrk="1" latinLnBrk="1" hangingPunct="1">
        <a:spcBef>
          <a:spcPct val="20000"/>
        </a:spcBef>
        <a:buFont typeface="Arial" pitchFamily="34" charset="0"/>
        <a:buChar char="•"/>
        <a:defRPr sz="1643" kern="1200">
          <a:solidFill>
            <a:schemeClr val="tx1"/>
          </a:solidFill>
          <a:latin typeface="+mn-lt"/>
          <a:ea typeface="+mn-ea"/>
          <a:cs typeface="+mn-cs"/>
        </a:defRPr>
      </a:lvl8pPr>
      <a:lvl9pPr marL="3158305" indent="-185783" algn="l" defTabSz="743132" rtl="0" eaLnBrk="1" latinLnBrk="1" hangingPunct="1">
        <a:spcBef>
          <a:spcPct val="20000"/>
        </a:spcBef>
        <a:buFont typeface="Arial" pitchFamily="34" charset="0"/>
        <a:buChar char="•"/>
        <a:defRPr sz="164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743132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1pPr>
      <a:lvl2pPr marL="371566" algn="l" defTabSz="743132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2pPr>
      <a:lvl3pPr marL="743132" algn="l" defTabSz="743132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3pPr>
      <a:lvl4pPr marL="1114695" algn="l" defTabSz="743132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4pPr>
      <a:lvl5pPr marL="1486261" algn="l" defTabSz="743132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5pPr>
      <a:lvl6pPr marL="1857827" algn="l" defTabSz="743132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6pPr>
      <a:lvl7pPr marL="2229390" algn="l" defTabSz="743132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7pPr>
      <a:lvl8pPr marL="2600957" algn="l" defTabSz="743132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8pPr>
      <a:lvl9pPr marL="2972521" algn="l" defTabSz="743132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직사각형 5"/>
          <p:cNvSpPr/>
          <p:nvPr userDrawn="1"/>
        </p:nvSpPr>
        <p:spPr>
          <a:xfrm>
            <a:off x="9079046" y="29012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사내교육용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(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대외비</a:t>
            </a:r>
            <a:r>
              <a:rPr kumimoji="0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)</a:t>
            </a:r>
            <a:r>
              <a:rPr kumimoji="0" lang="ko-KR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 </a:t>
            </a:r>
          </a:p>
        </p:txBody>
      </p:sp>
      <p:pic>
        <p:nvPicPr>
          <p:cNvPr id="7" name="그림 6"/>
          <p:cNvPicPr>
            <a:picLocks noChangeAspect="1"/>
          </p:cNvPicPr>
          <p:nvPr userDrawn="1"/>
        </p:nvPicPr>
        <p:blipFill>
          <a:blip r:embed="rId14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" y="689"/>
            <a:ext cx="10387751" cy="7257341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>
          <a:xfrm>
            <a:off x="5722492" y="6990854"/>
            <a:ext cx="4598588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56993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1" lang="ko-KR" altLang="ko-KR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사내교육용</a:t>
            </a:r>
            <a:r>
              <a:rPr kumimoji="1" lang="ko-KR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1" lang="ko-KR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자료</a:t>
            </a:r>
            <a:r>
              <a:rPr kumimoji="1" lang="ko-KR" alt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로서 </a:t>
            </a:r>
            <a:r>
              <a:rPr kumimoji="1" lang="ko-KR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고객 </a:t>
            </a:r>
            <a:r>
              <a:rPr kumimoji="1" lang="ko-KR" altLang="ko-KR" sz="10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제안용</a:t>
            </a:r>
            <a:r>
              <a:rPr kumimoji="1" lang="en-US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1" lang="ko-KR" alt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및</a:t>
            </a:r>
            <a:r>
              <a:rPr kumimoji="1" lang="en-US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1" lang="ko-KR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카페</a:t>
            </a:r>
            <a:r>
              <a:rPr kumimoji="1" lang="en-US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,</a:t>
            </a:r>
            <a:r>
              <a:rPr kumimoji="1" lang="ko-KR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블로그 등</a:t>
            </a:r>
            <a:r>
              <a:rPr kumimoji="1" lang="ko-KR" alt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의</a:t>
            </a:r>
            <a:r>
              <a:rPr kumimoji="1" lang="ko-KR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1" lang="ko-KR" altLang="ko-KR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인터넷 게시물로 등재 불가</a:t>
            </a:r>
            <a:endParaRPr kumimoji="1" lang="ko-KR" altLang="ko-KR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8" name="Text Box 2"/>
          <p:cNvSpPr txBox="1">
            <a:spLocks noChangeArrowheads="1"/>
          </p:cNvSpPr>
          <p:nvPr userDrawn="1"/>
        </p:nvSpPr>
        <p:spPr bwMode="auto">
          <a:xfrm>
            <a:off x="-34185" y="171053"/>
            <a:ext cx="8335836" cy="463836"/>
          </a:xfrm>
          <a:prstGeom prst="rect">
            <a:avLst/>
          </a:prstGeom>
          <a:noFill/>
          <a:ln w="25400">
            <a:noFill/>
            <a:miter lim="800000"/>
            <a:headEnd type="none" w="sm" len="sm"/>
            <a:tailEnd type="none" w="sm" len="sm"/>
          </a:ln>
        </p:spPr>
        <p:txBody>
          <a:bodyPr wrap="square" lIns="35996" tIns="46795" rIns="35996" bIns="46795">
            <a:spAutoFit/>
          </a:bodyPr>
          <a:lstStyle/>
          <a:p>
            <a:pPr marL="0" marR="0" lvl="0" indent="0" algn="l" defTabSz="914295" rtl="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   (</a:t>
            </a:r>
            <a:r>
              <a:rPr kumimoji="0" lang="ko-KR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무</a:t>
            </a:r>
            <a:r>
              <a:rPr kumimoji="0" lang="en-US" altLang="ko-KR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) </a:t>
            </a:r>
            <a:r>
              <a:rPr kumimoji="0" lang="ko-KR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교보실속종신보험</a:t>
            </a:r>
            <a:r>
              <a:rPr kumimoji="0" lang="en-US" altLang="ko-KR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Plus</a:t>
            </a: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 ExtraBold" panose="020D0904000000000000" pitchFamily="50" charset="-127"/>
              <a:ea typeface="나눔고딕 ExtraBold" panose="020D0904000000000000" pitchFamily="50" charset="-127"/>
              <a:cs typeface="+mn-cs"/>
            </a:endParaRPr>
          </a:p>
        </p:txBody>
      </p:sp>
      <p:pic>
        <p:nvPicPr>
          <p:cNvPr id="9" name="Picture 28" descr="New에 대한 이미지 검색결과">
            <a:hlinkClick r:id="rId147"/>
          </p:cNvPr>
          <p:cNvPicPr>
            <a:picLocks noChangeAspect="1" noChangeArrowheads="1"/>
          </p:cNvPicPr>
          <p:nvPr userDrawn="1"/>
        </p:nvPicPr>
        <p:blipFill>
          <a:blip r:embed="rId14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20427887">
            <a:off x="-10914" y="102709"/>
            <a:ext cx="704935" cy="32113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4401594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5" r:id="rId3"/>
    <p:sldLayoutId id="2147483867" r:id="rId4"/>
    <p:sldLayoutId id="2147483868" r:id="rId5"/>
    <p:sldLayoutId id="2147483869" r:id="rId6"/>
    <p:sldLayoutId id="2147483870" r:id="rId7"/>
    <p:sldLayoutId id="2147483871" r:id="rId8"/>
    <p:sldLayoutId id="2147483872" r:id="rId9"/>
    <p:sldLayoutId id="2147483873" r:id="rId10"/>
    <p:sldLayoutId id="2147483874" r:id="rId11"/>
    <p:sldLayoutId id="2147483875" r:id="rId12"/>
    <p:sldLayoutId id="2147483876" r:id="rId13"/>
    <p:sldLayoutId id="2147483877" r:id="rId14"/>
    <p:sldLayoutId id="2147483878" r:id="rId15"/>
    <p:sldLayoutId id="2147483879" r:id="rId16"/>
    <p:sldLayoutId id="2147483880" r:id="rId17"/>
    <p:sldLayoutId id="2147483881" r:id="rId18"/>
    <p:sldLayoutId id="2147483882" r:id="rId19"/>
    <p:sldLayoutId id="2147483883" r:id="rId20"/>
    <p:sldLayoutId id="2147483884" r:id="rId21"/>
    <p:sldLayoutId id="2147483885" r:id="rId22"/>
    <p:sldLayoutId id="2147483886" r:id="rId23"/>
    <p:sldLayoutId id="2147483887" r:id="rId24"/>
    <p:sldLayoutId id="2147483888" r:id="rId25"/>
    <p:sldLayoutId id="2147483889" r:id="rId26"/>
    <p:sldLayoutId id="2147483890" r:id="rId27"/>
    <p:sldLayoutId id="2147483891" r:id="rId28"/>
    <p:sldLayoutId id="2147483892" r:id="rId29"/>
    <p:sldLayoutId id="2147483893" r:id="rId30"/>
    <p:sldLayoutId id="2147483894" r:id="rId31"/>
    <p:sldLayoutId id="2147483895" r:id="rId32"/>
    <p:sldLayoutId id="2147483896" r:id="rId33"/>
    <p:sldLayoutId id="2147483897" r:id="rId34"/>
    <p:sldLayoutId id="2147483898" r:id="rId35"/>
    <p:sldLayoutId id="2147483899" r:id="rId36"/>
    <p:sldLayoutId id="2147483900" r:id="rId37"/>
    <p:sldLayoutId id="2147483901" r:id="rId38"/>
    <p:sldLayoutId id="2147483902" r:id="rId39"/>
    <p:sldLayoutId id="2147483903" r:id="rId40"/>
    <p:sldLayoutId id="2147483904" r:id="rId41"/>
    <p:sldLayoutId id="2147483905" r:id="rId42"/>
    <p:sldLayoutId id="2147483906" r:id="rId43"/>
    <p:sldLayoutId id="2147483907" r:id="rId44"/>
    <p:sldLayoutId id="2147483908" r:id="rId45"/>
    <p:sldLayoutId id="2147483909" r:id="rId46"/>
    <p:sldLayoutId id="2147483910" r:id="rId47"/>
    <p:sldLayoutId id="2147483911" r:id="rId48"/>
    <p:sldLayoutId id="2147483912" r:id="rId49"/>
    <p:sldLayoutId id="2147483913" r:id="rId50"/>
    <p:sldLayoutId id="2147483914" r:id="rId51"/>
    <p:sldLayoutId id="2147483915" r:id="rId52"/>
    <p:sldLayoutId id="2147483917" r:id="rId53"/>
    <p:sldLayoutId id="2147483918" r:id="rId54"/>
    <p:sldLayoutId id="2147483919" r:id="rId55"/>
    <p:sldLayoutId id="2147483920" r:id="rId56"/>
    <p:sldLayoutId id="2147483921" r:id="rId57"/>
    <p:sldLayoutId id="2147483922" r:id="rId58"/>
    <p:sldLayoutId id="2147483923" r:id="rId59"/>
    <p:sldLayoutId id="2147483924" r:id="rId60"/>
    <p:sldLayoutId id="2147483925" r:id="rId61"/>
    <p:sldLayoutId id="2147483926" r:id="rId62"/>
    <p:sldLayoutId id="2147483927" r:id="rId63"/>
    <p:sldLayoutId id="2147483928" r:id="rId64"/>
    <p:sldLayoutId id="2147483929" r:id="rId65"/>
    <p:sldLayoutId id="2147483930" r:id="rId66"/>
    <p:sldLayoutId id="2147483931" r:id="rId67"/>
    <p:sldLayoutId id="2147483932" r:id="rId68"/>
    <p:sldLayoutId id="2147483933" r:id="rId69"/>
    <p:sldLayoutId id="2147483934" r:id="rId70"/>
    <p:sldLayoutId id="2147483935" r:id="rId71"/>
    <p:sldLayoutId id="2147483936" r:id="rId72"/>
    <p:sldLayoutId id="2147483937" r:id="rId73"/>
    <p:sldLayoutId id="2147483938" r:id="rId74"/>
    <p:sldLayoutId id="2147483939" r:id="rId75"/>
    <p:sldLayoutId id="2147483940" r:id="rId76"/>
    <p:sldLayoutId id="2147483941" r:id="rId77"/>
    <p:sldLayoutId id="2147483942" r:id="rId78"/>
    <p:sldLayoutId id="2147483943" r:id="rId79"/>
    <p:sldLayoutId id="2147483944" r:id="rId80"/>
    <p:sldLayoutId id="2147483945" r:id="rId81"/>
    <p:sldLayoutId id="2147483946" r:id="rId82"/>
    <p:sldLayoutId id="2147483947" r:id="rId83"/>
    <p:sldLayoutId id="2147483948" r:id="rId84"/>
    <p:sldLayoutId id="2147483949" r:id="rId85"/>
    <p:sldLayoutId id="2147483950" r:id="rId86"/>
    <p:sldLayoutId id="2147483951" r:id="rId87"/>
    <p:sldLayoutId id="2147483952" r:id="rId88"/>
    <p:sldLayoutId id="2147483953" r:id="rId89"/>
    <p:sldLayoutId id="2147483954" r:id="rId90"/>
    <p:sldLayoutId id="2147483955" r:id="rId91"/>
    <p:sldLayoutId id="2147483956" r:id="rId92"/>
    <p:sldLayoutId id="2147483957" r:id="rId93"/>
    <p:sldLayoutId id="2147483958" r:id="rId94"/>
    <p:sldLayoutId id="2147483959" r:id="rId95"/>
    <p:sldLayoutId id="2147483960" r:id="rId96"/>
    <p:sldLayoutId id="2147483961" r:id="rId97"/>
    <p:sldLayoutId id="2147483962" r:id="rId98"/>
    <p:sldLayoutId id="2147483963" r:id="rId99"/>
    <p:sldLayoutId id="2147483964" r:id="rId100"/>
    <p:sldLayoutId id="2147483965" r:id="rId101"/>
    <p:sldLayoutId id="2147483966" r:id="rId102"/>
    <p:sldLayoutId id="2147483967" r:id="rId103"/>
    <p:sldLayoutId id="2147483968" r:id="rId104"/>
    <p:sldLayoutId id="2147483969" r:id="rId105"/>
    <p:sldLayoutId id="2147483970" r:id="rId106"/>
    <p:sldLayoutId id="2147483971" r:id="rId107"/>
    <p:sldLayoutId id="2147483972" r:id="rId108"/>
    <p:sldLayoutId id="2147483973" r:id="rId109"/>
    <p:sldLayoutId id="2147483974" r:id="rId110"/>
    <p:sldLayoutId id="2147483975" r:id="rId111"/>
    <p:sldLayoutId id="2147483976" r:id="rId112"/>
    <p:sldLayoutId id="2147483977" r:id="rId113"/>
    <p:sldLayoutId id="2147483978" r:id="rId114"/>
    <p:sldLayoutId id="2147483979" r:id="rId115"/>
    <p:sldLayoutId id="2147483980" r:id="rId116"/>
    <p:sldLayoutId id="2147483981" r:id="rId117"/>
    <p:sldLayoutId id="2147483982" r:id="rId118"/>
    <p:sldLayoutId id="2147483983" r:id="rId119"/>
    <p:sldLayoutId id="2147483984" r:id="rId120"/>
    <p:sldLayoutId id="2147483985" r:id="rId121"/>
    <p:sldLayoutId id="2147483986" r:id="rId122"/>
    <p:sldLayoutId id="2147483987" r:id="rId123"/>
    <p:sldLayoutId id="2147483988" r:id="rId124"/>
    <p:sldLayoutId id="2147483989" r:id="rId125"/>
    <p:sldLayoutId id="2147483990" r:id="rId126"/>
    <p:sldLayoutId id="2147483991" r:id="rId127"/>
    <p:sldLayoutId id="2147483992" r:id="rId128"/>
    <p:sldLayoutId id="2147483993" r:id="rId129"/>
    <p:sldLayoutId id="2147483994" r:id="rId130"/>
    <p:sldLayoutId id="2147483995" r:id="rId131"/>
    <p:sldLayoutId id="2147483996" r:id="rId132"/>
    <p:sldLayoutId id="2147483997" r:id="rId133"/>
    <p:sldLayoutId id="2147483998" r:id="rId134"/>
    <p:sldLayoutId id="2147483999" r:id="rId135"/>
    <p:sldLayoutId id="2147484000" r:id="rId136"/>
    <p:sldLayoutId id="2147484001" r:id="rId137"/>
    <p:sldLayoutId id="2147484002" r:id="rId138"/>
    <p:sldLayoutId id="2147484003" r:id="rId139"/>
    <p:sldLayoutId id="2147484004" r:id="rId140"/>
    <p:sldLayoutId id="2147484005" r:id="rId141"/>
    <p:sldLayoutId id="2147484006" r:id="rId142"/>
    <p:sldLayoutId id="2147484007" r:id="rId143"/>
    <p:sldLayoutId id="2147484008" r:id="rId144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1987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1995" indent="-341995" algn="l" defTabSz="911987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0994" indent="-284994" algn="l" defTabSz="911987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39989" indent="-227978" algn="l" defTabSz="911987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5984" indent="-227978" algn="l" defTabSz="911987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1979" indent="-227978" algn="l" defTabSz="911987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07969" indent="-227978" algn="l" defTabSz="911987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3970" indent="-227978" algn="l" defTabSz="911987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19963" indent="-227978" algn="l" defTabSz="911987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5957" indent="-227978" algn="l" defTabSz="911987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198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993" algn="l" defTabSz="91198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987" algn="l" defTabSz="91198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985" algn="l" defTabSz="91198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981" algn="l" defTabSz="91198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980" algn="l" defTabSz="91198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5970" algn="l" defTabSz="91198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1964" algn="l" defTabSz="91198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7960" algn="l" defTabSz="911987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519198" y="290531"/>
            <a:ext cx="9345454" cy="1209146"/>
          </a:xfrm>
          <a:prstGeom prst="rect">
            <a:avLst/>
          </a:prstGeom>
        </p:spPr>
        <p:txBody>
          <a:bodyPr vert="horz" lIns="91430" tIns="45715" rIns="91430" bIns="45715" rtlCol="0" anchor="ctr">
            <a:normAutofit/>
          </a:bodyPr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519198" y="1692809"/>
            <a:ext cx="9345454" cy="4787882"/>
          </a:xfrm>
          <a:prstGeom prst="rect">
            <a:avLst/>
          </a:prstGeom>
        </p:spPr>
        <p:txBody>
          <a:bodyPr vert="horz" lIns="91430" tIns="45715" rIns="91430" bIns="45715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519193" y="6724588"/>
            <a:ext cx="2422896" cy="386255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l">
              <a:defRPr sz="102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78731"/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547822" y="6724588"/>
            <a:ext cx="3288214" cy="386255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ctr">
              <a:defRPr sz="102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78731"/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7441750" y="6724588"/>
            <a:ext cx="2422896" cy="386255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r">
              <a:defRPr sz="102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78731"/>
            <a:fld id="{2747D207-944B-4363-884F-A02296F6E65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 defTabSz="778731"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그림 6"/>
          <p:cNvPicPr>
            <a:picLocks noChangeAspect="1"/>
          </p:cNvPicPr>
          <p:nvPr userDrawn="1"/>
        </p:nvPicPr>
        <p:blipFill>
          <a:blip r:embed="rId10" cstate="email"/>
          <a:stretch>
            <a:fillRect/>
          </a:stretch>
        </p:blipFill>
        <p:spPr>
          <a:xfrm>
            <a:off x="767" y="674"/>
            <a:ext cx="10382305" cy="7253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82491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2" r:id="rId1"/>
    <p:sldLayoutId id="2147484013" r:id="rId2"/>
    <p:sldLayoutId id="2147484014" r:id="rId3"/>
    <p:sldLayoutId id="2147484016" r:id="rId4"/>
    <p:sldLayoutId id="2147484017" r:id="rId5"/>
    <p:sldLayoutId id="2147484018" r:id="rId6"/>
    <p:sldLayoutId id="2147484019" r:id="rId7"/>
    <p:sldLayoutId id="2147484020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778731" rtl="0" eaLnBrk="1" latinLnBrk="1" hangingPunct="1">
        <a:spcBef>
          <a:spcPct val="0"/>
        </a:spcBef>
        <a:buNone/>
        <a:defRPr sz="374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2025" indent="-292025" algn="l" defTabSz="778731" rtl="0" eaLnBrk="1" latinLnBrk="1" hangingPunct="1">
        <a:spcBef>
          <a:spcPct val="20000"/>
        </a:spcBef>
        <a:buFont typeface="Arial" panose="020B0604020202020204" pitchFamily="34" charset="0"/>
        <a:buChar char="•"/>
        <a:defRPr sz="2725" kern="1200">
          <a:solidFill>
            <a:schemeClr val="tx1"/>
          </a:solidFill>
          <a:latin typeface="+mn-lt"/>
          <a:ea typeface="+mn-ea"/>
          <a:cs typeface="+mn-cs"/>
        </a:defRPr>
      </a:lvl1pPr>
      <a:lvl2pPr marL="632719" indent="-243354" algn="l" defTabSz="778731" rtl="0" eaLnBrk="1" latinLnBrk="1" hangingPunct="1">
        <a:spcBef>
          <a:spcPct val="20000"/>
        </a:spcBef>
        <a:buFont typeface="Arial" panose="020B0604020202020204" pitchFamily="34" charset="0"/>
        <a:buChar char="–"/>
        <a:defRPr sz="2385" kern="1200">
          <a:solidFill>
            <a:schemeClr val="tx1"/>
          </a:solidFill>
          <a:latin typeface="+mn-lt"/>
          <a:ea typeface="+mn-ea"/>
          <a:cs typeface="+mn-cs"/>
        </a:defRPr>
      </a:lvl2pPr>
      <a:lvl3pPr marL="973414" indent="-194682" algn="l" defTabSz="778731" rtl="0" eaLnBrk="1" latinLnBrk="1" hangingPunct="1">
        <a:spcBef>
          <a:spcPct val="20000"/>
        </a:spcBef>
        <a:buFont typeface="Arial" panose="020B0604020202020204" pitchFamily="34" charset="0"/>
        <a:buChar char="•"/>
        <a:defRPr sz="2044" kern="1200">
          <a:solidFill>
            <a:schemeClr val="tx1"/>
          </a:solidFill>
          <a:latin typeface="+mn-lt"/>
          <a:ea typeface="+mn-ea"/>
          <a:cs typeface="+mn-cs"/>
        </a:defRPr>
      </a:lvl3pPr>
      <a:lvl4pPr marL="1362780" indent="-194682" algn="l" defTabSz="778731" rtl="0" eaLnBrk="1" latinLnBrk="1" hangingPunct="1">
        <a:spcBef>
          <a:spcPct val="20000"/>
        </a:spcBef>
        <a:buFont typeface="Arial" panose="020B0604020202020204" pitchFamily="34" charset="0"/>
        <a:buChar char="–"/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52145" indent="-194682" algn="l" defTabSz="778731" rtl="0" eaLnBrk="1" latinLnBrk="1" hangingPunct="1">
        <a:spcBef>
          <a:spcPct val="20000"/>
        </a:spcBef>
        <a:buFont typeface="Arial" panose="020B0604020202020204" pitchFamily="34" charset="0"/>
        <a:buChar char="»"/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41511" indent="-194682" algn="l" defTabSz="778731" rtl="0" eaLnBrk="1" latinLnBrk="1" hangingPunct="1">
        <a:spcBef>
          <a:spcPct val="20000"/>
        </a:spcBef>
        <a:buFont typeface="Arial" panose="020B0604020202020204" pitchFamily="34" charset="0"/>
        <a:buChar char="•"/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30876" indent="-194682" algn="l" defTabSz="778731" rtl="0" eaLnBrk="1" latinLnBrk="1" hangingPunct="1">
        <a:spcBef>
          <a:spcPct val="20000"/>
        </a:spcBef>
        <a:buFont typeface="Arial" panose="020B0604020202020204" pitchFamily="34" charset="0"/>
        <a:buChar char="•"/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2920242" indent="-194682" algn="l" defTabSz="778731" rtl="0" eaLnBrk="1" latinLnBrk="1" hangingPunct="1">
        <a:spcBef>
          <a:spcPct val="20000"/>
        </a:spcBef>
        <a:buFont typeface="Arial" panose="020B0604020202020204" pitchFamily="34" charset="0"/>
        <a:buChar char="•"/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309607" indent="-194682" algn="l" defTabSz="778731" rtl="0" eaLnBrk="1" latinLnBrk="1" hangingPunct="1">
        <a:spcBef>
          <a:spcPct val="20000"/>
        </a:spcBef>
        <a:buFont typeface="Arial" panose="020B0604020202020204" pitchFamily="34" charset="0"/>
        <a:buChar char="•"/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778731" rtl="0" eaLnBrk="1" latinLnBrk="1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1pPr>
      <a:lvl2pPr marL="389366" algn="l" defTabSz="778731" rtl="0" eaLnBrk="1" latinLnBrk="1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2pPr>
      <a:lvl3pPr marL="778731" algn="l" defTabSz="778731" rtl="0" eaLnBrk="1" latinLnBrk="1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3pPr>
      <a:lvl4pPr marL="1168097" algn="l" defTabSz="778731" rtl="0" eaLnBrk="1" latinLnBrk="1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4pPr>
      <a:lvl5pPr marL="1557462" algn="l" defTabSz="778731" rtl="0" eaLnBrk="1" latinLnBrk="1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5pPr>
      <a:lvl6pPr marL="1946828" algn="l" defTabSz="778731" rtl="0" eaLnBrk="1" latinLnBrk="1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6pPr>
      <a:lvl7pPr marL="2336193" algn="l" defTabSz="778731" rtl="0" eaLnBrk="1" latinLnBrk="1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7pPr>
      <a:lvl8pPr marL="2725559" algn="l" defTabSz="778731" rtl="0" eaLnBrk="1" latinLnBrk="1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8pPr>
      <a:lvl9pPr marL="3114924" algn="l" defTabSz="778731" rtl="0" eaLnBrk="1" latinLnBrk="1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519192" y="290531"/>
            <a:ext cx="9345455" cy="120914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519192" y="1692806"/>
            <a:ext cx="9345455" cy="47878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519191" y="6724198"/>
            <a:ext cx="2422896" cy="38625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5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58657"/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547812" y="6724198"/>
            <a:ext cx="3288215" cy="38625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5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58657"/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7441751" y="6724198"/>
            <a:ext cx="2422896" cy="38625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5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58657"/>
            <a:fld id="{2747D207-944B-4363-884F-A02296F6E65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 defTabSz="958657"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그림 6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767" y="672"/>
            <a:ext cx="10382305" cy="7253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54847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2" r:id="rId1"/>
    <p:sldLayoutId id="2147484023" r:id="rId2"/>
    <p:sldLayoutId id="2147484024" r:id="rId3"/>
    <p:sldLayoutId id="2147484025" r:id="rId4"/>
    <p:sldLayoutId id="2147484026" r:id="rId5"/>
    <p:sldLayoutId id="2147484136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58657" rtl="0" eaLnBrk="1" latinLnBrk="1" hangingPunct="1">
        <a:spcBef>
          <a:spcPct val="0"/>
        </a:spcBef>
        <a:buNone/>
        <a:defRPr sz="461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9496" indent="-359496" algn="l" defTabSz="958657" rtl="0" eaLnBrk="1" latinLnBrk="1" hangingPunct="1">
        <a:spcBef>
          <a:spcPct val="20000"/>
        </a:spcBef>
        <a:buFont typeface="Arial" panose="020B0604020202020204" pitchFamily="34" charset="0"/>
        <a:buChar char="•"/>
        <a:defRPr sz="3355" kern="1200">
          <a:solidFill>
            <a:schemeClr val="tx1"/>
          </a:solidFill>
          <a:latin typeface="+mn-lt"/>
          <a:ea typeface="+mn-ea"/>
          <a:cs typeface="+mn-cs"/>
        </a:defRPr>
      </a:lvl1pPr>
      <a:lvl2pPr marL="778909" indent="-299580" algn="l" defTabSz="958657" rtl="0" eaLnBrk="1" latinLnBrk="1" hangingPunct="1">
        <a:spcBef>
          <a:spcPct val="20000"/>
        </a:spcBef>
        <a:buFont typeface="Arial" panose="020B0604020202020204" pitchFamily="34" charset="0"/>
        <a:buChar char="–"/>
        <a:defRPr sz="2936" kern="1200">
          <a:solidFill>
            <a:schemeClr val="tx1"/>
          </a:solidFill>
          <a:latin typeface="+mn-lt"/>
          <a:ea typeface="+mn-ea"/>
          <a:cs typeface="+mn-cs"/>
        </a:defRPr>
      </a:lvl2pPr>
      <a:lvl3pPr marL="1198321" indent="-239664" algn="l" defTabSz="958657" rtl="0" eaLnBrk="1" latinLnBrk="1" hangingPunct="1">
        <a:spcBef>
          <a:spcPct val="20000"/>
        </a:spcBef>
        <a:buFont typeface="Arial" panose="020B0604020202020204" pitchFamily="34" charset="0"/>
        <a:buChar char="•"/>
        <a:defRPr sz="2516" kern="1200">
          <a:solidFill>
            <a:schemeClr val="tx1"/>
          </a:solidFill>
          <a:latin typeface="+mn-lt"/>
          <a:ea typeface="+mn-ea"/>
          <a:cs typeface="+mn-cs"/>
        </a:defRPr>
      </a:lvl3pPr>
      <a:lvl4pPr marL="1677650" indent="-239664" algn="l" defTabSz="958657" rtl="0" eaLnBrk="1" latinLnBrk="1" hangingPunct="1">
        <a:spcBef>
          <a:spcPct val="20000"/>
        </a:spcBef>
        <a:buFont typeface="Arial" panose="020B0604020202020204" pitchFamily="34" charset="0"/>
        <a:buChar char="–"/>
        <a:defRPr sz="2097" kern="1200">
          <a:solidFill>
            <a:schemeClr val="tx1"/>
          </a:solidFill>
          <a:latin typeface="+mn-lt"/>
          <a:ea typeface="+mn-ea"/>
          <a:cs typeface="+mn-cs"/>
        </a:defRPr>
      </a:lvl4pPr>
      <a:lvl5pPr marL="2156978" indent="-239664" algn="l" defTabSz="958657" rtl="0" eaLnBrk="1" latinLnBrk="1" hangingPunct="1">
        <a:spcBef>
          <a:spcPct val="20000"/>
        </a:spcBef>
        <a:buFont typeface="Arial" panose="020B0604020202020204" pitchFamily="34" charset="0"/>
        <a:buChar char="»"/>
        <a:defRPr sz="2097" kern="1200">
          <a:solidFill>
            <a:schemeClr val="tx1"/>
          </a:solidFill>
          <a:latin typeface="+mn-lt"/>
          <a:ea typeface="+mn-ea"/>
          <a:cs typeface="+mn-cs"/>
        </a:defRPr>
      </a:lvl5pPr>
      <a:lvl6pPr marL="2636307" indent="-239664" algn="l" defTabSz="958657" rtl="0" eaLnBrk="1" latinLnBrk="1" hangingPunct="1">
        <a:spcBef>
          <a:spcPct val="20000"/>
        </a:spcBef>
        <a:buFont typeface="Arial" panose="020B0604020202020204" pitchFamily="34" charset="0"/>
        <a:buChar char="•"/>
        <a:defRPr sz="2097" kern="1200">
          <a:solidFill>
            <a:schemeClr val="tx1"/>
          </a:solidFill>
          <a:latin typeface="+mn-lt"/>
          <a:ea typeface="+mn-ea"/>
          <a:cs typeface="+mn-cs"/>
        </a:defRPr>
      </a:lvl6pPr>
      <a:lvl7pPr marL="3115635" indent="-239664" algn="l" defTabSz="958657" rtl="0" eaLnBrk="1" latinLnBrk="1" hangingPunct="1">
        <a:spcBef>
          <a:spcPct val="20000"/>
        </a:spcBef>
        <a:buFont typeface="Arial" panose="020B0604020202020204" pitchFamily="34" charset="0"/>
        <a:buChar char="•"/>
        <a:defRPr sz="2097" kern="1200">
          <a:solidFill>
            <a:schemeClr val="tx1"/>
          </a:solidFill>
          <a:latin typeface="+mn-lt"/>
          <a:ea typeface="+mn-ea"/>
          <a:cs typeface="+mn-cs"/>
        </a:defRPr>
      </a:lvl7pPr>
      <a:lvl8pPr marL="3594964" indent="-239664" algn="l" defTabSz="958657" rtl="0" eaLnBrk="1" latinLnBrk="1" hangingPunct="1">
        <a:spcBef>
          <a:spcPct val="20000"/>
        </a:spcBef>
        <a:buFont typeface="Arial" panose="020B0604020202020204" pitchFamily="34" charset="0"/>
        <a:buChar char="•"/>
        <a:defRPr sz="2097" kern="1200">
          <a:solidFill>
            <a:schemeClr val="tx1"/>
          </a:solidFill>
          <a:latin typeface="+mn-lt"/>
          <a:ea typeface="+mn-ea"/>
          <a:cs typeface="+mn-cs"/>
        </a:defRPr>
      </a:lvl8pPr>
      <a:lvl9pPr marL="4074292" indent="-239664" algn="l" defTabSz="958657" rtl="0" eaLnBrk="1" latinLnBrk="1" hangingPunct="1">
        <a:spcBef>
          <a:spcPct val="20000"/>
        </a:spcBef>
        <a:buFont typeface="Arial" panose="020B0604020202020204" pitchFamily="34" charset="0"/>
        <a:buChar char="•"/>
        <a:defRPr sz="20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58657" rtl="0" eaLnBrk="1" latinLnBrk="1" hangingPunct="1">
        <a:defRPr sz="1887" kern="1200">
          <a:solidFill>
            <a:schemeClr val="tx1"/>
          </a:solidFill>
          <a:latin typeface="+mn-lt"/>
          <a:ea typeface="+mn-ea"/>
          <a:cs typeface="+mn-cs"/>
        </a:defRPr>
      </a:lvl1pPr>
      <a:lvl2pPr marL="479328" algn="l" defTabSz="958657" rtl="0" eaLnBrk="1" latinLnBrk="1" hangingPunct="1">
        <a:defRPr sz="1887" kern="1200">
          <a:solidFill>
            <a:schemeClr val="tx1"/>
          </a:solidFill>
          <a:latin typeface="+mn-lt"/>
          <a:ea typeface="+mn-ea"/>
          <a:cs typeface="+mn-cs"/>
        </a:defRPr>
      </a:lvl2pPr>
      <a:lvl3pPr marL="958657" algn="l" defTabSz="958657" rtl="0" eaLnBrk="1" latinLnBrk="1" hangingPunct="1">
        <a:defRPr sz="1887" kern="1200">
          <a:solidFill>
            <a:schemeClr val="tx1"/>
          </a:solidFill>
          <a:latin typeface="+mn-lt"/>
          <a:ea typeface="+mn-ea"/>
          <a:cs typeface="+mn-cs"/>
        </a:defRPr>
      </a:lvl3pPr>
      <a:lvl4pPr marL="1437985" algn="l" defTabSz="958657" rtl="0" eaLnBrk="1" latinLnBrk="1" hangingPunct="1">
        <a:defRPr sz="1887" kern="1200">
          <a:solidFill>
            <a:schemeClr val="tx1"/>
          </a:solidFill>
          <a:latin typeface="+mn-lt"/>
          <a:ea typeface="+mn-ea"/>
          <a:cs typeface="+mn-cs"/>
        </a:defRPr>
      </a:lvl4pPr>
      <a:lvl5pPr marL="1917314" algn="l" defTabSz="958657" rtl="0" eaLnBrk="1" latinLnBrk="1" hangingPunct="1">
        <a:defRPr sz="1887" kern="1200">
          <a:solidFill>
            <a:schemeClr val="tx1"/>
          </a:solidFill>
          <a:latin typeface="+mn-lt"/>
          <a:ea typeface="+mn-ea"/>
          <a:cs typeface="+mn-cs"/>
        </a:defRPr>
      </a:lvl5pPr>
      <a:lvl6pPr marL="2396642" algn="l" defTabSz="958657" rtl="0" eaLnBrk="1" latinLnBrk="1" hangingPunct="1">
        <a:defRPr sz="1887" kern="1200">
          <a:solidFill>
            <a:schemeClr val="tx1"/>
          </a:solidFill>
          <a:latin typeface="+mn-lt"/>
          <a:ea typeface="+mn-ea"/>
          <a:cs typeface="+mn-cs"/>
        </a:defRPr>
      </a:lvl6pPr>
      <a:lvl7pPr marL="2875971" algn="l" defTabSz="958657" rtl="0" eaLnBrk="1" latinLnBrk="1" hangingPunct="1">
        <a:defRPr sz="1887" kern="1200">
          <a:solidFill>
            <a:schemeClr val="tx1"/>
          </a:solidFill>
          <a:latin typeface="+mn-lt"/>
          <a:ea typeface="+mn-ea"/>
          <a:cs typeface="+mn-cs"/>
        </a:defRPr>
      </a:lvl7pPr>
      <a:lvl8pPr marL="3355299" algn="l" defTabSz="958657" rtl="0" eaLnBrk="1" latinLnBrk="1" hangingPunct="1">
        <a:defRPr sz="1887" kern="1200">
          <a:solidFill>
            <a:schemeClr val="tx1"/>
          </a:solidFill>
          <a:latin typeface="+mn-lt"/>
          <a:ea typeface="+mn-ea"/>
          <a:cs typeface="+mn-cs"/>
        </a:defRPr>
      </a:lvl8pPr>
      <a:lvl9pPr marL="3834628" algn="l" defTabSz="958657" rtl="0" eaLnBrk="1" latinLnBrk="1" hangingPunct="1">
        <a:defRPr sz="188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85731" y="6961565"/>
            <a:ext cx="10194250" cy="211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42916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773" b="1" i="0" u="none" strike="noStrike" kern="1200" cap="none" spc="0" normalizeH="0" baseline="0" noProof="0" dirty="0" smtClean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※ </a:t>
            </a:r>
            <a:r>
              <a:rPr kumimoji="0" lang="ko-KR" altLang="en-US" sz="773" b="1" i="0" u="none" strike="noStrike" kern="1200" cap="none" spc="0" normalizeH="0" baseline="0" noProof="0" dirty="0" smtClean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본 자료는 컨설턴트 교육용으로 환급금 및 보험금 지급의 근거가 될 수 없으며 고객안내자료로 활용할 수 없습니다</a:t>
            </a:r>
            <a:r>
              <a:rPr kumimoji="0" lang="en-US" altLang="ko-KR" sz="773" b="1" i="0" u="none" strike="noStrike" kern="1200" cap="none" spc="0" normalizeH="0" baseline="0" noProof="0" dirty="0" smtClean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773" b="1" i="0" u="none" strike="noStrike" kern="1200" cap="none" spc="0" normalizeH="0" baseline="0" noProof="0" dirty="0">
              <a:ln>
                <a:noFill/>
              </a:ln>
              <a:solidFill>
                <a:srgbClr val="14145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" name="모서리가 둥근 직사각형 3"/>
          <p:cNvSpPr/>
          <p:nvPr userDrawn="1"/>
        </p:nvSpPr>
        <p:spPr>
          <a:xfrm>
            <a:off x="9271922" y="124865"/>
            <a:ext cx="877356" cy="184167"/>
          </a:xfrm>
          <a:prstGeom prst="roundRect">
            <a:avLst/>
          </a:prstGeom>
          <a:solidFill>
            <a:srgbClr val="141450"/>
          </a:solidFill>
          <a:ln w="1270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12039" rIns="0" bIns="12039" rtlCol="0" anchor="ctr">
            <a:spAutoFit/>
          </a:bodyPr>
          <a:lstStyle/>
          <a:p>
            <a:pPr marL="0" marR="0" lvl="0" indent="0" algn="ctr" defTabSz="69908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27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FP</a:t>
            </a:r>
            <a:r>
              <a:rPr kumimoji="0" lang="ko-KR" altLang="en-US" sz="927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교육용자료</a:t>
            </a:r>
            <a:endParaRPr kumimoji="0" lang="ko-KR" altLang="en-US" sz="927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9550029" y="421802"/>
            <a:ext cx="611838" cy="234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4258" tIns="37129" rIns="74258" bIns="37129"/>
          <a:lstStyle/>
          <a:p>
            <a:pPr marL="0" marR="0" lvl="0" indent="0" algn="r" defTabSz="74306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81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fld id="{16B1565D-7790-4B20-9C8C-6E71895AF331}" type="slidenum">
              <a:rPr kumimoji="0" lang="ko-KR" altLang="en-US" sz="1081" b="1" i="0" u="none" strike="noStrike" kern="1200" cap="none" spc="0" normalizeH="0" baseline="0" noProof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pPr marL="0" marR="0" lvl="0" indent="0" algn="r" defTabSz="743063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081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89653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0" r:id="rId1"/>
    <p:sldLayoutId id="2147484031" r:id="rId2"/>
    <p:sldLayoutId id="2147484032" r:id="rId3"/>
    <p:sldLayoutId id="2147484033" r:id="rId4"/>
    <p:sldLayoutId id="2147484034" r:id="rId5"/>
    <p:sldLayoutId id="2147484035" r:id="rId6"/>
    <p:sldLayoutId id="2147484036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743168" rtl="0" eaLnBrk="1" latinLnBrk="1" hangingPunct="1">
        <a:spcBef>
          <a:spcPct val="0"/>
        </a:spcBef>
        <a:buNone/>
        <a:defRPr sz="358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8688" indent="-278688" algn="l" defTabSz="743168" rtl="0" eaLnBrk="1" latinLnBrk="1" hangingPunct="1">
        <a:spcBef>
          <a:spcPct val="20000"/>
        </a:spcBef>
        <a:buFont typeface="Arial" pitchFamily="34" charset="0"/>
        <a:buChar char="•"/>
        <a:defRPr sz="2615" kern="1200">
          <a:solidFill>
            <a:schemeClr val="tx1"/>
          </a:solidFill>
          <a:latin typeface="+mn-lt"/>
          <a:ea typeface="+mn-ea"/>
          <a:cs typeface="+mn-cs"/>
        </a:defRPr>
      </a:lvl1pPr>
      <a:lvl2pPr marL="603822" indent="-232241" algn="l" defTabSz="743168" rtl="0" eaLnBrk="1" latinLnBrk="1" hangingPunct="1">
        <a:spcBef>
          <a:spcPct val="20000"/>
        </a:spcBef>
        <a:buFont typeface="Arial" pitchFamily="34" charset="0"/>
        <a:buChar char="–"/>
        <a:defRPr sz="2241" kern="1200">
          <a:solidFill>
            <a:schemeClr val="tx1"/>
          </a:solidFill>
          <a:latin typeface="+mn-lt"/>
          <a:ea typeface="+mn-ea"/>
          <a:cs typeface="+mn-cs"/>
        </a:defRPr>
      </a:lvl2pPr>
      <a:lvl3pPr marL="928958" indent="-185792" algn="l" defTabSz="743168" rtl="0" eaLnBrk="1" latinLnBrk="1" hangingPunct="1">
        <a:spcBef>
          <a:spcPct val="20000"/>
        </a:spcBef>
        <a:buFont typeface="Arial" pitchFamily="34" charset="0"/>
        <a:buChar char="•"/>
        <a:defRPr sz="1942" kern="1200">
          <a:solidFill>
            <a:schemeClr val="tx1"/>
          </a:solidFill>
          <a:latin typeface="+mn-lt"/>
          <a:ea typeface="+mn-ea"/>
          <a:cs typeface="+mn-cs"/>
        </a:defRPr>
      </a:lvl3pPr>
      <a:lvl4pPr marL="1300541" indent="-185792" algn="l" defTabSz="743168" rtl="0" eaLnBrk="1" latinLnBrk="1" hangingPunct="1">
        <a:spcBef>
          <a:spcPct val="20000"/>
        </a:spcBef>
        <a:buFont typeface="Arial" pitchFamily="34" charset="0"/>
        <a:buChar char="–"/>
        <a:defRPr sz="1643" kern="1200">
          <a:solidFill>
            <a:schemeClr val="tx1"/>
          </a:solidFill>
          <a:latin typeface="+mn-lt"/>
          <a:ea typeface="+mn-ea"/>
          <a:cs typeface="+mn-cs"/>
        </a:defRPr>
      </a:lvl4pPr>
      <a:lvl5pPr marL="1672122" indent="-185792" algn="l" defTabSz="743168" rtl="0" eaLnBrk="1" latinLnBrk="1" hangingPunct="1">
        <a:spcBef>
          <a:spcPct val="20000"/>
        </a:spcBef>
        <a:buFont typeface="Arial" pitchFamily="34" charset="0"/>
        <a:buChar char="»"/>
        <a:defRPr sz="1643" kern="1200">
          <a:solidFill>
            <a:schemeClr val="tx1"/>
          </a:solidFill>
          <a:latin typeface="+mn-lt"/>
          <a:ea typeface="+mn-ea"/>
          <a:cs typeface="+mn-cs"/>
        </a:defRPr>
      </a:lvl5pPr>
      <a:lvl6pPr marL="2043706" indent="-185792" algn="l" defTabSz="743168" rtl="0" eaLnBrk="1" latinLnBrk="1" hangingPunct="1">
        <a:spcBef>
          <a:spcPct val="20000"/>
        </a:spcBef>
        <a:buFont typeface="Arial" pitchFamily="34" charset="0"/>
        <a:buChar char="•"/>
        <a:defRPr sz="1643" kern="1200">
          <a:solidFill>
            <a:schemeClr val="tx1"/>
          </a:solidFill>
          <a:latin typeface="+mn-lt"/>
          <a:ea typeface="+mn-ea"/>
          <a:cs typeface="+mn-cs"/>
        </a:defRPr>
      </a:lvl6pPr>
      <a:lvl7pPr marL="2415289" indent="-185792" algn="l" defTabSz="743168" rtl="0" eaLnBrk="1" latinLnBrk="1" hangingPunct="1">
        <a:spcBef>
          <a:spcPct val="20000"/>
        </a:spcBef>
        <a:buFont typeface="Arial" pitchFamily="34" charset="0"/>
        <a:buChar char="•"/>
        <a:defRPr sz="1643" kern="1200">
          <a:solidFill>
            <a:schemeClr val="tx1"/>
          </a:solidFill>
          <a:latin typeface="+mn-lt"/>
          <a:ea typeface="+mn-ea"/>
          <a:cs typeface="+mn-cs"/>
        </a:defRPr>
      </a:lvl7pPr>
      <a:lvl8pPr marL="2786872" indent="-185792" algn="l" defTabSz="743168" rtl="0" eaLnBrk="1" latinLnBrk="1" hangingPunct="1">
        <a:spcBef>
          <a:spcPct val="20000"/>
        </a:spcBef>
        <a:buFont typeface="Arial" pitchFamily="34" charset="0"/>
        <a:buChar char="•"/>
        <a:defRPr sz="1643" kern="1200">
          <a:solidFill>
            <a:schemeClr val="tx1"/>
          </a:solidFill>
          <a:latin typeface="+mn-lt"/>
          <a:ea typeface="+mn-ea"/>
          <a:cs typeface="+mn-cs"/>
        </a:defRPr>
      </a:lvl8pPr>
      <a:lvl9pPr marL="3158456" indent="-185792" algn="l" defTabSz="743168" rtl="0" eaLnBrk="1" latinLnBrk="1" hangingPunct="1">
        <a:spcBef>
          <a:spcPct val="20000"/>
        </a:spcBef>
        <a:buFont typeface="Arial" pitchFamily="34" charset="0"/>
        <a:buChar char="•"/>
        <a:defRPr sz="164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743168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1pPr>
      <a:lvl2pPr marL="371584" algn="l" defTabSz="743168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2pPr>
      <a:lvl3pPr marL="743168" algn="l" defTabSz="743168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3pPr>
      <a:lvl4pPr marL="1114749" algn="l" defTabSz="743168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4pPr>
      <a:lvl5pPr marL="1486332" algn="l" defTabSz="743168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5pPr>
      <a:lvl6pPr marL="1857915" algn="l" defTabSz="743168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6pPr>
      <a:lvl7pPr marL="2229496" algn="l" defTabSz="743168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7pPr>
      <a:lvl8pPr marL="2601082" algn="l" defTabSz="743168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8pPr>
      <a:lvl9pPr marL="2972664" algn="l" defTabSz="743168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519191" y="6724198"/>
            <a:ext cx="2422896" cy="38625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2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78733"/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547813" y="6724198"/>
            <a:ext cx="3288215" cy="38625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2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78733"/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7441751" y="6724198"/>
            <a:ext cx="2422896" cy="38625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2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78733"/>
            <a:fld id="{2747D207-944B-4363-884F-A02296F6E65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 defTabSz="778733"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그림 6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67" y="673"/>
            <a:ext cx="10382306" cy="7253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8130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8" r:id="rId1"/>
    <p:sldLayoutId id="2147484039" r:id="rId2"/>
    <p:sldLayoutId id="2147484040" r:id="rId3"/>
    <p:sldLayoutId id="2147484041" r:id="rId4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ctr" defTabSz="778733" rtl="0" eaLnBrk="1" latinLnBrk="1" hangingPunct="1">
        <a:spcBef>
          <a:spcPct val="0"/>
        </a:spcBef>
        <a:buNone/>
        <a:defRPr sz="374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2025" indent="-292025" algn="l" defTabSz="778733" rtl="0" eaLnBrk="1" latinLnBrk="1" hangingPunct="1">
        <a:spcBef>
          <a:spcPct val="20000"/>
        </a:spcBef>
        <a:buFont typeface="Arial" panose="020B0604020202020204" pitchFamily="34" charset="0"/>
        <a:buChar char="•"/>
        <a:defRPr sz="2725" kern="1200">
          <a:solidFill>
            <a:schemeClr val="tx1"/>
          </a:solidFill>
          <a:latin typeface="+mn-lt"/>
          <a:ea typeface="+mn-ea"/>
          <a:cs typeface="+mn-cs"/>
        </a:defRPr>
      </a:lvl1pPr>
      <a:lvl2pPr marL="632721" indent="-243355" algn="l" defTabSz="778733" rtl="0" eaLnBrk="1" latinLnBrk="1" hangingPunct="1">
        <a:spcBef>
          <a:spcPct val="20000"/>
        </a:spcBef>
        <a:buFont typeface="Arial" panose="020B0604020202020204" pitchFamily="34" charset="0"/>
        <a:buChar char="–"/>
        <a:defRPr sz="2384" kern="1200">
          <a:solidFill>
            <a:schemeClr val="tx1"/>
          </a:solidFill>
          <a:latin typeface="+mn-lt"/>
          <a:ea typeface="+mn-ea"/>
          <a:cs typeface="+mn-cs"/>
        </a:defRPr>
      </a:lvl2pPr>
      <a:lvl3pPr marL="973417" indent="-194683" algn="l" defTabSz="778733" rtl="0" eaLnBrk="1" latinLnBrk="1" hangingPunct="1">
        <a:spcBef>
          <a:spcPct val="20000"/>
        </a:spcBef>
        <a:buFont typeface="Arial" panose="020B0604020202020204" pitchFamily="34" charset="0"/>
        <a:buChar char="•"/>
        <a:defRPr sz="2044" kern="1200">
          <a:solidFill>
            <a:schemeClr val="tx1"/>
          </a:solidFill>
          <a:latin typeface="+mn-lt"/>
          <a:ea typeface="+mn-ea"/>
          <a:cs typeface="+mn-cs"/>
        </a:defRPr>
      </a:lvl3pPr>
      <a:lvl4pPr marL="1362785" indent="-194683" algn="l" defTabSz="778733" rtl="0" eaLnBrk="1" latinLnBrk="1" hangingPunct="1">
        <a:spcBef>
          <a:spcPct val="20000"/>
        </a:spcBef>
        <a:buFont typeface="Arial" panose="020B0604020202020204" pitchFamily="34" charset="0"/>
        <a:buChar char="–"/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52151" indent="-194683" algn="l" defTabSz="778733" rtl="0" eaLnBrk="1" latinLnBrk="1" hangingPunct="1">
        <a:spcBef>
          <a:spcPct val="20000"/>
        </a:spcBef>
        <a:buFont typeface="Arial" panose="020B0604020202020204" pitchFamily="34" charset="0"/>
        <a:buChar char="»"/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41518" indent="-194683" algn="l" defTabSz="778733" rtl="0" eaLnBrk="1" latinLnBrk="1" hangingPunct="1">
        <a:spcBef>
          <a:spcPct val="20000"/>
        </a:spcBef>
        <a:buFont typeface="Arial" panose="020B0604020202020204" pitchFamily="34" charset="0"/>
        <a:buChar char="•"/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30885" indent="-194683" algn="l" defTabSz="778733" rtl="0" eaLnBrk="1" latinLnBrk="1" hangingPunct="1">
        <a:spcBef>
          <a:spcPct val="20000"/>
        </a:spcBef>
        <a:buFont typeface="Arial" panose="020B0604020202020204" pitchFamily="34" charset="0"/>
        <a:buChar char="•"/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2920251" indent="-194683" algn="l" defTabSz="778733" rtl="0" eaLnBrk="1" latinLnBrk="1" hangingPunct="1">
        <a:spcBef>
          <a:spcPct val="20000"/>
        </a:spcBef>
        <a:buFont typeface="Arial" panose="020B0604020202020204" pitchFamily="34" charset="0"/>
        <a:buChar char="•"/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309619" indent="-194683" algn="l" defTabSz="778733" rtl="0" eaLnBrk="1" latinLnBrk="1" hangingPunct="1">
        <a:spcBef>
          <a:spcPct val="20000"/>
        </a:spcBef>
        <a:buFont typeface="Arial" panose="020B0604020202020204" pitchFamily="34" charset="0"/>
        <a:buChar char="•"/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778733" rtl="0" eaLnBrk="1" latinLnBrk="1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1pPr>
      <a:lvl2pPr marL="389367" algn="l" defTabSz="778733" rtl="0" eaLnBrk="1" latinLnBrk="1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2pPr>
      <a:lvl3pPr marL="778733" algn="l" defTabSz="778733" rtl="0" eaLnBrk="1" latinLnBrk="1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3pPr>
      <a:lvl4pPr marL="1168101" algn="l" defTabSz="778733" rtl="0" eaLnBrk="1" latinLnBrk="1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4pPr>
      <a:lvl5pPr marL="1557468" algn="l" defTabSz="778733" rtl="0" eaLnBrk="1" latinLnBrk="1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5pPr>
      <a:lvl6pPr marL="1946835" algn="l" defTabSz="778733" rtl="0" eaLnBrk="1" latinLnBrk="1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6pPr>
      <a:lvl7pPr marL="2336201" algn="l" defTabSz="778733" rtl="0" eaLnBrk="1" latinLnBrk="1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7pPr>
      <a:lvl8pPr marL="2725568" algn="l" defTabSz="778733" rtl="0" eaLnBrk="1" latinLnBrk="1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8pPr>
      <a:lvl9pPr marL="3114935" algn="l" defTabSz="778733" rtl="0" eaLnBrk="1" latinLnBrk="1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519191" y="6724198"/>
            <a:ext cx="2422896" cy="38625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2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78733"/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547813" y="6724198"/>
            <a:ext cx="3288215" cy="38625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2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78733"/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7441751" y="6724198"/>
            <a:ext cx="2422896" cy="38625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2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78733"/>
            <a:fld id="{2747D207-944B-4363-884F-A02296F6E65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 defTabSz="778733"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그림 6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767" y="673"/>
            <a:ext cx="10382306" cy="7253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01226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3" r:id="rId1"/>
    <p:sldLayoutId id="2147484044" r:id="rId2"/>
    <p:sldLayoutId id="2147484045" r:id="rId3"/>
    <p:sldLayoutId id="2147484046" r:id="rId4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ctr" defTabSz="778733" rtl="0" eaLnBrk="1" latinLnBrk="1" hangingPunct="1">
        <a:spcBef>
          <a:spcPct val="0"/>
        </a:spcBef>
        <a:buNone/>
        <a:defRPr sz="374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2025" indent="-292025" algn="l" defTabSz="778733" rtl="0" eaLnBrk="1" latinLnBrk="1" hangingPunct="1">
        <a:spcBef>
          <a:spcPct val="20000"/>
        </a:spcBef>
        <a:buFont typeface="Arial" panose="020B0604020202020204" pitchFamily="34" charset="0"/>
        <a:buChar char="•"/>
        <a:defRPr sz="2725" kern="1200">
          <a:solidFill>
            <a:schemeClr val="tx1"/>
          </a:solidFill>
          <a:latin typeface="+mn-lt"/>
          <a:ea typeface="+mn-ea"/>
          <a:cs typeface="+mn-cs"/>
        </a:defRPr>
      </a:lvl1pPr>
      <a:lvl2pPr marL="632721" indent="-243355" algn="l" defTabSz="778733" rtl="0" eaLnBrk="1" latinLnBrk="1" hangingPunct="1">
        <a:spcBef>
          <a:spcPct val="20000"/>
        </a:spcBef>
        <a:buFont typeface="Arial" panose="020B0604020202020204" pitchFamily="34" charset="0"/>
        <a:buChar char="–"/>
        <a:defRPr sz="2384" kern="1200">
          <a:solidFill>
            <a:schemeClr val="tx1"/>
          </a:solidFill>
          <a:latin typeface="+mn-lt"/>
          <a:ea typeface="+mn-ea"/>
          <a:cs typeface="+mn-cs"/>
        </a:defRPr>
      </a:lvl2pPr>
      <a:lvl3pPr marL="973417" indent="-194683" algn="l" defTabSz="778733" rtl="0" eaLnBrk="1" latinLnBrk="1" hangingPunct="1">
        <a:spcBef>
          <a:spcPct val="20000"/>
        </a:spcBef>
        <a:buFont typeface="Arial" panose="020B0604020202020204" pitchFamily="34" charset="0"/>
        <a:buChar char="•"/>
        <a:defRPr sz="2044" kern="1200">
          <a:solidFill>
            <a:schemeClr val="tx1"/>
          </a:solidFill>
          <a:latin typeface="+mn-lt"/>
          <a:ea typeface="+mn-ea"/>
          <a:cs typeface="+mn-cs"/>
        </a:defRPr>
      </a:lvl3pPr>
      <a:lvl4pPr marL="1362785" indent="-194683" algn="l" defTabSz="778733" rtl="0" eaLnBrk="1" latinLnBrk="1" hangingPunct="1">
        <a:spcBef>
          <a:spcPct val="20000"/>
        </a:spcBef>
        <a:buFont typeface="Arial" panose="020B0604020202020204" pitchFamily="34" charset="0"/>
        <a:buChar char="–"/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52151" indent="-194683" algn="l" defTabSz="778733" rtl="0" eaLnBrk="1" latinLnBrk="1" hangingPunct="1">
        <a:spcBef>
          <a:spcPct val="20000"/>
        </a:spcBef>
        <a:buFont typeface="Arial" panose="020B0604020202020204" pitchFamily="34" charset="0"/>
        <a:buChar char="»"/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41518" indent="-194683" algn="l" defTabSz="778733" rtl="0" eaLnBrk="1" latinLnBrk="1" hangingPunct="1">
        <a:spcBef>
          <a:spcPct val="20000"/>
        </a:spcBef>
        <a:buFont typeface="Arial" panose="020B0604020202020204" pitchFamily="34" charset="0"/>
        <a:buChar char="•"/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30885" indent="-194683" algn="l" defTabSz="778733" rtl="0" eaLnBrk="1" latinLnBrk="1" hangingPunct="1">
        <a:spcBef>
          <a:spcPct val="20000"/>
        </a:spcBef>
        <a:buFont typeface="Arial" panose="020B0604020202020204" pitchFamily="34" charset="0"/>
        <a:buChar char="•"/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2920251" indent="-194683" algn="l" defTabSz="778733" rtl="0" eaLnBrk="1" latinLnBrk="1" hangingPunct="1">
        <a:spcBef>
          <a:spcPct val="20000"/>
        </a:spcBef>
        <a:buFont typeface="Arial" panose="020B0604020202020204" pitchFamily="34" charset="0"/>
        <a:buChar char="•"/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309619" indent="-194683" algn="l" defTabSz="778733" rtl="0" eaLnBrk="1" latinLnBrk="1" hangingPunct="1">
        <a:spcBef>
          <a:spcPct val="20000"/>
        </a:spcBef>
        <a:buFont typeface="Arial" panose="020B0604020202020204" pitchFamily="34" charset="0"/>
        <a:buChar char="•"/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778733" rtl="0" eaLnBrk="1" latinLnBrk="1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1pPr>
      <a:lvl2pPr marL="389367" algn="l" defTabSz="778733" rtl="0" eaLnBrk="1" latinLnBrk="1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2pPr>
      <a:lvl3pPr marL="778733" algn="l" defTabSz="778733" rtl="0" eaLnBrk="1" latinLnBrk="1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3pPr>
      <a:lvl4pPr marL="1168101" algn="l" defTabSz="778733" rtl="0" eaLnBrk="1" latinLnBrk="1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4pPr>
      <a:lvl5pPr marL="1557468" algn="l" defTabSz="778733" rtl="0" eaLnBrk="1" latinLnBrk="1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5pPr>
      <a:lvl6pPr marL="1946835" algn="l" defTabSz="778733" rtl="0" eaLnBrk="1" latinLnBrk="1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6pPr>
      <a:lvl7pPr marL="2336201" algn="l" defTabSz="778733" rtl="0" eaLnBrk="1" latinLnBrk="1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7pPr>
      <a:lvl8pPr marL="2725568" algn="l" defTabSz="778733" rtl="0" eaLnBrk="1" latinLnBrk="1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8pPr>
      <a:lvl9pPr marL="3114935" algn="l" defTabSz="778733" rtl="0" eaLnBrk="1" latinLnBrk="1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519193" y="290531"/>
            <a:ext cx="9345455" cy="120914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519193" y="1692807"/>
            <a:ext cx="9345455" cy="47878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519192" y="6724197"/>
            <a:ext cx="2422896" cy="38625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1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71826"/>
            <a:fld id="{14F7B84C-7E92-4736-AED6-4B9930A3EE80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 defTabSz="771826"/>
              <a:t>2023-09-25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547812" y="6724197"/>
            <a:ext cx="3288215" cy="38625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1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71826"/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7441751" y="6724197"/>
            <a:ext cx="2422896" cy="38625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1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71826"/>
            <a:fld id="{2747D207-944B-4363-884F-A02296F6E65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 defTabSz="771826"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그림 6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767" y="671"/>
            <a:ext cx="10382305" cy="7253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8118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8" r:id="rId1"/>
    <p:sldLayoutId id="2147484079" r:id="rId2"/>
    <p:sldLayoutId id="2147484080" r:id="rId3"/>
    <p:sldLayoutId id="2147484081" r:id="rId4"/>
    <p:sldLayoutId id="2147484082" r:id="rId5"/>
    <p:sldLayoutId id="2147484083" r:id="rId6"/>
    <p:sldLayoutId id="2147484084" r:id="rId7"/>
    <p:sldLayoutId id="2147484085" r:id="rId8"/>
  </p:sldLayoutIdLst>
  <p:timing>
    <p:tnLst>
      <p:par>
        <p:cTn id="1" dur="indefinite" restart="never" nodeType="tmRoot"/>
      </p:par>
    </p:tnLst>
  </p:timing>
  <p:txStyles>
    <p:titleStyle>
      <a:lvl1pPr algn="ctr" defTabSz="771826" rtl="0" eaLnBrk="1" latinLnBrk="1" hangingPunct="1">
        <a:spcBef>
          <a:spcPct val="0"/>
        </a:spcBef>
        <a:buNone/>
        <a:defRPr sz="371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9435" indent="-289435" algn="l" defTabSz="771826" rtl="0" eaLnBrk="1" latinLnBrk="1" hangingPunct="1">
        <a:spcBef>
          <a:spcPct val="20000"/>
        </a:spcBef>
        <a:buFont typeface="Arial" panose="020B0604020202020204" pitchFamily="34" charset="0"/>
        <a:buChar char="•"/>
        <a:defRPr sz="2701" kern="1200">
          <a:solidFill>
            <a:schemeClr val="tx1"/>
          </a:solidFill>
          <a:latin typeface="+mn-lt"/>
          <a:ea typeface="+mn-ea"/>
          <a:cs typeface="+mn-cs"/>
        </a:defRPr>
      </a:lvl1pPr>
      <a:lvl2pPr marL="627109" indent="-241195" algn="l" defTabSz="771826" rtl="0" eaLnBrk="1" latinLnBrk="1" hangingPunct="1">
        <a:spcBef>
          <a:spcPct val="20000"/>
        </a:spcBef>
        <a:buFont typeface="Arial" panose="020B0604020202020204" pitchFamily="34" charset="0"/>
        <a:buChar char="–"/>
        <a:defRPr sz="2363" kern="1200">
          <a:solidFill>
            <a:schemeClr val="tx1"/>
          </a:solidFill>
          <a:latin typeface="+mn-lt"/>
          <a:ea typeface="+mn-ea"/>
          <a:cs typeface="+mn-cs"/>
        </a:defRPr>
      </a:lvl2pPr>
      <a:lvl3pPr marL="964783" indent="-192956" algn="l" defTabSz="771826" rtl="0" eaLnBrk="1" latinLnBrk="1" hangingPunct="1">
        <a:spcBef>
          <a:spcPct val="20000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3pPr>
      <a:lvl4pPr marL="1350697" indent="-192956" algn="l" defTabSz="771826" rtl="0" eaLnBrk="1" latinLnBrk="1" hangingPunct="1">
        <a:spcBef>
          <a:spcPct val="20000"/>
        </a:spcBef>
        <a:buFont typeface="Arial" panose="020B0604020202020204" pitchFamily="34" charset="0"/>
        <a:buChar char="–"/>
        <a:defRPr sz="1688" kern="1200">
          <a:solidFill>
            <a:schemeClr val="tx1"/>
          </a:solidFill>
          <a:latin typeface="+mn-lt"/>
          <a:ea typeface="+mn-ea"/>
          <a:cs typeface="+mn-cs"/>
        </a:defRPr>
      </a:lvl4pPr>
      <a:lvl5pPr marL="1736609" indent="-192956" algn="l" defTabSz="771826" rtl="0" eaLnBrk="1" latinLnBrk="1" hangingPunct="1">
        <a:spcBef>
          <a:spcPct val="20000"/>
        </a:spcBef>
        <a:buFont typeface="Arial" panose="020B0604020202020204" pitchFamily="34" charset="0"/>
        <a:buChar char="»"/>
        <a:defRPr sz="1688" kern="1200">
          <a:solidFill>
            <a:schemeClr val="tx1"/>
          </a:solidFill>
          <a:latin typeface="+mn-lt"/>
          <a:ea typeface="+mn-ea"/>
          <a:cs typeface="+mn-cs"/>
        </a:defRPr>
      </a:lvl5pPr>
      <a:lvl6pPr marL="2122522" indent="-192956" algn="l" defTabSz="771826" rtl="0" eaLnBrk="1" latinLnBrk="1" hangingPunct="1">
        <a:spcBef>
          <a:spcPct val="20000"/>
        </a:spcBef>
        <a:buFont typeface="Arial" panose="020B0604020202020204" pitchFamily="34" charset="0"/>
        <a:buChar char="•"/>
        <a:defRPr sz="1688" kern="1200">
          <a:solidFill>
            <a:schemeClr val="tx1"/>
          </a:solidFill>
          <a:latin typeface="+mn-lt"/>
          <a:ea typeface="+mn-ea"/>
          <a:cs typeface="+mn-cs"/>
        </a:defRPr>
      </a:lvl6pPr>
      <a:lvl7pPr marL="2508435" indent="-192956" algn="l" defTabSz="771826" rtl="0" eaLnBrk="1" latinLnBrk="1" hangingPunct="1">
        <a:spcBef>
          <a:spcPct val="20000"/>
        </a:spcBef>
        <a:buFont typeface="Arial" panose="020B0604020202020204" pitchFamily="34" charset="0"/>
        <a:buChar char="•"/>
        <a:defRPr sz="1688" kern="1200">
          <a:solidFill>
            <a:schemeClr val="tx1"/>
          </a:solidFill>
          <a:latin typeface="+mn-lt"/>
          <a:ea typeface="+mn-ea"/>
          <a:cs typeface="+mn-cs"/>
        </a:defRPr>
      </a:lvl7pPr>
      <a:lvl8pPr marL="2894348" indent="-192956" algn="l" defTabSz="771826" rtl="0" eaLnBrk="1" latinLnBrk="1" hangingPunct="1">
        <a:spcBef>
          <a:spcPct val="20000"/>
        </a:spcBef>
        <a:buFont typeface="Arial" panose="020B0604020202020204" pitchFamily="34" charset="0"/>
        <a:buChar char="•"/>
        <a:defRPr sz="1688" kern="1200">
          <a:solidFill>
            <a:schemeClr val="tx1"/>
          </a:solidFill>
          <a:latin typeface="+mn-lt"/>
          <a:ea typeface="+mn-ea"/>
          <a:cs typeface="+mn-cs"/>
        </a:defRPr>
      </a:lvl8pPr>
      <a:lvl9pPr marL="3280261" indent="-192956" algn="l" defTabSz="771826" rtl="0" eaLnBrk="1" latinLnBrk="1" hangingPunct="1">
        <a:spcBef>
          <a:spcPct val="20000"/>
        </a:spcBef>
        <a:buFont typeface="Arial" panose="020B0604020202020204" pitchFamily="34" charset="0"/>
        <a:buChar char="•"/>
        <a:defRPr sz="16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771826" rtl="0" eaLnBrk="1" latinLnBrk="1" hangingPunct="1">
        <a:defRPr sz="1519" kern="1200">
          <a:solidFill>
            <a:schemeClr val="tx1"/>
          </a:solidFill>
          <a:latin typeface="+mn-lt"/>
          <a:ea typeface="+mn-ea"/>
          <a:cs typeface="+mn-cs"/>
        </a:defRPr>
      </a:lvl1pPr>
      <a:lvl2pPr marL="385913" algn="l" defTabSz="771826" rtl="0" eaLnBrk="1" latinLnBrk="1" hangingPunct="1">
        <a:defRPr sz="1519" kern="1200">
          <a:solidFill>
            <a:schemeClr val="tx1"/>
          </a:solidFill>
          <a:latin typeface="+mn-lt"/>
          <a:ea typeface="+mn-ea"/>
          <a:cs typeface="+mn-cs"/>
        </a:defRPr>
      </a:lvl2pPr>
      <a:lvl3pPr marL="771826" algn="l" defTabSz="771826" rtl="0" eaLnBrk="1" latinLnBrk="1" hangingPunct="1">
        <a:defRPr sz="1519" kern="1200">
          <a:solidFill>
            <a:schemeClr val="tx1"/>
          </a:solidFill>
          <a:latin typeface="+mn-lt"/>
          <a:ea typeface="+mn-ea"/>
          <a:cs typeface="+mn-cs"/>
        </a:defRPr>
      </a:lvl3pPr>
      <a:lvl4pPr marL="1157739" algn="l" defTabSz="771826" rtl="0" eaLnBrk="1" latinLnBrk="1" hangingPunct="1">
        <a:defRPr sz="1519" kern="1200">
          <a:solidFill>
            <a:schemeClr val="tx1"/>
          </a:solidFill>
          <a:latin typeface="+mn-lt"/>
          <a:ea typeface="+mn-ea"/>
          <a:cs typeface="+mn-cs"/>
        </a:defRPr>
      </a:lvl4pPr>
      <a:lvl5pPr marL="1543653" algn="l" defTabSz="771826" rtl="0" eaLnBrk="1" latinLnBrk="1" hangingPunct="1">
        <a:defRPr sz="1519" kern="1200">
          <a:solidFill>
            <a:schemeClr val="tx1"/>
          </a:solidFill>
          <a:latin typeface="+mn-lt"/>
          <a:ea typeface="+mn-ea"/>
          <a:cs typeface="+mn-cs"/>
        </a:defRPr>
      </a:lvl5pPr>
      <a:lvl6pPr marL="1929566" algn="l" defTabSz="771826" rtl="0" eaLnBrk="1" latinLnBrk="1" hangingPunct="1">
        <a:defRPr sz="1519" kern="1200">
          <a:solidFill>
            <a:schemeClr val="tx1"/>
          </a:solidFill>
          <a:latin typeface="+mn-lt"/>
          <a:ea typeface="+mn-ea"/>
          <a:cs typeface="+mn-cs"/>
        </a:defRPr>
      </a:lvl6pPr>
      <a:lvl7pPr marL="2315478" algn="l" defTabSz="771826" rtl="0" eaLnBrk="1" latinLnBrk="1" hangingPunct="1">
        <a:defRPr sz="1519" kern="1200">
          <a:solidFill>
            <a:schemeClr val="tx1"/>
          </a:solidFill>
          <a:latin typeface="+mn-lt"/>
          <a:ea typeface="+mn-ea"/>
          <a:cs typeface="+mn-cs"/>
        </a:defRPr>
      </a:lvl7pPr>
      <a:lvl8pPr marL="2701391" algn="l" defTabSz="771826" rtl="0" eaLnBrk="1" latinLnBrk="1" hangingPunct="1">
        <a:defRPr sz="1519" kern="1200">
          <a:solidFill>
            <a:schemeClr val="tx1"/>
          </a:solidFill>
          <a:latin typeface="+mn-lt"/>
          <a:ea typeface="+mn-ea"/>
          <a:cs typeface="+mn-cs"/>
        </a:defRPr>
      </a:lvl8pPr>
      <a:lvl9pPr marL="3087305" algn="l" defTabSz="771826" rtl="0" eaLnBrk="1" latinLnBrk="1" hangingPunct="1">
        <a:defRPr sz="151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" y="680"/>
            <a:ext cx="10387752" cy="7060395"/>
          </a:xfrm>
          <a:prstGeom prst="rect">
            <a:avLst/>
          </a:prstGeom>
        </p:spPr>
      </p:pic>
      <p:sp>
        <p:nvSpPr>
          <p:cNvPr id="5" name="직사각형 16"/>
          <p:cNvSpPr>
            <a:spLocks noChangeArrowheads="1"/>
          </p:cNvSpPr>
          <p:nvPr userDrawn="1"/>
        </p:nvSpPr>
        <p:spPr bwMode="auto">
          <a:xfrm>
            <a:off x="9328864" y="91613"/>
            <a:ext cx="897248" cy="307847"/>
          </a:xfrm>
          <a:prstGeom prst="rect">
            <a:avLst/>
          </a:prstGeom>
          <a:ln w="15875">
            <a:solidFill>
              <a:schemeClr val="bg1">
                <a:lumMod val="65000"/>
              </a:schemeClr>
            </a:solidFill>
            <a:prstDash val="sysDot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102926" tIns="68615" rIns="87145" bIns="68615">
            <a:spAutoFit/>
          </a:bodyPr>
          <a:lstStyle/>
          <a:p>
            <a:pPr algn="ctr" defTabSz="871440"/>
            <a:r>
              <a:rPr lang="ko-KR" altLang="en-US" sz="1100" dirty="0">
                <a:ln>
                  <a:solidFill>
                    <a:prstClr val="white">
                      <a:lumMod val="75000"/>
                    </a:prstClr>
                  </a:solidFill>
                </a:ln>
                <a:solidFill>
                  <a:prstClr val="white">
                    <a:lumMod val="50000"/>
                  </a:prstClr>
                </a:solidFill>
              </a:rPr>
              <a:t>사내교육용</a:t>
            </a: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9789199" y="7011438"/>
            <a:ext cx="577826" cy="251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7095" tIns="43549" rIns="87095" bIns="43549" anchor="ctr" anchorCtr="0"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r" defTabSz="871440">
              <a:defRPr/>
            </a:pPr>
            <a:r>
              <a:rPr lang="ko-KR" altLang="en-US" sz="1400" b="1" dirty="0">
                <a:solidFill>
                  <a:srgbClr val="002060"/>
                </a:solidFill>
              </a:rPr>
              <a:t> </a:t>
            </a:r>
            <a:fld id="{16B1565D-7790-4B20-9C8C-6E71895AF331}" type="slidenum">
              <a:rPr lang="ko-KR" altLang="en-US" sz="1400" b="1">
                <a:solidFill>
                  <a:srgbClr val="002060"/>
                </a:solidFill>
              </a:rPr>
              <a:pPr algn="r" defTabSz="871440">
                <a:defRPr/>
              </a:pPr>
              <a:t>‹#›</a:t>
            </a:fld>
            <a:endParaRPr lang="en-US" altLang="ko-KR" sz="1400" b="1" dirty="0">
              <a:solidFill>
                <a:srgbClr val="00206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</p:sldLayoutIdLst>
  <p:hf hdr="0" ftr="0" dt="0"/>
  <p:txStyles>
    <p:titleStyle>
      <a:lvl1pPr algn="ctr" defTabSz="871440" rtl="0" eaLnBrk="1" latinLnBrk="1" hangingPunct="1">
        <a:spcBef>
          <a:spcPct val="0"/>
        </a:spcBef>
        <a:buNone/>
        <a:defRPr sz="4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6790" indent="-326790" algn="l" defTabSz="871440" rtl="0" eaLnBrk="1" latinLnBrk="1" hangingPunct="1">
        <a:spcBef>
          <a:spcPct val="20000"/>
        </a:spcBef>
        <a:buFont typeface="Arial" pitchFamily="34" charset="0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1pPr>
      <a:lvl2pPr marL="708047" indent="-272324" algn="l" defTabSz="871440" rtl="0" eaLnBrk="1" latinLnBrk="1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89299" indent="-217859" algn="l" defTabSz="871440" rtl="0" eaLnBrk="1" latinLnBrk="1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525020" indent="-217859" algn="l" defTabSz="871440" rtl="0" eaLnBrk="1" latinLnBrk="1" hangingPunct="1">
        <a:spcBef>
          <a:spcPct val="20000"/>
        </a:spcBef>
        <a:buFont typeface="Arial" pitchFamily="34" charset="0"/>
        <a:buChar char="–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60738" indent="-217859" algn="l" defTabSz="871440" rtl="0" eaLnBrk="1" latinLnBrk="1" hangingPunct="1">
        <a:spcBef>
          <a:spcPct val="20000"/>
        </a:spcBef>
        <a:buFont typeface="Arial" pitchFamily="34" charset="0"/>
        <a:buChar char="»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6460" indent="-217859" algn="l" defTabSz="871440" rtl="0" eaLnBrk="1" latinLnBrk="1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32179" indent="-217859" algn="l" defTabSz="871440" rtl="0" eaLnBrk="1" latinLnBrk="1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67898" indent="-217859" algn="l" defTabSz="871440" rtl="0" eaLnBrk="1" latinLnBrk="1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703620" indent="-217859" algn="l" defTabSz="871440" rtl="0" eaLnBrk="1" latinLnBrk="1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87144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35721" algn="l" defTabSz="87144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71440" algn="l" defTabSz="87144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07160" algn="l" defTabSz="87144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42878" algn="l" defTabSz="87144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178599" algn="l" defTabSz="87144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14320" algn="l" defTabSz="87144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50040" algn="l" defTabSz="87144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85761" algn="l" defTabSz="87144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제목 개체 틀 1"/>
          <p:cNvSpPr>
            <a:spLocks noGrp="1"/>
          </p:cNvSpPr>
          <p:nvPr>
            <p:ph type="title"/>
          </p:nvPr>
        </p:nvSpPr>
        <p:spPr bwMode="auto">
          <a:xfrm>
            <a:off x="519195" y="290531"/>
            <a:ext cx="9345454" cy="1209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제목 스타일 편집</a:t>
            </a:r>
          </a:p>
        </p:txBody>
      </p:sp>
      <p:sp>
        <p:nvSpPr>
          <p:cNvPr id="1027" name="텍스트 개체 틀 2"/>
          <p:cNvSpPr>
            <a:spLocks noGrp="1"/>
          </p:cNvSpPr>
          <p:nvPr>
            <p:ph type="body" idx="1"/>
          </p:nvPr>
        </p:nvSpPr>
        <p:spPr bwMode="auto">
          <a:xfrm>
            <a:off x="519195" y="1692811"/>
            <a:ext cx="9345454" cy="4787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519193" y="6724339"/>
            <a:ext cx="2422896" cy="38625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latinLnBrk="1" hangingPunct="1">
              <a:spcBef>
                <a:spcPts val="0"/>
              </a:spcBef>
              <a:spcAft>
                <a:spcPts val="0"/>
              </a:spcAft>
              <a:defRPr kumimoji="0" sz="1258">
                <a:solidFill>
                  <a:prstClr val="black">
                    <a:tint val="75000"/>
                  </a:prstClr>
                </a:solidFill>
                <a:latin typeface="맑은 고딕"/>
                <a:ea typeface="맑은 고딕"/>
              </a:defRPr>
            </a:lvl1pPr>
          </a:lstStyle>
          <a:p>
            <a:pPr defTabSz="958474"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547881" y="6724339"/>
            <a:ext cx="3288215" cy="38625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latinLnBrk="1" hangingPunct="1">
              <a:spcBef>
                <a:spcPts val="0"/>
              </a:spcBef>
              <a:spcAft>
                <a:spcPts val="0"/>
              </a:spcAft>
              <a:defRPr kumimoji="0" sz="1258">
                <a:solidFill>
                  <a:prstClr val="black">
                    <a:tint val="75000"/>
                  </a:prstClr>
                </a:solidFill>
                <a:latin typeface="맑은 고딕"/>
                <a:ea typeface="맑은 고딕"/>
              </a:defRPr>
            </a:lvl1pPr>
          </a:lstStyle>
          <a:p>
            <a:pPr defTabSz="958474"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7441751" y="6724339"/>
            <a:ext cx="2422896" cy="38625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latinLnBrk="1" hangingPunct="1">
              <a:spcBef>
                <a:spcPts val="0"/>
              </a:spcBef>
              <a:spcAft>
                <a:spcPts val="0"/>
              </a:spcAft>
              <a:defRPr kumimoji="0" sz="1258">
                <a:solidFill>
                  <a:prstClr val="black">
                    <a:tint val="75000"/>
                  </a:prstClr>
                </a:solidFill>
                <a:latin typeface="맑은 고딕"/>
                <a:ea typeface="맑은 고딕"/>
              </a:defRPr>
            </a:lvl1pPr>
          </a:lstStyle>
          <a:p>
            <a:pPr defTabSz="958474">
              <a:defRPr/>
            </a:pPr>
            <a:fld id="{1ABC82A6-C368-4C37-8A7D-4A4D36779787}" type="slidenum">
              <a:rPr lang="ko-KR" altLang="en-US" smtClean="0"/>
              <a:pPr defTabSz="958474">
                <a:defRPr/>
              </a:pPr>
              <a:t>‹#›</a:t>
            </a:fld>
            <a:endParaRPr lang="ko-KR" altLang="en-US"/>
          </a:p>
        </p:txBody>
      </p:sp>
      <p:pic>
        <p:nvPicPr>
          <p:cNvPr id="1031" name="그림 6"/>
          <p:cNvPicPr>
            <a:picLocks noChangeAspect="1"/>
          </p:cNvPicPr>
          <p:nvPr userDrawn="1"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69" y="0"/>
            <a:ext cx="10383838" cy="7254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454909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7" r:id="rId1"/>
    <p:sldLayoutId id="2147484088" r:id="rId2"/>
    <p:sldLayoutId id="2147484089" r:id="rId3"/>
    <p:sldLayoutId id="2147484090" r:id="rId4"/>
    <p:sldLayoutId id="2147484091" r:id="rId5"/>
    <p:sldLayoutId id="2147484092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612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612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612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612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612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79237" algn="ctr" rtl="0" fontAlgn="base" latinLnBrk="1">
        <a:spcBef>
          <a:spcPct val="0"/>
        </a:spcBef>
        <a:spcAft>
          <a:spcPct val="0"/>
        </a:spcAft>
        <a:defRPr sz="4612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58474" algn="ctr" rtl="0" fontAlgn="base" latinLnBrk="1">
        <a:spcBef>
          <a:spcPct val="0"/>
        </a:spcBef>
        <a:spcAft>
          <a:spcPct val="0"/>
        </a:spcAft>
        <a:defRPr sz="4612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437711" algn="ctr" rtl="0" fontAlgn="base" latinLnBrk="1">
        <a:spcBef>
          <a:spcPct val="0"/>
        </a:spcBef>
        <a:spcAft>
          <a:spcPct val="0"/>
        </a:spcAft>
        <a:defRPr sz="4612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916948" algn="ctr" rtl="0" fontAlgn="base" latinLnBrk="1">
        <a:spcBef>
          <a:spcPct val="0"/>
        </a:spcBef>
        <a:spcAft>
          <a:spcPct val="0"/>
        </a:spcAft>
        <a:defRPr sz="4612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59428" indent="-359428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354" kern="1200">
          <a:solidFill>
            <a:schemeClr val="tx1"/>
          </a:solidFill>
          <a:latin typeface="+mn-lt"/>
          <a:ea typeface="+mn-ea"/>
          <a:cs typeface="+mn-cs"/>
        </a:defRPr>
      </a:lvl1pPr>
      <a:lvl2pPr marL="778760" indent="-299523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935" kern="1200">
          <a:solidFill>
            <a:schemeClr val="tx1"/>
          </a:solidFill>
          <a:latin typeface="+mn-lt"/>
          <a:ea typeface="+mn-ea"/>
          <a:cs typeface="+mn-cs"/>
        </a:defRPr>
      </a:lvl2pPr>
      <a:lvl3pPr marL="1198093" indent="-239619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516" kern="1200">
          <a:solidFill>
            <a:schemeClr val="tx1"/>
          </a:solidFill>
          <a:latin typeface="+mn-lt"/>
          <a:ea typeface="+mn-ea"/>
          <a:cs typeface="+mn-cs"/>
        </a:defRPr>
      </a:lvl3pPr>
      <a:lvl4pPr marL="1677330" indent="-239619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96" kern="1200">
          <a:solidFill>
            <a:schemeClr val="tx1"/>
          </a:solidFill>
          <a:latin typeface="+mn-lt"/>
          <a:ea typeface="+mn-ea"/>
          <a:cs typeface="+mn-cs"/>
        </a:defRPr>
      </a:lvl4pPr>
      <a:lvl5pPr marL="2156567" indent="-239619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96" kern="1200">
          <a:solidFill>
            <a:schemeClr val="tx1"/>
          </a:solidFill>
          <a:latin typeface="+mn-lt"/>
          <a:ea typeface="+mn-ea"/>
          <a:cs typeface="+mn-cs"/>
        </a:defRPr>
      </a:lvl5pPr>
      <a:lvl6pPr marL="2635804" indent="-239619" algn="l" defTabSz="958474" rtl="0" eaLnBrk="1" latinLnBrk="1" hangingPunct="1">
        <a:spcBef>
          <a:spcPct val="20000"/>
        </a:spcBef>
        <a:buFont typeface="Arial" panose="020B0604020202020204" pitchFamily="34" charset="0"/>
        <a:buChar char="•"/>
        <a:defRPr sz="2096" kern="1200">
          <a:solidFill>
            <a:schemeClr val="tx1"/>
          </a:solidFill>
          <a:latin typeface="+mn-lt"/>
          <a:ea typeface="+mn-ea"/>
          <a:cs typeface="+mn-cs"/>
        </a:defRPr>
      </a:lvl6pPr>
      <a:lvl7pPr marL="3115041" indent="-239619" algn="l" defTabSz="958474" rtl="0" eaLnBrk="1" latinLnBrk="1" hangingPunct="1">
        <a:spcBef>
          <a:spcPct val="20000"/>
        </a:spcBef>
        <a:buFont typeface="Arial" panose="020B0604020202020204" pitchFamily="34" charset="0"/>
        <a:buChar char="•"/>
        <a:defRPr sz="2096" kern="1200">
          <a:solidFill>
            <a:schemeClr val="tx1"/>
          </a:solidFill>
          <a:latin typeface="+mn-lt"/>
          <a:ea typeface="+mn-ea"/>
          <a:cs typeface="+mn-cs"/>
        </a:defRPr>
      </a:lvl7pPr>
      <a:lvl8pPr marL="3594278" indent="-239619" algn="l" defTabSz="958474" rtl="0" eaLnBrk="1" latinLnBrk="1" hangingPunct="1">
        <a:spcBef>
          <a:spcPct val="20000"/>
        </a:spcBef>
        <a:buFont typeface="Arial" panose="020B0604020202020204" pitchFamily="34" charset="0"/>
        <a:buChar char="•"/>
        <a:defRPr sz="2096" kern="1200">
          <a:solidFill>
            <a:schemeClr val="tx1"/>
          </a:solidFill>
          <a:latin typeface="+mn-lt"/>
          <a:ea typeface="+mn-ea"/>
          <a:cs typeface="+mn-cs"/>
        </a:defRPr>
      </a:lvl8pPr>
      <a:lvl9pPr marL="4073515" indent="-239619" algn="l" defTabSz="958474" rtl="0" eaLnBrk="1" latinLnBrk="1" hangingPunct="1">
        <a:spcBef>
          <a:spcPct val="20000"/>
        </a:spcBef>
        <a:buFont typeface="Arial" panose="020B0604020202020204" pitchFamily="34" charset="0"/>
        <a:buChar char="•"/>
        <a:defRPr sz="209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58474" rtl="0" eaLnBrk="1" latinLnBrk="1" hangingPunct="1">
        <a:defRPr sz="1887" kern="1200">
          <a:solidFill>
            <a:schemeClr val="tx1"/>
          </a:solidFill>
          <a:latin typeface="+mn-lt"/>
          <a:ea typeface="+mn-ea"/>
          <a:cs typeface="+mn-cs"/>
        </a:defRPr>
      </a:lvl1pPr>
      <a:lvl2pPr marL="479237" algn="l" defTabSz="958474" rtl="0" eaLnBrk="1" latinLnBrk="1" hangingPunct="1">
        <a:defRPr sz="1887" kern="1200">
          <a:solidFill>
            <a:schemeClr val="tx1"/>
          </a:solidFill>
          <a:latin typeface="+mn-lt"/>
          <a:ea typeface="+mn-ea"/>
          <a:cs typeface="+mn-cs"/>
        </a:defRPr>
      </a:lvl2pPr>
      <a:lvl3pPr marL="958474" algn="l" defTabSz="958474" rtl="0" eaLnBrk="1" latinLnBrk="1" hangingPunct="1">
        <a:defRPr sz="1887" kern="1200">
          <a:solidFill>
            <a:schemeClr val="tx1"/>
          </a:solidFill>
          <a:latin typeface="+mn-lt"/>
          <a:ea typeface="+mn-ea"/>
          <a:cs typeface="+mn-cs"/>
        </a:defRPr>
      </a:lvl3pPr>
      <a:lvl4pPr marL="1437711" algn="l" defTabSz="958474" rtl="0" eaLnBrk="1" latinLnBrk="1" hangingPunct="1">
        <a:defRPr sz="1887" kern="1200">
          <a:solidFill>
            <a:schemeClr val="tx1"/>
          </a:solidFill>
          <a:latin typeface="+mn-lt"/>
          <a:ea typeface="+mn-ea"/>
          <a:cs typeface="+mn-cs"/>
        </a:defRPr>
      </a:lvl4pPr>
      <a:lvl5pPr marL="1916948" algn="l" defTabSz="958474" rtl="0" eaLnBrk="1" latinLnBrk="1" hangingPunct="1">
        <a:defRPr sz="1887" kern="1200">
          <a:solidFill>
            <a:schemeClr val="tx1"/>
          </a:solidFill>
          <a:latin typeface="+mn-lt"/>
          <a:ea typeface="+mn-ea"/>
          <a:cs typeface="+mn-cs"/>
        </a:defRPr>
      </a:lvl5pPr>
      <a:lvl6pPr marL="2396185" algn="l" defTabSz="958474" rtl="0" eaLnBrk="1" latinLnBrk="1" hangingPunct="1">
        <a:defRPr sz="1887" kern="1200">
          <a:solidFill>
            <a:schemeClr val="tx1"/>
          </a:solidFill>
          <a:latin typeface="+mn-lt"/>
          <a:ea typeface="+mn-ea"/>
          <a:cs typeface="+mn-cs"/>
        </a:defRPr>
      </a:lvl6pPr>
      <a:lvl7pPr marL="2875422" algn="l" defTabSz="958474" rtl="0" eaLnBrk="1" latinLnBrk="1" hangingPunct="1">
        <a:defRPr sz="1887" kern="1200">
          <a:solidFill>
            <a:schemeClr val="tx1"/>
          </a:solidFill>
          <a:latin typeface="+mn-lt"/>
          <a:ea typeface="+mn-ea"/>
          <a:cs typeface="+mn-cs"/>
        </a:defRPr>
      </a:lvl7pPr>
      <a:lvl8pPr marL="3354659" algn="l" defTabSz="958474" rtl="0" eaLnBrk="1" latinLnBrk="1" hangingPunct="1">
        <a:defRPr sz="1887" kern="1200">
          <a:solidFill>
            <a:schemeClr val="tx1"/>
          </a:solidFill>
          <a:latin typeface="+mn-lt"/>
          <a:ea typeface="+mn-ea"/>
          <a:cs typeface="+mn-cs"/>
        </a:defRPr>
      </a:lvl8pPr>
      <a:lvl9pPr marL="3833896" algn="l" defTabSz="958474" rtl="0" eaLnBrk="1" latinLnBrk="1" hangingPunct="1">
        <a:defRPr sz="188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519193" y="290531"/>
            <a:ext cx="9345455" cy="120914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519193" y="1692807"/>
            <a:ext cx="9345455" cy="47878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519192" y="6724197"/>
            <a:ext cx="2422896" cy="38625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1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71826"/>
            <a:fld id="{14F7B84C-7E92-4736-AED6-4B9930A3EE80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 defTabSz="771826"/>
              <a:t>2023-09-25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547812" y="6724197"/>
            <a:ext cx="3288215" cy="38625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1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71826"/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7441751" y="6724197"/>
            <a:ext cx="2422896" cy="38625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1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71826"/>
            <a:fld id="{2747D207-944B-4363-884F-A02296F6E65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 defTabSz="771826"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그림 6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767" y="671"/>
            <a:ext cx="10382305" cy="7253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31621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4" r:id="rId1"/>
    <p:sldLayoutId id="2147484095" r:id="rId2"/>
    <p:sldLayoutId id="2147484096" r:id="rId3"/>
    <p:sldLayoutId id="2147484097" r:id="rId4"/>
    <p:sldLayoutId id="2147484098" r:id="rId5"/>
    <p:sldLayoutId id="2147484099" r:id="rId6"/>
    <p:sldLayoutId id="2147484100" r:id="rId7"/>
    <p:sldLayoutId id="2147484101" r:id="rId8"/>
  </p:sldLayoutIdLst>
  <p:timing>
    <p:tnLst>
      <p:par>
        <p:cTn id="1" dur="indefinite" restart="never" nodeType="tmRoot"/>
      </p:par>
    </p:tnLst>
  </p:timing>
  <p:txStyles>
    <p:titleStyle>
      <a:lvl1pPr algn="ctr" defTabSz="771826" rtl="0" eaLnBrk="1" latinLnBrk="1" hangingPunct="1">
        <a:spcBef>
          <a:spcPct val="0"/>
        </a:spcBef>
        <a:buNone/>
        <a:defRPr sz="371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9435" indent="-289435" algn="l" defTabSz="771826" rtl="0" eaLnBrk="1" latinLnBrk="1" hangingPunct="1">
        <a:spcBef>
          <a:spcPct val="20000"/>
        </a:spcBef>
        <a:buFont typeface="Arial" panose="020B0604020202020204" pitchFamily="34" charset="0"/>
        <a:buChar char="•"/>
        <a:defRPr sz="2701" kern="1200">
          <a:solidFill>
            <a:schemeClr val="tx1"/>
          </a:solidFill>
          <a:latin typeface="+mn-lt"/>
          <a:ea typeface="+mn-ea"/>
          <a:cs typeface="+mn-cs"/>
        </a:defRPr>
      </a:lvl1pPr>
      <a:lvl2pPr marL="627109" indent="-241195" algn="l" defTabSz="771826" rtl="0" eaLnBrk="1" latinLnBrk="1" hangingPunct="1">
        <a:spcBef>
          <a:spcPct val="20000"/>
        </a:spcBef>
        <a:buFont typeface="Arial" panose="020B0604020202020204" pitchFamily="34" charset="0"/>
        <a:buChar char="–"/>
        <a:defRPr sz="2363" kern="1200">
          <a:solidFill>
            <a:schemeClr val="tx1"/>
          </a:solidFill>
          <a:latin typeface="+mn-lt"/>
          <a:ea typeface="+mn-ea"/>
          <a:cs typeface="+mn-cs"/>
        </a:defRPr>
      </a:lvl2pPr>
      <a:lvl3pPr marL="964783" indent="-192956" algn="l" defTabSz="771826" rtl="0" eaLnBrk="1" latinLnBrk="1" hangingPunct="1">
        <a:spcBef>
          <a:spcPct val="20000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3pPr>
      <a:lvl4pPr marL="1350697" indent="-192956" algn="l" defTabSz="771826" rtl="0" eaLnBrk="1" latinLnBrk="1" hangingPunct="1">
        <a:spcBef>
          <a:spcPct val="20000"/>
        </a:spcBef>
        <a:buFont typeface="Arial" panose="020B0604020202020204" pitchFamily="34" charset="0"/>
        <a:buChar char="–"/>
        <a:defRPr sz="1688" kern="1200">
          <a:solidFill>
            <a:schemeClr val="tx1"/>
          </a:solidFill>
          <a:latin typeface="+mn-lt"/>
          <a:ea typeface="+mn-ea"/>
          <a:cs typeface="+mn-cs"/>
        </a:defRPr>
      </a:lvl4pPr>
      <a:lvl5pPr marL="1736609" indent="-192956" algn="l" defTabSz="771826" rtl="0" eaLnBrk="1" latinLnBrk="1" hangingPunct="1">
        <a:spcBef>
          <a:spcPct val="20000"/>
        </a:spcBef>
        <a:buFont typeface="Arial" panose="020B0604020202020204" pitchFamily="34" charset="0"/>
        <a:buChar char="»"/>
        <a:defRPr sz="1688" kern="1200">
          <a:solidFill>
            <a:schemeClr val="tx1"/>
          </a:solidFill>
          <a:latin typeface="+mn-lt"/>
          <a:ea typeface="+mn-ea"/>
          <a:cs typeface="+mn-cs"/>
        </a:defRPr>
      </a:lvl5pPr>
      <a:lvl6pPr marL="2122522" indent="-192956" algn="l" defTabSz="771826" rtl="0" eaLnBrk="1" latinLnBrk="1" hangingPunct="1">
        <a:spcBef>
          <a:spcPct val="20000"/>
        </a:spcBef>
        <a:buFont typeface="Arial" panose="020B0604020202020204" pitchFamily="34" charset="0"/>
        <a:buChar char="•"/>
        <a:defRPr sz="1688" kern="1200">
          <a:solidFill>
            <a:schemeClr val="tx1"/>
          </a:solidFill>
          <a:latin typeface="+mn-lt"/>
          <a:ea typeface="+mn-ea"/>
          <a:cs typeface="+mn-cs"/>
        </a:defRPr>
      </a:lvl6pPr>
      <a:lvl7pPr marL="2508435" indent="-192956" algn="l" defTabSz="771826" rtl="0" eaLnBrk="1" latinLnBrk="1" hangingPunct="1">
        <a:spcBef>
          <a:spcPct val="20000"/>
        </a:spcBef>
        <a:buFont typeface="Arial" panose="020B0604020202020204" pitchFamily="34" charset="0"/>
        <a:buChar char="•"/>
        <a:defRPr sz="1688" kern="1200">
          <a:solidFill>
            <a:schemeClr val="tx1"/>
          </a:solidFill>
          <a:latin typeface="+mn-lt"/>
          <a:ea typeface="+mn-ea"/>
          <a:cs typeface="+mn-cs"/>
        </a:defRPr>
      </a:lvl7pPr>
      <a:lvl8pPr marL="2894348" indent="-192956" algn="l" defTabSz="771826" rtl="0" eaLnBrk="1" latinLnBrk="1" hangingPunct="1">
        <a:spcBef>
          <a:spcPct val="20000"/>
        </a:spcBef>
        <a:buFont typeface="Arial" panose="020B0604020202020204" pitchFamily="34" charset="0"/>
        <a:buChar char="•"/>
        <a:defRPr sz="1688" kern="1200">
          <a:solidFill>
            <a:schemeClr val="tx1"/>
          </a:solidFill>
          <a:latin typeface="+mn-lt"/>
          <a:ea typeface="+mn-ea"/>
          <a:cs typeface="+mn-cs"/>
        </a:defRPr>
      </a:lvl8pPr>
      <a:lvl9pPr marL="3280261" indent="-192956" algn="l" defTabSz="771826" rtl="0" eaLnBrk="1" latinLnBrk="1" hangingPunct="1">
        <a:spcBef>
          <a:spcPct val="20000"/>
        </a:spcBef>
        <a:buFont typeface="Arial" panose="020B0604020202020204" pitchFamily="34" charset="0"/>
        <a:buChar char="•"/>
        <a:defRPr sz="16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771826" rtl="0" eaLnBrk="1" latinLnBrk="1" hangingPunct="1">
        <a:defRPr sz="1519" kern="1200">
          <a:solidFill>
            <a:schemeClr val="tx1"/>
          </a:solidFill>
          <a:latin typeface="+mn-lt"/>
          <a:ea typeface="+mn-ea"/>
          <a:cs typeface="+mn-cs"/>
        </a:defRPr>
      </a:lvl1pPr>
      <a:lvl2pPr marL="385913" algn="l" defTabSz="771826" rtl="0" eaLnBrk="1" latinLnBrk="1" hangingPunct="1">
        <a:defRPr sz="1519" kern="1200">
          <a:solidFill>
            <a:schemeClr val="tx1"/>
          </a:solidFill>
          <a:latin typeface="+mn-lt"/>
          <a:ea typeface="+mn-ea"/>
          <a:cs typeface="+mn-cs"/>
        </a:defRPr>
      </a:lvl2pPr>
      <a:lvl3pPr marL="771826" algn="l" defTabSz="771826" rtl="0" eaLnBrk="1" latinLnBrk="1" hangingPunct="1">
        <a:defRPr sz="1519" kern="1200">
          <a:solidFill>
            <a:schemeClr val="tx1"/>
          </a:solidFill>
          <a:latin typeface="+mn-lt"/>
          <a:ea typeface="+mn-ea"/>
          <a:cs typeface="+mn-cs"/>
        </a:defRPr>
      </a:lvl3pPr>
      <a:lvl4pPr marL="1157739" algn="l" defTabSz="771826" rtl="0" eaLnBrk="1" latinLnBrk="1" hangingPunct="1">
        <a:defRPr sz="1519" kern="1200">
          <a:solidFill>
            <a:schemeClr val="tx1"/>
          </a:solidFill>
          <a:latin typeface="+mn-lt"/>
          <a:ea typeface="+mn-ea"/>
          <a:cs typeface="+mn-cs"/>
        </a:defRPr>
      </a:lvl4pPr>
      <a:lvl5pPr marL="1543653" algn="l" defTabSz="771826" rtl="0" eaLnBrk="1" latinLnBrk="1" hangingPunct="1">
        <a:defRPr sz="1519" kern="1200">
          <a:solidFill>
            <a:schemeClr val="tx1"/>
          </a:solidFill>
          <a:latin typeface="+mn-lt"/>
          <a:ea typeface="+mn-ea"/>
          <a:cs typeface="+mn-cs"/>
        </a:defRPr>
      </a:lvl5pPr>
      <a:lvl6pPr marL="1929566" algn="l" defTabSz="771826" rtl="0" eaLnBrk="1" latinLnBrk="1" hangingPunct="1">
        <a:defRPr sz="1519" kern="1200">
          <a:solidFill>
            <a:schemeClr val="tx1"/>
          </a:solidFill>
          <a:latin typeface="+mn-lt"/>
          <a:ea typeface="+mn-ea"/>
          <a:cs typeface="+mn-cs"/>
        </a:defRPr>
      </a:lvl6pPr>
      <a:lvl7pPr marL="2315478" algn="l" defTabSz="771826" rtl="0" eaLnBrk="1" latinLnBrk="1" hangingPunct="1">
        <a:defRPr sz="1519" kern="1200">
          <a:solidFill>
            <a:schemeClr val="tx1"/>
          </a:solidFill>
          <a:latin typeface="+mn-lt"/>
          <a:ea typeface="+mn-ea"/>
          <a:cs typeface="+mn-cs"/>
        </a:defRPr>
      </a:lvl7pPr>
      <a:lvl8pPr marL="2701391" algn="l" defTabSz="771826" rtl="0" eaLnBrk="1" latinLnBrk="1" hangingPunct="1">
        <a:defRPr sz="1519" kern="1200">
          <a:solidFill>
            <a:schemeClr val="tx1"/>
          </a:solidFill>
          <a:latin typeface="+mn-lt"/>
          <a:ea typeface="+mn-ea"/>
          <a:cs typeface="+mn-cs"/>
        </a:defRPr>
      </a:lvl8pPr>
      <a:lvl9pPr marL="3087305" algn="l" defTabSz="771826" rtl="0" eaLnBrk="1" latinLnBrk="1" hangingPunct="1">
        <a:defRPr sz="151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85731" y="6961564"/>
            <a:ext cx="10194249" cy="2111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4288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772" b="1" i="0" u="none" strike="noStrike" kern="1200" cap="none" spc="0" normalizeH="0" baseline="0" noProof="0" dirty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※ </a:t>
            </a:r>
            <a:r>
              <a:rPr kumimoji="0" lang="ko-KR" altLang="en-US" sz="772" b="1" i="0" u="none" strike="noStrike" kern="1200" cap="none" spc="0" normalizeH="0" baseline="0" noProof="0" dirty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본 자료는 컨설턴트 교육용으로 </a:t>
            </a:r>
            <a:r>
              <a:rPr kumimoji="0" lang="ko-KR" altLang="en-US" sz="772" b="1" i="0" u="none" strike="noStrike" kern="1200" cap="none" spc="0" normalizeH="0" baseline="0" noProof="0" dirty="0" err="1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환급금</a:t>
            </a:r>
            <a:r>
              <a:rPr kumimoji="0" lang="ko-KR" altLang="en-US" sz="772" b="1" i="0" u="none" strike="noStrike" kern="1200" cap="none" spc="0" normalizeH="0" baseline="0" noProof="0" dirty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및 보험금 지급의 근거가 될 수 없으며 고객안내자료로 활용할 수 없습니다</a:t>
            </a:r>
            <a:r>
              <a:rPr kumimoji="0" lang="en-US" altLang="ko-KR" sz="772" b="1" i="0" u="none" strike="noStrike" kern="1200" cap="none" spc="0" normalizeH="0" baseline="0" noProof="0" dirty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772" b="1" i="0" u="none" strike="noStrike" kern="1200" cap="none" spc="0" normalizeH="0" baseline="0" noProof="0" dirty="0">
              <a:ln>
                <a:noFill/>
              </a:ln>
              <a:solidFill>
                <a:srgbClr val="14145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" name="모서리가 둥근 직사각형 3"/>
          <p:cNvSpPr/>
          <p:nvPr userDrawn="1"/>
        </p:nvSpPr>
        <p:spPr>
          <a:xfrm>
            <a:off x="9271921" y="124515"/>
            <a:ext cx="877356" cy="184863"/>
          </a:xfrm>
          <a:prstGeom prst="roundRect">
            <a:avLst/>
          </a:prstGeom>
          <a:gradFill flip="none" rotWithShape="1">
            <a:gsLst>
              <a:gs pos="50000">
                <a:schemeClr val="accent5">
                  <a:lumMod val="99000"/>
                </a:schemeClr>
              </a:gs>
              <a:gs pos="50000">
                <a:srgbClr val="141450"/>
              </a:gs>
            </a:gsLst>
            <a:lin ang="5400000" scaled="1"/>
            <a:tileRect/>
          </a:gradFill>
          <a:ln w="12700">
            <a:gradFill flip="none" rotWithShape="1">
              <a:gsLst>
                <a:gs pos="50000">
                  <a:schemeClr val="accent5"/>
                </a:gs>
                <a:gs pos="50000">
                  <a:srgbClr val="141450"/>
                </a:gs>
              </a:gsLst>
              <a:lin ang="54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12039" rIns="0" bIns="12039" rtlCol="0" anchor="ctr">
            <a:spAutoFit/>
          </a:bodyPr>
          <a:lstStyle/>
          <a:p>
            <a:pPr marL="0" marR="0" lvl="0" indent="0" algn="ctr" defTabSz="69904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2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FP</a:t>
            </a:r>
            <a:r>
              <a:rPr kumimoji="0" lang="ko-KR" altLang="en-US" sz="927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교육용자료</a:t>
            </a:r>
            <a:endParaRPr kumimoji="0" lang="ko-KR" altLang="en-US" sz="927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9550030" y="421801"/>
            <a:ext cx="611838" cy="2347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4258" tIns="37130" rIns="74258" bIns="37130"/>
          <a:lstStyle/>
          <a:p>
            <a:pPr marL="0" marR="0" lvl="0" indent="0" algn="r" defTabSz="74302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81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fld id="{16B1565D-7790-4B20-9C8C-6E71895AF331}" type="slidenum">
              <a:rPr kumimoji="0" lang="ko-KR" altLang="en-US" sz="1081" b="1" i="0" u="none" strike="noStrike" kern="1200" cap="none" spc="0" normalizeH="0" baseline="0" noProof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pPr marL="0" marR="0" lvl="0" indent="0" algn="r" defTabSz="74302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081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94659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3" r:id="rId1"/>
    <p:sldLayoutId id="2147484104" r:id="rId2"/>
    <p:sldLayoutId id="2147484105" r:id="rId3"/>
    <p:sldLayoutId id="2147484106" r:id="rId4"/>
    <p:sldLayoutId id="2147484107" r:id="rId5"/>
    <p:sldLayoutId id="2147484108" r:id="rId6"/>
    <p:sldLayoutId id="2147484109" r:id="rId7"/>
    <p:sldLayoutId id="2147484110" r:id="rId8"/>
  </p:sldLayoutIdLst>
  <p:txStyles>
    <p:titleStyle>
      <a:lvl1pPr algn="ctr" defTabSz="743132" rtl="0" eaLnBrk="1" latinLnBrk="1" hangingPunct="1">
        <a:spcBef>
          <a:spcPct val="0"/>
        </a:spcBef>
        <a:buNone/>
        <a:defRPr sz="358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8674" indent="-278674" algn="l" defTabSz="743132" rtl="0" eaLnBrk="1" latinLnBrk="1" hangingPunct="1">
        <a:spcBef>
          <a:spcPct val="20000"/>
        </a:spcBef>
        <a:buFont typeface="Arial" pitchFamily="34" charset="0"/>
        <a:buChar char="•"/>
        <a:defRPr sz="2615" kern="1200">
          <a:solidFill>
            <a:schemeClr val="tx1"/>
          </a:solidFill>
          <a:latin typeface="+mn-lt"/>
          <a:ea typeface="+mn-ea"/>
          <a:cs typeface="+mn-cs"/>
        </a:defRPr>
      </a:lvl1pPr>
      <a:lvl2pPr marL="603793" indent="-232230" algn="l" defTabSz="743132" rtl="0" eaLnBrk="1" latinLnBrk="1" hangingPunct="1">
        <a:spcBef>
          <a:spcPct val="20000"/>
        </a:spcBef>
        <a:buFont typeface="Arial" pitchFamily="34" charset="0"/>
        <a:buChar char="–"/>
        <a:defRPr sz="2241" kern="1200">
          <a:solidFill>
            <a:schemeClr val="tx1"/>
          </a:solidFill>
          <a:latin typeface="+mn-lt"/>
          <a:ea typeface="+mn-ea"/>
          <a:cs typeface="+mn-cs"/>
        </a:defRPr>
      </a:lvl2pPr>
      <a:lvl3pPr marL="928914" indent="-185783" algn="l" defTabSz="743132" rtl="0" eaLnBrk="1" latinLnBrk="1" hangingPunct="1">
        <a:spcBef>
          <a:spcPct val="20000"/>
        </a:spcBef>
        <a:buFont typeface="Arial" pitchFamily="34" charset="0"/>
        <a:buChar char="•"/>
        <a:defRPr sz="1942" kern="1200">
          <a:solidFill>
            <a:schemeClr val="tx1"/>
          </a:solidFill>
          <a:latin typeface="+mn-lt"/>
          <a:ea typeface="+mn-ea"/>
          <a:cs typeface="+mn-cs"/>
        </a:defRPr>
      </a:lvl3pPr>
      <a:lvl4pPr marL="1300478" indent="-185783" algn="l" defTabSz="743132" rtl="0" eaLnBrk="1" latinLnBrk="1" hangingPunct="1">
        <a:spcBef>
          <a:spcPct val="20000"/>
        </a:spcBef>
        <a:buFont typeface="Arial" pitchFamily="34" charset="0"/>
        <a:buChar char="–"/>
        <a:defRPr sz="1643" kern="1200">
          <a:solidFill>
            <a:schemeClr val="tx1"/>
          </a:solidFill>
          <a:latin typeface="+mn-lt"/>
          <a:ea typeface="+mn-ea"/>
          <a:cs typeface="+mn-cs"/>
        </a:defRPr>
      </a:lvl4pPr>
      <a:lvl5pPr marL="1672042" indent="-185783" algn="l" defTabSz="743132" rtl="0" eaLnBrk="1" latinLnBrk="1" hangingPunct="1">
        <a:spcBef>
          <a:spcPct val="20000"/>
        </a:spcBef>
        <a:buFont typeface="Arial" pitchFamily="34" charset="0"/>
        <a:buChar char="»"/>
        <a:defRPr sz="1643" kern="1200">
          <a:solidFill>
            <a:schemeClr val="tx1"/>
          </a:solidFill>
          <a:latin typeface="+mn-lt"/>
          <a:ea typeface="+mn-ea"/>
          <a:cs typeface="+mn-cs"/>
        </a:defRPr>
      </a:lvl5pPr>
      <a:lvl6pPr marL="2043608" indent="-185783" algn="l" defTabSz="743132" rtl="0" eaLnBrk="1" latinLnBrk="1" hangingPunct="1">
        <a:spcBef>
          <a:spcPct val="20000"/>
        </a:spcBef>
        <a:buFont typeface="Arial" pitchFamily="34" charset="0"/>
        <a:buChar char="•"/>
        <a:defRPr sz="1643" kern="1200">
          <a:solidFill>
            <a:schemeClr val="tx1"/>
          </a:solidFill>
          <a:latin typeface="+mn-lt"/>
          <a:ea typeface="+mn-ea"/>
          <a:cs typeface="+mn-cs"/>
        </a:defRPr>
      </a:lvl6pPr>
      <a:lvl7pPr marL="2415174" indent="-185783" algn="l" defTabSz="743132" rtl="0" eaLnBrk="1" latinLnBrk="1" hangingPunct="1">
        <a:spcBef>
          <a:spcPct val="20000"/>
        </a:spcBef>
        <a:buFont typeface="Arial" pitchFamily="34" charset="0"/>
        <a:buChar char="•"/>
        <a:defRPr sz="1643" kern="1200">
          <a:solidFill>
            <a:schemeClr val="tx1"/>
          </a:solidFill>
          <a:latin typeface="+mn-lt"/>
          <a:ea typeface="+mn-ea"/>
          <a:cs typeface="+mn-cs"/>
        </a:defRPr>
      </a:lvl7pPr>
      <a:lvl8pPr marL="2786739" indent="-185783" algn="l" defTabSz="743132" rtl="0" eaLnBrk="1" latinLnBrk="1" hangingPunct="1">
        <a:spcBef>
          <a:spcPct val="20000"/>
        </a:spcBef>
        <a:buFont typeface="Arial" pitchFamily="34" charset="0"/>
        <a:buChar char="•"/>
        <a:defRPr sz="1643" kern="1200">
          <a:solidFill>
            <a:schemeClr val="tx1"/>
          </a:solidFill>
          <a:latin typeface="+mn-lt"/>
          <a:ea typeface="+mn-ea"/>
          <a:cs typeface="+mn-cs"/>
        </a:defRPr>
      </a:lvl8pPr>
      <a:lvl9pPr marL="3158305" indent="-185783" algn="l" defTabSz="743132" rtl="0" eaLnBrk="1" latinLnBrk="1" hangingPunct="1">
        <a:spcBef>
          <a:spcPct val="20000"/>
        </a:spcBef>
        <a:buFont typeface="Arial" pitchFamily="34" charset="0"/>
        <a:buChar char="•"/>
        <a:defRPr sz="164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743132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1pPr>
      <a:lvl2pPr marL="371566" algn="l" defTabSz="743132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2pPr>
      <a:lvl3pPr marL="743132" algn="l" defTabSz="743132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3pPr>
      <a:lvl4pPr marL="1114695" algn="l" defTabSz="743132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4pPr>
      <a:lvl5pPr marL="1486261" algn="l" defTabSz="743132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5pPr>
      <a:lvl6pPr marL="1857827" algn="l" defTabSz="743132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6pPr>
      <a:lvl7pPr marL="2229390" algn="l" defTabSz="743132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7pPr>
      <a:lvl8pPr marL="2600957" algn="l" defTabSz="743132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8pPr>
      <a:lvl9pPr marL="2972521" algn="l" defTabSz="743132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85731" y="6961564"/>
            <a:ext cx="10194249" cy="2111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4288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772" b="1" i="0" u="none" strike="noStrike" kern="1200" cap="none" spc="0" normalizeH="0" baseline="0" noProof="0" dirty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※ </a:t>
            </a:r>
            <a:r>
              <a:rPr kumimoji="0" lang="ko-KR" altLang="en-US" sz="772" b="1" i="0" u="none" strike="noStrike" kern="1200" cap="none" spc="0" normalizeH="0" baseline="0" noProof="0" dirty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본 자료는 컨설턴트 교육용으로 </a:t>
            </a:r>
            <a:r>
              <a:rPr kumimoji="0" lang="ko-KR" altLang="en-US" sz="772" b="1" i="0" u="none" strike="noStrike" kern="1200" cap="none" spc="0" normalizeH="0" baseline="0" noProof="0" dirty="0" err="1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환급금</a:t>
            </a:r>
            <a:r>
              <a:rPr kumimoji="0" lang="ko-KR" altLang="en-US" sz="772" b="1" i="0" u="none" strike="noStrike" kern="1200" cap="none" spc="0" normalizeH="0" baseline="0" noProof="0" dirty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및 보험금 지급의 근거가 될 수 없으며 고객안내자료로 활용할 수 없습니다</a:t>
            </a:r>
            <a:r>
              <a:rPr kumimoji="0" lang="en-US" altLang="ko-KR" sz="772" b="1" i="0" u="none" strike="noStrike" kern="1200" cap="none" spc="0" normalizeH="0" baseline="0" noProof="0" dirty="0">
                <a:ln>
                  <a:noFill/>
                </a:ln>
                <a:solidFill>
                  <a:srgbClr val="141450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772" b="1" i="0" u="none" strike="noStrike" kern="1200" cap="none" spc="0" normalizeH="0" baseline="0" noProof="0" dirty="0">
              <a:ln>
                <a:noFill/>
              </a:ln>
              <a:solidFill>
                <a:srgbClr val="141450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" name="모서리가 둥근 직사각형 3"/>
          <p:cNvSpPr/>
          <p:nvPr userDrawn="1"/>
        </p:nvSpPr>
        <p:spPr>
          <a:xfrm>
            <a:off x="9271921" y="124515"/>
            <a:ext cx="877356" cy="184863"/>
          </a:xfrm>
          <a:prstGeom prst="roundRect">
            <a:avLst/>
          </a:prstGeom>
          <a:gradFill flip="none" rotWithShape="1">
            <a:gsLst>
              <a:gs pos="50000">
                <a:schemeClr val="accent5">
                  <a:lumMod val="99000"/>
                </a:schemeClr>
              </a:gs>
              <a:gs pos="50000">
                <a:srgbClr val="141450"/>
              </a:gs>
            </a:gsLst>
            <a:lin ang="5400000" scaled="1"/>
            <a:tileRect/>
          </a:gradFill>
          <a:ln w="12700">
            <a:gradFill flip="none" rotWithShape="1">
              <a:gsLst>
                <a:gs pos="50000">
                  <a:schemeClr val="accent5"/>
                </a:gs>
                <a:gs pos="50000">
                  <a:srgbClr val="141450"/>
                </a:gs>
              </a:gsLst>
              <a:lin ang="54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12039" rIns="0" bIns="12039" rtlCol="0" anchor="ctr">
            <a:spAutoFit/>
          </a:bodyPr>
          <a:lstStyle/>
          <a:p>
            <a:pPr marL="0" marR="0" lvl="0" indent="0" algn="ctr" defTabSz="69904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2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FP</a:t>
            </a:r>
            <a:r>
              <a:rPr kumimoji="0" lang="ko-KR" altLang="en-US" sz="927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교육용자료</a:t>
            </a:r>
            <a:endParaRPr kumimoji="0" lang="ko-KR" altLang="en-US" sz="927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9550030" y="421801"/>
            <a:ext cx="611838" cy="2347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4258" tIns="37130" rIns="74258" bIns="37130"/>
          <a:lstStyle/>
          <a:p>
            <a:pPr marL="0" marR="0" lvl="0" indent="0" algn="r" defTabSz="74302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81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fld id="{16B1565D-7790-4B20-9C8C-6E71895AF331}" type="slidenum">
              <a:rPr kumimoji="0" lang="ko-KR" altLang="en-US" sz="1081" b="1" i="0" u="none" strike="noStrike" kern="1200" cap="none" spc="0" normalizeH="0" baseline="0" noProof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pPr marL="0" marR="0" lvl="0" indent="0" algn="r" defTabSz="74302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081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2210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2" r:id="rId1"/>
    <p:sldLayoutId id="2147484113" r:id="rId2"/>
    <p:sldLayoutId id="2147484114" r:id="rId3"/>
    <p:sldLayoutId id="2147484115" r:id="rId4"/>
    <p:sldLayoutId id="2147484116" r:id="rId5"/>
    <p:sldLayoutId id="2147484117" r:id="rId6"/>
    <p:sldLayoutId id="2147484118" r:id="rId7"/>
    <p:sldLayoutId id="2147484119" r:id="rId8"/>
  </p:sldLayoutIdLst>
  <p:txStyles>
    <p:titleStyle>
      <a:lvl1pPr algn="ctr" defTabSz="743132" rtl="0" eaLnBrk="1" latinLnBrk="1" hangingPunct="1">
        <a:spcBef>
          <a:spcPct val="0"/>
        </a:spcBef>
        <a:buNone/>
        <a:defRPr sz="358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8674" indent="-278674" algn="l" defTabSz="743132" rtl="0" eaLnBrk="1" latinLnBrk="1" hangingPunct="1">
        <a:spcBef>
          <a:spcPct val="20000"/>
        </a:spcBef>
        <a:buFont typeface="Arial" pitchFamily="34" charset="0"/>
        <a:buChar char="•"/>
        <a:defRPr sz="2615" kern="1200">
          <a:solidFill>
            <a:schemeClr val="tx1"/>
          </a:solidFill>
          <a:latin typeface="+mn-lt"/>
          <a:ea typeface="+mn-ea"/>
          <a:cs typeface="+mn-cs"/>
        </a:defRPr>
      </a:lvl1pPr>
      <a:lvl2pPr marL="603793" indent="-232230" algn="l" defTabSz="743132" rtl="0" eaLnBrk="1" latinLnBrk="1" hangingPunct="1">
        <a:spcBef>
          <a:spcPct val="20000"/>
        </a:spcBef>
        <a:buFont typeface="Arial" pitchFamily="34" charset="0"/>
        <a:buChar char="–"/>
        <a:defRPr sz="2241" kern="1200">
          <a:solidFill>
            <a:schemeClr val="tx1"/>
          </a:solidFill>
          <a:latin typeface="+mn-lt"/>
          <a:ea typeface="+mn-ea"/>
          <a:cs typeface="+mn-cs"/>
        </a:defRPr>
      </a:lvl2pPr>
      <a:lvl3pPr marL="928914" indent="-185783" algn="l" defTabSz="743132" rtl="0" eaLnBrk="1" latinLnBrk="1" hangingPunct="1">
        <a:spcBef>
          <a:spcPct val="20000"/>
        </a:spcBef>
        <a:buFont typeface="Arial" pitchFamily="34" charset="0"/>
        <a:buChar char="•"/>
        <a:defRPr sz="1942" kern="1200">
          <a:solidFill>
            <a:schemeClr val="tx1"/>
          </a:solidFill>
          <a:latin typeface="+mn-lt"/>
          <a:ea typeface="+mn-ea"/>
          <a:cs typeface="+mn-cs"/>
        </a:defRPr>
      </a:lvl3pPr>
      <a:lvl4pPr marL="1300478" indent="-185783" algn="l" defTabSz="743132" rtl="0" eaLnBrk="1" latinLnBrk="1" hangingPunct="1">
        <a:spcBef>
          <a:spcPct val="20000"/>
        </a:spcBef>
        <a:buFont typeface="Arial" pitchFamily="34" charset="0"/>
        <a:buChar char="–"/>
        <a:defRPr sz="1643" kern="1200">
          <a:solidFill>
            <a:schemeClr val="tx1"/>
          </a:solidFill>
          <a:latin typeface="+mn-lt"/>
          <a:ea typeface="+mn-ea"/>
          <a:cs typeface="+mn-cs"/>
        </a:defRPr>
      </a:lvl4pPr>
      <a:lvl5pPr marL="1672042" indent="-185783" algn="l" defTabSz="743132" rtl="0" eaLnBrk="1" latinLnBrk="1" hangingPunct="1">
        <a:spcBef>
          <a:spcPct val="20000"/>
        </a:spcBef>
        <a:buFont typeface="Arial" pitchFamily="34" charset="0"/>
        <a:buChar char="»"/>
        <a:defRPr sz="1643" kern="1200">
          <a:solidFill>
            <a:schemeClr val="tx1"/>
          </a:solidFill>
          <a:latin typeface="+mn-lt"/>
          <a:ea typeface="+mn-ea"/>
          <a:cs typeface="+mn-cs"/>
        </a:defRPr>
      </a:lvl5pPr>
      <a:lvl6pPr marL="2043608" indent="-185783" algn="l" defTabSz="743132" rtl="0" eaLnBrk="1" latinLnBrk="1" hangingPunct="1">
        <a:spcBef>
          <a:spcPct val="20000"/>
        </a:spcBef>
        <a:buFont typeface="Arial" pitchFamily="34" charset="0"/>
        <a:buChar char="•"/>
        <a:defRPr sz="1643" kern="1200">
          <a:solidFill>
            <a:schemeClr val="tx1"/>
          </a:solidFill>
          <a:latin typeface="+mn-lt"/>
          <a:ea typeface="+mn-ea"/>
          <a:cs typeface="+mn-cs"/>
        </a:defRPr>
      </a:lvl6pPr>
      <a:lvl7pPr marL="2415174" indent="-185783" algn="l" defTabSz="743132" rtl="0" eaLnBrk="1" latinLnBrk="1" hangingPunct="1">
        <a:spcBef>
          <a:spcPct val="20000"/>
        </a:spcBef>
        <a:buFont typeface="Arial" pitchFamily="34" charset="0"/>
        <a:buChar char="•"/>
        <a:defRPr sz="1643" kern="1200">
          <a:solidFill>
            <a:schemeClr val="tx1"/>
          </a:solidFill>
          <a:latin typeface="+mn-lt"/>
          <a:ea typeface="+mn-ea"/>
          <a:cs typeface="+mn-cs"/>
        </a:defRPr>
      </a:lvl7pPr>
      <a:lvl8pPr marL="2786739" indent="-185783" algn="l" defTabSz="743132" rtl="0" eaLnBrk="1" latinLnBrk="1" hangingPunct="1">
        <a:spcBef>
          <a:spcPct val="20000"/>
        </a:spcBef>
        <a:buFont typeface="Arial" pitchFamily="34" charset="0"/>
        <a:buChar char="•"/>
        <a:defRPr sz="1643" kern="1200">
          <a:solidFill>
            <a:schemeClr val="tx1"/>
          </a:solidFill>
          <a:latin typeface="+mn-lt"/>
          <a:ea typeface="+mn-ea"/>
          <a:cs typeface="+mn-cs"/>
        </a:defRPr>
      </a:lvl8pPr>
      <a:lvl9pPr marL="3158305" indent="-185783" algn="l" defTabSz="743132" rtl="0" eaLnBrk="1" latinLnBrk="1" hangingPunct="1">
        <a:spcBef>
          <a:spcPct val="20000"/>
        </a:spcBef>
        <a:buFont typeface="Arial" pitchFamily="34" charset="0"/>
        <a:buChar char="•"/>
        <a:defRPr sz="164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743132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1pPr>
      <a:lvl2pPr marL="371566" algn="l" defTabSz="743132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2pPr>
      <a:lvl3pPr marL="743132" algn="l" defTabSz="743132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3pPr>
      <a:lvl4pPr marL="1114695" algn="l" defTabSz="743132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4pPr>
      <a:lvl5pPr marL="1486261" algn="l" defTabSz="743132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5pPr>
      <a:lvl6pPr marL="1857827" algn="l" defTabSz="743132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6pPr>
      <a:lvl7pPr marL="2229390" algn="l" defTabSz="743132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7pPr>
      <a:lvl8pPr marL="2600957" algn="l" defTabSz="743132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8pPr>
      <a:lvl9pPr marL="2972521" algn="l" defTabSz="743132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747381" y="6977976"/>
            <a:ext cx="9532599" cy="2111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74288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772" b="1" i="0" u="none" strike="noStrike" kern="1200" cap="none" spc="0" normalizeH="0" baseline="0" noProof="0" dirty="0" smtClean="0">
                <a:ln>
                  <a:noFill/>
                </a:ln>
                <a:solidFill>
                  <a:srgbClr val="507C89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※ </a:t>
            </a:r>
            <a:r>
              <a:rPr kumimoji="0" lang="ko-KR" altLang="en-US" sz="772" b="1" i="0" u="none" strike="noStrike" kern="1200" cap="none" spc="0" normalizeH="0" baseline="0" noProof="0" dirty="0" smtClean="0">
                <a:ln>
                  <a:noFill/>
                </a:ln>
                <a:solidFill>
                  <a:srgbClr val="507C89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본 자료는 컨설턴트 교육용으로 </a:t>
            </a:r>
            <a:r>
              <a:rPr kumimoji="0" lang="ko-KR" altLang="en-US" sz="772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507C89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환급금</a:t>
            </a:r>
            <a:r>
              <a:rPr kumimoji="0" lang="ko-KR" altLang="en-US" sz="772" b="1" i="0" u="none" strike="noStrike" kern="1200" cap="none" spc="0" normalizeH="0" baseline="0" noProof="0" dirty="0" smtClean="0">
                <a:ln>
                  <a:noFill/>
                </a:ln>
                <a:solidFill>
                  <a:srgbClr val="507C89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및 보험금 지급의 근거가 될 수 없으며 고객안내자료로 활용할 수 없습니다</a:t>
            </a:r>
            <a:r>
              <a:rPr kumimoji="0" lang="en-US" altLang="ko-KR" sz="772" b="1" i="0" u="none" strike="noStrike" kern="1200" cap="none" spc="0" normalizeH="0" baseline="0" noProof="0" dirty="0" smtClean="0">
                <a:ln>
                  <a:noFill/>
                </a:ln>
                <a:solidFill>
                  <a:srgbClr val="507C89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772" b="1" i="0" u="none" strike="noStrike" kern="1200" cap="none" spc="0" normalizeH="0" baseline="0" noProof="0" dirty="0">
              <a:ln>
                <a:noFill/>
              </a:ln>
              <a:solidFill>
                <a:srgbClr val="507C89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" name="모서리가 둥근 직사각형 3"/>
          <p:cNvSpPr/>
          <p:nvPr userDrawn="1"/>
        </p:nvSpPr>
        <p:spPr>
          <a:xfrm>
            <a:off x="9271921" y="124515"/>
            <a:ext cx="877356" cy="184863"/>
          </a:xfrm>
          <a:prstGeom prst="roundRect">
            <a:avLst/>
          </a:prstGeom>
          <a:gradFill flip="none" rotWithShape="1">
            <a:gsLst>
              <a:gs pos="50000">
                <a:srgbClr val="141450"/>
              </a:gs>
              <a:gs pos="50000">
                <a:srgbClr val="507C89"/>
              </a:gs>
            </a:gsLst>
            <a:lin ang="16200000" scaled="1"/>
            <a:tileRect/>
          </a:gradFill>
          <a:ln w="12700">
            <a:gradFill flip="none" rotWithShape="1">
              <a:gsLst>
                <a:gs pos="50000">
                  <a:srgbClr val="141450"/>
                </a:gs>
                <a:gs pos="50000">
                  <a:srgbClr val="507C89"/>
                </a:gs>
              </a:gsLst>
              <a:lin ang="162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12039" rIns="0" bIns="12039" rtlCol="0" anchor="ctr">
            <a:spAutoFit/>
          </a:bodyPr>
          <a:lstStyle/>
          <a:p>
            <a:pPr marL="0" marR="0" lvl="0" indent="0" algn="ctr" defTabSz="69904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27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FP</a:t>
            </a:r>
            <a:r>
              <a:rPr kumimoji="0" lang="ko-KR" altLang="en-US" sz="927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교육용자료</a:t>
            </a:r>
            <a:endParaRPr kumimoji="0" lang="ko-KR" altLang="en-US" sz="927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9550030" y="421801"/>
            <a:ext cx="611838" cy="2347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4258" tIns="37130" rIns="74258" bIns="37130"/>
          <a:lstStyle/>
          <a:p>
            <a:pPr marL="0" marR="0" lvl="0" indent="0" algn="r" defTabSz="74302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81" b="1" i="0" u="none" strike="noStrike" kern="1200" cap="none" spc="0" normalizeH="0" baseline="0" noProof="0" dirty="0">
                <a:ln>
                  <a:noFill/>
                </a:ln>
                <a:solidFill>
                  <a:srgbClr val="507C89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fld id="{16B1565D-7790-4B20-9C8C-6E71895AF331}" type="slidenum">
              <a:rPr kumimoji="0" lang="ko-KR" altLang="en-US" sz="1081" b="1" i="0" u="none" strike="noStrike" kern="1200" cap="none" spc="0" normalizeH="0" baseline="0" noProof="0" smtClean="0">
                <a:ln>
                  <a:noFill/>
                </a:ln>
                <a:solidFill>
                  <a:srgbClr val="507C89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pPr marL="0" marR="0" lvl="0" indent="0" algn="r" defTabSz="74302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081" b="1" i="0" u="none" strike="noStrike" kern="1200" cap="none" spc="0" normalizeH="0" baseline="0" noProof="0" dirty="0">
              <a:ln>
                <a:noFill/>
              </a:ln>
              <a:solidFill>
                <a:srgbClr val="507C89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21144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1" r:id="rId1"/>
    <p:sldLayoutId id="2147484122" r:id="rId2"/>
    <p:sldLayoutId id="2147484123" r:id="rId3"/>
    <p:sldLayoutId id="2147484124" r:id="rId4"/>
    <p:sldLayoutId id="2147484125" r:id="rId5"/>
    <p:sldLayoutId id="2147484126" r:id="rId6"/>
    <p:sldLayoutId id="2147484127" r:id="rId7"/>
  </p:sldLayoutIdLst>
  <p:timing>
    <p:tnLst>
      <p:par>
        <p:cTn id="1" dur="indefinite" restart="never" nodeType="tmRoot"/>
      </p:par>
    </p:tnLst>
  </p:timing>
  <p:txStyles>
    <p:titleStyle>
      <a:lvl1pPr algn="ctr" defTabSz="743132" rtl="0" eaLnBrk="1" latinLnBrk="1" hangingPunct="1">
        <a:spcBef>
          <a:spcPct val="0"/>
        </a:spcBef>
        <a:buNone/>
        <a:defRPr sz="358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8674" indent="-278674" algn="l" defTabSz="743132" rtl="0" eaLnBrk="1" latinLnBrk="1" hangingPunct="1">
        <a:spcBef>
          <a:spcPct val="20000"/>
        </a:spcBef>
        <a:buFont typeface="Arial" pitchFamily="34" charset="0"/>
        <a:buChar char="•"/>
        <a:defRPr sz="2615" kern="1200">
          <a:solidFill>
            <a:schemeClr val="tx1"/>
          </a:solidFill>
          <a:latin typeface="+mn-lt"/>
          <a:ea typeface="+mn-ea"/>
          <a:cs typeface="+mn-cs"/>
        </a:defRPr>
      </a:lvl1pPr>
      <a:lvl2pPr marL="603793" indent="-232230" algn="l" defTabSz="743132" rtl="0" eaLnBrk="1" latinLnBrk="1" hangingPunct="1">
        <a:spcBef>
          <a:spcPct val="20000"/>
        </a:spcBef>
        <a:buFont typeface="Arial" pitchFamily="34" charset="0"/>
        <a:buChar char="–"/>
        <a:defRPr sz="2241" kern="1200">
          <a:solidFill>
            <a:schemeClr val="tx1"/>
          </a:solidFill>
          <a:latin typeface="+mn-lt"/>
          <a:ea typeface="+mn-ea"/>
          <a:cs typeface="+mn-cs"/>
        </a:defRPr>
      </a:lvl2pPr>
      <a:lvl3pPr marL="928914" indent="-185783" algn="l" defTabSz="743132" rtl="0" eaLnBrk="1" latinLnBrk="1" hangingPunct="1">
        <a:spcBef>
          <a:spcPct val="20000"/>
        </a:spcBef>
        <a:buFont typeface="Arial" pitchFamily="34" charset="0"/>
        <a:buChar char="•"/>
        <a:defRPr sz="1942" kern="1200">
          <a:solidFill>
            <a:schemeClr val="tx1"/>
          </a:solidFill>
          <a:latin typeface="+mn-lt"/>
          <a:ea typeface="+mn-ea"/>
          <a:cs typeface="+mn-cs"/>
        </a:defRPr>
      </a:lvl3pPr>
      <a:lvl4pPr marL="1300478" indent="-185783" algn="l" defTabSz="743132" rtl="0" eaLnBrk="1" latinLnBrk="1" hangingPunct="1">
        <a:spcBef>
          <a:spcPct val="20000"/>
        </a:spcBef>
        <a:buFont typeface="Arial" pitchFamily="34" charset="0"/>
        <a:buChar char="–"/>
        <a:defRPr sz="1643" kern="1200">
          <a:solidFill>
            <a:schemeClr val="tx1"/>
          </a:solidFill>
          <a:latin typeface="+mn-lt"/>
          <a:ea typeface="+mn-ea"/>
          <a:cs typeface="+mn-cs"/>
        </a:defRPr>
      </a:lvl4pPr>
      <a:lvl5pPr marL="1672042" indent="-185783" algn="l" defTabSz="743132" rtl="0" eaLnBrk="1" latinLnBrk="1" hangingPunct="1">
        <a:spcBef>
          <a:spcPct val="20000"/>
        </a:spcBef>
        <a:buFont typeface="Arial" pitchFamily="34" charset="0"/>
        <a:buChar char="»"/>
        <a:defRPr sz="1643" kern="1200">
          <a:solidFill>
            <a:schemeClr val="tx1"/>
          </a:solidFill>
          <a:latin typeface="+mn-lt"/>
          <a:ea typeface="+mn-ea"/>
          <a:cs typeface="+mn-cs"/>
        </a:defRPr>
      </a:lvl5pPr>
      <a:lvl6pPr marL="2043608" indent="-185783" algn="l" defTabSz="743132" rtl="0" eaLnBrk="1" latinLnBrk="1" hangingPunct="1">
        <a:spcBef>
          <a:spcPct val="20000"/>
        </a:spcBef>
        <a:buFont typeface="Arial" pitchFamily="34" charset="0"/>
        <a:buChar char="•"/>
        <a:defRPr sz="1643" kern="1200">
          <a:solidFill>
            <a:schemeClr val="tx1"/>
          </a:solidFill>
          <a:latin typeface="+mn-lt"/>
          <a:ea typeface="+mn-ea"/>
          <a:cs typeface="+mn-cs"/>
        </a:defRPr>
      </a:lvl6pPr>
      <a:lvl7pPr marL="2415174" indent="-185783" algn="l" defTabSz="743132" rtl="0" eaLnBrk="1" latinLnBrk="1" hangingPunct="1">
        <a:spcBef>
          <a:spcPct val="20000"/>
        </a:spcBef>
        <a:buFont typeface="Arial" pitchFamily="34" charset="0"/>
        <a:buChar char="•"/>
        <a:defRPr sz="1643" kern="1200">
          <a:solidFill>
            <a:schemeClr val="tx1"/>
          </a:solidFill>
          <a:latin typeface="+mn-lt"/>
          <a:ea typeface="+mn-ea"/>
          <a:cs typeface="+mn-cs"/>
        </a:defRPr>
      </a:lvl7pPr>
      <a:lvl8pPr marL="2786739" indent="-185783" algn="l" defTabSz="743132" rtl="0" eaLnBrk="1" latinLnBrk="1" hangingPunct="1">
        <a:spcBef>
          <a:spcPct val="20000"/>
        </a:spcBef>
        <a:buFont typeface="Arial" pitchFamily="34" charset="0"/>
        <a:buChar char="•"/>
        <a:defRPr sz="1643" kern="1200">
          <a:solidFill>
            <a:schemeClr val="tx1"/>
          </a:solidFill>
          <a:latin typeface="+mn-lt"/>
          <a:ea typeface="+mn-ea"/>
          <a:cs typeface="+mn-cs"/>
        </a:defRPr>
      </a:lvl8pPr>
      <a:lvl9pPr marL="3158305" indent="-185783" algn="l" defTabSz="743132" rtl="0" eaLnBrk="1" latinLnBrk="1" hangingPunct="1">
        <a:spcBef>
          <a:spcPct val="20000"/>
        </a:spcBef>
        <a:buFont typeface="Arial" pitchFamily="34" charset="0"/>
        <a:buChar char="•"/>
        <a:defRPr sz="164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743132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1pPr>
      <a:lvl2pPr marL="371566" algn="l" defTabSz="743132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2pPr>
      <a:lvl3pPr marL="743132" algn="l" defTabSz="743132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3pPr>
      <a:lvl4pPr marL="1114695" algn="l" defTabSz="743132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4pPr>
      <a:lvl5pPr marL="1486261" algn="l" defTabSz="743132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5pPr>
      <a:lvl6pPr marL="1857827" algn="l" defTabSz="743132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6pPr>
      <a:lvl7pPr marL="2229390" algn="l" defTabSz="743132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7pPr>
      <a:lvl8pPr marL="2600957" algn="l" defTabSz="743132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8pPr>
      <a:lvl9pPr marL="2972521" algn="l" defTabSz="743132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747381" y="6977976"/>
            <a:ext cx="9532599" cy="2111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74288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772" b="1" i="0" u="none" strike="noStrike" kern="1200" cap="none" spc="0" normalizeH="0" baseline="0" noProof="0" dirty="0" smtClean="0">
                <a:ln>
                  <a:noFill/>
                </a:ln>
                <a:solidFill>
                  <a:srgbClr val="507C89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※ </a:t>
            </a:r>
            <a:r>
              <a:rPr kumimoji="0" lang="ko-KR" altLang="en-US" sz="772" b="1" i="0" u="none" strike="noStrike" kern="1200" cap="none" spc="0" normalizeH="0" baseline="0" noProof="0" dirty="0" smtClean="0">
                <a:ln>
                  <a:noFill/>
                </a:ln>
                <a:solidFill>
                  <a:srgbClr val="507C89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본 자료는 컨설턴트 교육용으로 </a:t>
            </a:r>
            <a:r>
              <a:rPr kumimoji="0" lang="ko-KR" altLang="en-US" sz="772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507C89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환급금</a:t>
            </a:r>
            <a:r>
              <a:rPr kumimoji="0" lang="ko-KR" altLang="en-US" sz="772" b="1" i="0" u="none" strike="noStrike" kern="1200" cap="none" spc="0" normalizeH="0" baseline="0" noProof="0" dirty="0" smtClean="0">
                <a:ln>
                  <a:noFill/>
                </a:ln>
                <a:solidFill>
                  <a:srgbClr val="507C89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및 보험금 지급의 근거가 될 수 없으며 고객안내자료로 활용할 수 없습니다</a:t>
            </a:r>
            <a:r>
              <a:rPr kumimoji="0" lang="en-US" altLang="ko-KR" sz="772" b="1" i="0" u="none" strike="noStrike" kern="1200" cap="none" spc="0" normalizeH="0" baseline="0" noProof="0" dirty="0" smtClean="0">
                <a:ln>
                  <a:noFill/>
                </a:ln>
                <a:solidFill>
                  <a:srgbClr val="507C89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.</a:t>
            </a:r>
            <a:endParaRPr kumimoji="0" lang="ko-KR" altLang="en-US" sz="772" b="1" i="0" u="none" strike="noStrike" kern="1200" cap="none" spc="0" normalizeH="0" baseline="0" noProof="0" dirty="0">
              <a:ln>
                <a:noFill/>
              </a:ln>
              <a:solidFill>
                <a:srgbClr val="507C89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4" name="모서리가 둥근 직사각형 3"/>
          <p:cNvSpPr/>
          <p:nvPr userDrawn="1"/>
        </p:nvSpPr>
        <p:spPr>
          <a:xfrm>
            <a:off x="9271921" y="124515"/>
            <a:ext cx="877356" cy="184863"/>
          </a:xfrm>
          <a:prstGeom prst="roundRect">
            <a:avLst/>
          </a:prstGeom>
          <a:gradFill flip="none" rotWithShape="1">
            <a:gsLst>
              <a:gs pos="50000">
                <a:srgbClr val="141450"/>
              </a:gs>
              <a:gs pos="50000">
                <a:srgbClr val="507C89"/>
              </a:gs>
            </a:gsLst>
            <a:lin ang="16200000" scaled="1"/>
            <a:tileRect/>
          </a:gradFill>
          <a:ln w="12700">
            <a:gradFill flip="none" rotWithShape="1">
              <a:gsLst>
                <a:gs pos="50000">
                  <a:srgbClr val="141450"/>
                </a:gs>
                <a:gs pos="50000">
                  <a:srgbClr val="507C89"/>
                </a:gs>
              </a:gsLst>
              <a:lin ang="162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12039" rIns="0" bIns="12039" rtlCol="0" anchor="ctr">
            <a:spAutoFit/>
          </a:bodyPr>
          <a:lstStyle/>
          <a:p>
            <a:pPr marL="0" marR="0" lvl="0" indent="0" algn="ctr" defTabSz="69904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27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FP</a:t>
            </a:r>
            <a:r>
              <a:rPr kumimoji="0" lang="ko-KR" altLang="en-US" sz="927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교육용자료</a:t>
            </a:r>
            <a:endParaRPr kumimoji="0" lang="ko-KR" altLang="en-US" sz="927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9550030" y="421801"/>
            <a:ext cx="611838" cy="2347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4258" tIns="37130" rIns="74258" bIns="37130"/>
          <a:lstStyle/>
          <a:p>
            <a:pPr marL="0" marR="0" lvl="0" indent="0" algn="r" defTabSz="743028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081" b="1" i="0" u="none" strike="noStrike" kern="1200" cap="none" spc="0" normalizeH="0" baseline="0" noProof="0" dirty="0">
                <a:ln>
                  <a:noFill/>
                </a:ln>
                <a:solidFill>
                  <a:srgbClr val="507C89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t> </a:t>
            </a:r>
            <a:fld id="{16B1565D-7790-4B20-9C8C-6E71895AF331}" type="slidenum">
              <a:rPr kumimoji="0" lang="ko-KR" altLang="en-US" sz="1081" b="1" i="0" u="none" strike="noStrike" kern="1200" cap="none" spc="0" normalizeH="0" baseline="0" noProof="0" smtClean="0">
                <a:ln>
                  <a:noFill/>
                </a:ln>
                <a:solidFill>
                  <a:srgbClr val="507C89"/>
                </a:solidFill>
                <a:effectLst/>
                <a:uLnTx/>
                <a:uFillTx/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rPr>
              <a:pPr marL="0" marR="0" lvl="0" indent="0" algn="r" defTabSz="743028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081" b="1" i="0" u="none" strike="noStrike" kern="1200" cap="none" spc="0" normalizeH="0" baseline="0" noProof="0" dirty="0">
              <a:ln>
                <a:noFill/>
              </a:ln>
              <a:solidFill>
                <a:srgbClr val="507C89"/>
              </a:solidFill>
              <a:effectLst/>
              <a:uLnTx/>
              <a:uFillTx/>
              <a:latin typeface="맑은 고딕" panose="020B0503020000020004" pitchFamily="50" charset="-127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7625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9" r:id="rId1"/>
    <p:sldLayoutId id="2147484130" r:id="rId2"/>
    <p:sldLayoutId id="2147484131" r:id="rId3"/>
    <p:sldLayoutId id="2147484132" r:id="rId4"/>
    <p:sldLayoutId id="2147484133" r:id="rId5"/>
    <p:sldLayoutId id="2147484134" r:id="rId6"/>
    <p:sldLayoutId id="2147484135" r:id="rId7"/>
  </p:sldLayoutIdLst>
  <p:timing>
    <p:tnLst>
      <p:par>
        <p:cTn id="1" dur="indefinite" restart="never" nodeType="tmRoot"/>
      </p:par>
    </p:tnLst>
  </p:timing>
  <p:txStyles>
    <p:titleStyle>
      <a:lvl1pPr algn="ctr" defTabSz="743132" rtl="0" eaLnBrk="1" latinLnBrk="1" hangingPunct="1">
        <a:spcBef>
          <a:spcPct val="0"/>
        </a:spcBef>
        <a:buNone/>
        <a:defRPr sz="358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8674" indent="-278674" algn="l" defTabSz="743132" rtl="0" eaLnBrk="1" latinLnBrk="1" hangingPunct="1">
        <a:spcBef>
          <a:spcPct val="20000"/>
        </a:spcBef>
        <a:buFont typeface="Arial" pitchFamily="34" charset="0"/>
        <a:buChar char="•"/>
        <a:defRPr sz="2615" kern="1200">
          <a:solidFill>
            <a:schemeClr val="tx1"/>
          </a:solidFill>
          <a:latin typeface="+mn-lt"/>
          <a:ea typeface="+mn-ea"/>
          <a:cs typeface="+mn-cs"/>
        </a:defRPr>
      </a:lvl1pPr>
      <a:lvl2pPr marL="603793" indent="-232230" algn="l" defTabSz="743132" rtl="0" eaLnBrk="1" latinLnBrk="1" hangingPunct="1">
        <a:spcBef>
          <a:spcPct val="20000"/>
        </a:spcBef>
        <a:buFont typeface="Arial" pitchFamily="34" charset="0"/>
        <a:buChar char="–"/>
        <a:defRPr sz="2241" kern="1200">
          <a:solidFill>
            <a:schemeClr val="tx1"/>
          </a:solidFill>
          <a:latin typeface="+mn-lt"/>
          <a:ea typeface="+mn-ea"/>
          <a:cs typeface="+mn-cs"/>
        </a:defRPr>
      </a:lvl2pPr>
      <a:lvl3pPr marL="928914" indent="-185783" algn="l" defTabSz="743132" rtl="0" eaLnBrk="1" latinLnBrk="1" hangingPunct="1">
        <a:spcBef>
          <a:spcPct val="20000"/>
        </a:spcBef>
        <a:buFont typeface="Arial" pitchFamily="34" charset="0"/>
        <a:buChar char="•"/>
        <a:defRPr sz="1942" kern="1200">
          <a:solidFill>
            <a:schemeClr val="tx1"/>
          </a:solidFill>
          <a:latin typeface="+mn-lt"/>
          <a:ea typeface="+mn-ea"/>
          <a:cs typeface="+mn-cs"/>
        </a:defRPr>
      </a:lvl3pPr>
      <a:lvl4pPr marL="1300478" indent="-185783" algn="l" defTabSz="743132" rtl="0" eaLnBrk="1" latinLnBrk="1" hangingPunct="1">
        <a:spcBef>
          <a:spcPct val="20000"/>
        </a:spcBef>
        <a:buFont typeface="Arial" pitchFamily="34" charset="0"/>
        <a:buChar char="–"/>
        <a:defRPr sz="1643" kern="1200">
          <a:solidFill>
            <a:schemeClr val="tx1"/>
          </a:solidFill>
          <a:latin typeface="+mn-lt"/>
          <a:ea typeface="+mn-ea"/>
          <a:cs typeface="+mn-cs"/>
        </a:defRPr>
      </a:lvl4pPr>
      <a:lvl5pPr marL="1672042" indent="-185783" algn="l" defTabSz="743132" rtl="0" eaLnBrk="1" latinLnBrk="1" hangingPunct="1">
        <a:spcBef>
          <a:spcPct val="20000"/>
        </a:spcBef>
        <a:buFont typeface="Arial" pitchFamily="34" charset="0"/>
        <a:buChar char="»"/>
        <a:defRPr sz="1643" kern="1200">
          <a:solidFill>
            <a:schemeClr val="tx1"/>
          </a:solidFill>
          <a:latin typeface="+mn-lt"/>
          <a:ea typeface="+mn-ea"/>
          <a:cs typeface="+mn-cs"/>
        </a:defRPr>
      </a:lvl5pPr>
      <a:lvl6pPr marL="2043608" indent="-185783" algn="l" defTabSz="743132" rtl="0" eaLnBrk="1" latinLnBrk="1" hangingPunct="1">
        <a:spcBef>
          <a:spcPct val="20000"/>
        </a:spcBef>
        <a:buFont typeface="Arial" pitchFamily="34" charset="0"/>
        <a:buChar char="•"/>
        <a:defRPr sz="1643" kern="1200">
          <a:solidFill>
            <a:schemeClr val="tx1"/>
          </a:solidFill>
          <a:latin typeface="+mn-lt"/>
          <a:ea typeface="+mn-ea"/>
          <a:cs typeface="+mn-cs"/>
        </a:defRPr>
      </a:lvl6pPr>
      <a:lvl7pPr marL="2415174" indent="-185783" algn="l" defTabSz="743132" rtl="0" eaLnBrk="1" latinLnBrk="1" hangingPunct="1">
        <a:spcBef>
          <a:spcPct val="20000"/>
        </a:spcBef>
        <a:buFont typeface="Arial" pitchFamily="34" charset="0"/>
        <a:buChar char="•"/>
        <a:defRPr sz="1643" kern="1200">
          <a:solidFill>
            <a:schemeClr val="tx1"/>
          </a:solidFill>
          <a:latin typeface="+mn-lt"/>
          <a:ea typeface="+mn-ea"/>
          <a:cs typeface="+mn-cs"/>
        </a:defRPr>
      </a:lvl7pPr>
      <a:lvl8pPr marL="2786739" indent="-185783" algn="l" defTabSz="743132" rtl="0" eaLnBrk="1" latinLnBrk="1" hangingPunct="1">
        <a:spcBef>
          <a:spcPct val="20000"/>
        </a:spcBef>
        <a:buFont typeface="Arial" pitchFamily="34" charset="0"/>
        <a:buChar char="•"/>
        <a:defRPr sz="1643" kern="1200">
          <a:solidFill>
            <a:schemeClr val="tx1"/>
          </a:solidFill>
          <a:latin typeface="+mn-lt"/>
          <a:ea typeface="+mn-ea"/>
          <a:cs typeface="+mn-cs"/>
        </a:defRPr>
      </a:lvl8pPr>
      <a:lvl9pPr marL="3158305" indent="-185783" algn="l" defTabSz="743132" rtl="0" eaLnBrk="1" latinLnBrk="1" hangingPunct="1">
        <a:spcBef>
          <a:spcPct val="20000"/>
        </a:spcBef>
        <a:buFont typeface="Arial" pitchFamily="34" charset="0"/>
        <a:buChar char="•"/>
        <a:defRPr sz="164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743132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1pPr>
      <a:lvl2pPr marL="371566" algn="l" defTabSz="743132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2pPr>
      <a:lvl3pPr marL="743132" algn="l" defTabSz="743132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3pPr>
      <a:lvl4pPr marL="1114695" algn="l" defTabSz="743132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4pPr>
      <a:lvl5pPr marL="1486261" algn="l" defTabSz="743132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5pPr>
      <a:lvl6pPr marL="1857827" algn="l" defTabSz="743132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6pPr>
      <a:lvl7pPr marL="2229390" algn="l" defTabSz="743132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7pPr>
      <a:lvl8pPr marL="2600957" algn="l" defTabSz="743132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8pPr>
      <a:lvl9pPr marL="2972521" algn="l" defTabSz="743132" rtl="0" eaLnBrk="1" latinLnBrk="1" hangingPunct="1">
        <a:defRPr sz="149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519196" y="290530"/>
            <a:ext cx="9345454" cy="1209146"/>
          </a:xfrm>
          <a:prstGeom prst="rect">
            <a:avLst/>
          </a:prstGeom>
        </p:spPr>
        <p:txBody>
          <a:bodyPr vert="horz" lIns="91420" tIns="45709" rIns="91420" bIns="45709" rtlCol="0" anchor="ctr">
            <a:normAutofit/>
          </a:bodyPr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519196" y="1692811"/>
            <a:ext cx="9345454" cy="4787882"/>
          </a:xfrm>
          <a:prstGeom prst="rect">
            <a:avLst/>
          </a:prstGeom>
        </p:spPr>
        <p:txBody>
          <a:bodyPr vert="horz" lIns="91420" tIns="45709" rIns="91420" bIns="45709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519192" y="6724593"/>
            <a:ext cx="2422896" cy="386255"/>
          </a:xfrm>
          <a:prstGeom prst="rect">
            <a:avLst/>
          </a:prstGeom>
        </p:spPr>
        <p:txBody>
          <a:bodyPr vert="horz" lIns="91420" tIns="45709" rIns="91420" bIns="45709" rtlCol="0" anchor="ctr"/>
          <a:lstStyle>
            <a:lvl1pPr algn="l">
              <a:defRPr sz="102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78509"/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547829" y="6724593"/>
            <a:ext cx="3288215" cy="386255"/>
          </a:xfrm>
          <a:prstGeom prst="rect">
            <a:avLst/>
          </a:prstGeom>
        </p:spPr>
        <p:txBody>
          <a:bodyPr vert="horz" lIns="91420" tIns="45709" rIns="91420" bIns="45709" rtlCol="0" anchor="ctr"/>
          <a:lstStyle>
            <a:lvl1pPr algn="ctr">
              <a:defRPr sz="102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78509"/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7441750" y="6724593"/>
            <a:ext cx="2422896" cy="386255"/>
          </a:xfrm>
          <a:prstGeom prst="rect">
            <a:avLst/>
          </a:prstGeom>
        </p:spPr>
        <p:txBody>
          <a:bodyPr vert="horz" lIns="91420" tIns="45709" rIns="91420" bIns="45709" rtlCol="0" anchor="ctr"/>
          <a:lstStyle>
            <a:lvl1pPr algn="r">
              <a:defRPr sz="102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78509"/>
            <a:fld id="{2747D207-944B-4363-884F-A02296F6E65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 defTabSz="778509"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그림 6"/>
          <p:cNvPicPr>
            <a:picLocks noChangeAspect="1"/>
          </p:cNvPicPr>
          <p:nvPr userDrawn="1"/>
        </p:nvPicPr>
        <p:blipFill>
          <a:blip r:embed="rId5" cstate="email"/>
          <a:stretch>
            <a:fillRect/>
          </a:stretch>
        </p:blipFill>
        <p:spPr>
          <a:xfrm>
            <a:off x="767" y="674"/>
            <a:ext cx="10382306" cy="7253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6862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0" r:id="rId1"/>
    <p:sldLayoutId id="2147484141" r:id="rId2"/>
    <p:sldLayoutId id="2147484142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778598" rtl="0" eaLnBrk="1" latinLnBrk="1" hangingPunct="1">
        <a:spcBef>
          <a:spcPct val="0"/>
        </a:spcBef>
        <a:buNone/>
        <a:defRPr sz="366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1975" indent="-291975" algn="l" defTabSz="778598" rtl="0" eaLnBrk="1" latinLnBrk="1" hangingPunct="1">
        <a:spcBef>
          <a:spcPct val="20000"/>
        </a:spcBef>
        <a:buFont typeface="Arial" panose="020B0604020202020204" pitchFamily="34" charset="0"/>
        <a:buChar char="•"/>
        <a:defRPr sz="2725" kern="1200">
          <a:solidFill>
            <a:schemeClr val="tx1"/>
          </a:solidFill>
          <a:latin typeface="+mn-lt"/>
          <a:ea typeface="+mn-ea"/>
          <a:cs typeface="+mn-cs"/>
        </a:defRPr>
      </a:lvl1pPr>
      <a:lvl2pPr marL="632611" indent="-243314" algn="l" defTabSz="778598" rtl="0" eaLnBrk="1" latinLnBrk="1" hangingPunct="1">
        <a:spcBef>
          <a:spcPct val="20000"/>
        </a:spcBef>
        <a:buFont typeface="Arial" panose="020B0604020202020204" pitchFamily="34" charset="0"/>
        <a:buChar char="–"/>
        <a:defRPr sz="2385" kern="1200">
          <a:solidFill>
            <a:schemeClr val="tx1"/>
          </a:solidFill>
          <a:latin typeface="+mn-lt"/>
          <a:ea typeface="+mn-ea"/>
          <a:cs typeface="+mn-cs"/>
        </a:defRPr>
      </a:lvl2pPr>
      <a:lvl3pPr marL="973246" indent="-194651" algn="l" defTabSz="778598" rtl="0" eaLnBrk="1" latinLnBrk="1" hangingPunct="1">
        <a:spcBef>
          <a:spcPct val="20000"/>
        </a:spcBef>
        <a:buFont typeface="Arial" panose="020B0604020202020204" pitchFamily="34" charset="0"/>
        <a:buChar char="•"/>
        <a:defRPr sz="1959" kern="1200">
          <a:solidFill>
            <a:schemeClr val="tx1"/>
          </a:solidFill>
          <a:latin typeface="+mn-lt"/>
          <a:ea typeface="+mn-ea"/>
          <a:cs typeface="+mn-cs"/>
        </a:defRPr>
      </a:lvl3pPr>
      <a:lvl4pPr marL="1362545" indent="-194651" algn="l" defTabSz="778598" rtl="0" eaLnBrk="1" latinLnBrk="1" hangingPunct="1">
        <a:spcBef>
          <a:spcPct val="20000"/>
        </a:spcBef>
        <a:buFont typeface="Arial" panose="020B0604020202020204" pitchFamily="34" charset="0"/>
        <a:buChar char="–"/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51844" indent="-194651" algn="l" defTabSz="778598" rtl="0" eaLnBrk="1" latinLnBrk="1" hangingPunct="1">
        <a:spcBef>
          <a:spcPct val="20000"/>
        </a:spcBef>
        <a:buFont typeface="Arial" panose="020B0604020202020204" pitchFamily="34" charset="0"/>
        <a:buChar char="»"/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41144" indent="-194651" algn="l" defTabSz="778598" rtl="0" eaLnBrk="1" latinLnBrk="1" hangingPunct="1">
        <a:spcBef>
          <a:spcPct val="20000"/>
        </a:spcBef>
        <a:buFont typeface="Arial" panose="020B0604020202020204" pitchFamily="34" charset="0"/>
        <a:buChar char="•"/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30442" indent="-194651" algn="l" defTabSz="778598" rtl="0" eaLnBrk="1" latinLnBrk="1" hangingPunct="1">
        <a:spcBef>
          <a:spcPct val="20000"/>
        </a:spcBef>
        <a:buFont typeface="Arial" panose="020B0604020202020204" pitchFamily="34" charset="0"/>
        <a:buChar char="•"/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2919743" indent="-194651" algn="l" defTabSz="778598" rtl="0" eaLnBrk="1" latinLnBrk="1" hangingPunct="1">
        <a:spcBef>
          <a:spcPct val="20000"/>
        </a:spcBef>
        <a:buFont typeface="Arial" panose="020B0604020202020204" pitchFamily="34" charset="0"/>
        <a:buChar char="•"/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309040" indent="-194651" algn="l" defTabSz="778598" rtl="0" eaLnBrk="1" latinLnBrk="1" hangingPunct="1">
        <a:spcBef>
          <a:spcPct val="20000"/>
        </a:spcBef>
        <a:buFont typeface="Arial" panose="020B0604020202020204" pitchFamily="34" charset="0"/>
        <a:buChar char="•"/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778598" rtl="0" eaLnBrk="1" latinLnBrk="1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1pPr>
      <a:lvl2pPr marL="389300" algn="l" defTabSz="778598" rtl="0" eaLnBrk="1" latinLnBrk="1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2pPr>
      <a:lvl3pPr marL="778598" algn="l" defTabSz="778598" rtl="0" eaLnBrk="1" latinLnBrk="1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3pPr>
      <a:lvl4pPr marL="1167899" algn="l" defTabSz="778598" rtl="0" eaLnBrk="1" latinLnBrk="1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4pPr>
      <a:lvl5pPr marL="1557195" algn="l" defTabSz="778598" rtl="0" eaLnBrk="1" latinLnBrk="1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5pPr>
      <a:lvl6pPr marL="1946495" algn="l" defTabSz="778598" rtl="0" eaLnBrk="1" latinLnBrk="1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6pPr>
      <a:lvl7pPr marL="2335792" algn="l" defTabSz="778598" rtl="0" eaLnBrk="1" latinLnBrk="1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7pPr>
      <a:lvl8pPr marL="2725092" algn="l" defTabSz="778598" rtl="0" eaLnBrk="1" latinLnBrk="1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8pPr>
      <a:lvl9pPr marL="3114390" algn="l" defTabSz="778598" rtl="0" eaLnBrk="1" latinLnBrk="1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519196" y="290530"/>
            <a:ext cx="9345454" cy="1209146"/>
          </a:xfrm>
          <a:prstGeom prst="rect">
            <a:avLst/>
          </a:prstGeom>
        </p:spPr>
        <p:txBody>
          <a:bodyPr vert="horz" lIns="91420" tIns="45709" rIns="91420" bIns="45709" rtlCol="0" anchor="ctr">
            <a:normAutofit/>
          </a:bodyPr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519196" y="1692811"/>
            <a:ext cx="9345454" cy="4787882"/>
          </a:xfrm>
          <a:prstGeom prst="rect">
            <a:avLst/>
          </a:prstGeom>
        </p:spPr>
        <p:txBody>
          <a:bodyPr vert="horz" lIns="91420" tIns="45709" rIns="91420" bIns="45709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519192" y="6724593"/>
            <a:ext cx="2422896" cy="386255"/>
          </a:xfrm>
          <a:prstGeom prst="rect">
            <a:avLst/>
          </a:prstGeom>
        </p:spPr>
        <p:txBody>
          <a:bodyPr vert="horz" lIns="91420" tIns="45709" rIns="91420" bIns="45709" rtlCol="0" anchor="ctr"/>
          <a:lstStyle>
            <a:lvl1pPr algn="l">
              <a:defRPr sz="102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78509"/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547829" y="6724593"/>
            <a:ext cx="3288215" cy="386255"/>
          </a:xfrm>
          <a:prstGeom prst="rect">
            <a:avLst/>
          </a:prstGeom>
        </p:spPr>
        <p:txBody>
          <a:bodyPr vert="horz" lIns="91420" tIns="45709" rIns="91420" bIns="45709" rtlCol="0" anchor="ctr"/>
          <a:lstStyle>
            <a:lvl1pPr algn="ctr">
              <a:defRPr sz="102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78509"/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7441750" y="6724593"/>
            <a:ext cx="2422896" cy="386255"/>
          </a:xfrm>
          <a:prstGeom prst="rect">
            <a:avLst/>
          </a:prstGeom>
        </p:spPr>
        <p:txBody>
          <a:bodyPr vert="horz" lIns="91420" tIns="45709" rIns="91420" bIns="45709" rtlCol="0" anchor="ctr"/>
          <a:lstStyle>
            <a:lvl1pPr algn="r">
              <a:defRPr sz="102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78509"/>
            <a:fld id="{2747D207-944B-4363-884F-A02296F6E65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 defTabSz="778509"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그림 6"/>
          <p:cNvPicPr>
            <a:picLocks noChangeAspect="1"/>
          </p:cNvPicPr>
          <p:nvPr userDrawn="1"/>
        </p:nvPicPr>
        <p:blipFill>
          <a:blip r:embed="rId5" cstate="email"/>
          <a:stretch>
            <a:fillRect/>
          </a:stretch>
        </p:blipFill>
        <p:spPr>
          <a:xfrm>
            <a:off x="767" y="674"/>
            <a:ext cx="10382306" cy="7253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2348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4" r:id="rId1"/>
    <p:sldLayoutId id="2147484145" r:id="rId2"/>
    <p:sldLayoutId id="2147484146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778598" rtl="0" eaLnBrk="1" latinLnBrk="1" hangingPunct="1">
        <a:spcBef>
          <a:spcPct val="0"/>
        </a:spcBef>
        <a:buNone/>
        <a:defRPr sz="366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1975" indent="-291975" algn="l" defTabSz="778598" rtl="0" eaLnBrk="1" latinLnBrk="1" hangingPunct="1">
        <a:spcBef>
          <a:spcPct val="20000"/>
        </a:spcBef>
        <a:buFont typeface="Arial" panose="020B0604020202020204" pitchFamily="34" charset="0"/>
        <a:buChar char="•"/>
        <a:defRPr sz="2725" kern="1200">
          <a:solidFill>
            <a:schemeClr val="tx1"/>
          </a:solidFill>
          <a:latin typeface="+mn-lt"/>
          <a:ea typeface="+mn-ea"/>
          <a:cs typeface="+mn-cs"/>
        </a:defRPr>
      </a:lvl1pPr>
      <a:lvl2pPr marL="632611" indent="-243314" algn="l" defTabSz="778598" rtl="0" eaLnBrk="1" latinLnBrk="1" hangingPunct="1">
        <a:spcBef>
          <a:spcPct val="20000"/>
        </a:spcBef>
        <a:buFont typeface="Arial" panose="020B0604020202020204" pitchFamily="34" charset="0"/>
        <a:buChar char="–"/>
        <a:defRPr sz="2385" kern="1200">
          <a:solidFill>
            <a:schemeClr val="tx1"/>
          </a:solidFill>
          <a:latin typeface="+mn-lt"/>
          <a:ea typeface="+mn-ea"/>
          <a:cs typeface="+mn-cs"/>
        </a:defRPr>
      </a:lvl2pPr>
      <a:lvl3pPr marL="973246" indent="-194651" algn="l" defTabSz="778598" rtl="0" eaLnBrk="1" latinLnBrk="1" hangingPunct="1">
        <a:spcBef>
          <a:spcPct val="20000"/>
        </a:spcBef>
        <a:buFont typeface="Arial" panose="020B0604020202020204" pitchFamily="34" charset="0"/>
        <a:buChar char="•"/>
        <a:defRPr sz="1959" kern="1200">
          <a:solidFill>
            <a:schemeClr val="tx1"/>
          </a:solidFill>
          <a:latin typeface="+mn-lt"/>
          <a:ea typeface="+mn-ea"/>
          <a:cs typeface="+mn-cs"/>
        </a:defRPr>
      </a:lvl3pPr>
      <a:lvl4pPr marL="1362545" indent="-194651" algn="l" defTabSz="778598" rtl="0" eaLnBrk="1" latinLnBrk="1" hangingPunct="1">
        <a:spcBef>
          <a:spcPct val="20000"/>
        </a:spcBef>
        <a:buFont typeface="Arial" panose="020B0604020202020204" pitchFamily="34" charset="0"/>
        <a:buChar char="–"/>
        <a:defRPr sz="1703" kern="1200">
          <a:solidFill>
            <a:schemeClr val="tx1"/>
          </a:solidFill>
          <a:latin typeface="+mn-lt"/>
          <a:ea typeface="+mn-ea"/>
          <a:cs typeface="+mn-cs"/>
        </a:defRPr>
      </a:lvl4pPr>
      <a:lvl5pPr marL="1751844" indent="-194651" algn="l" defTabSz="778598" rtl="0" eaLnBrk="1" latinLnBrk="1" hangingPunct="1">
        <a:spcBef>
          <a:spcPct val="20000"/>
        </a:spcBef>
        <a:buFont typeface="Arial" panose="020B0604020202020204" pitchFamily="34" charset="0"/>
        <a:buChar char="»"/>
        <a:defRPr sz="1703" kern="1200">
          <a:solidFill>
            <a:schemeClr val="tx1"/>
          </a:solidFill>
          <a:latin typeface="+mn-lt"/>
          <a:ea typeface="+mn-ea"/>
          <a:cs typeface="+mn-cs"/>
        </a:defRPr>
      </a:lvl5pPr>
      <a:lvl6pPr marL="2141144" indent="-194651" algn="l" defTabSz="778598" rtl="0" eaLnBrk="1" latinLnBrk="1" hangingPunct="1">
        <a:spcBef>
          <a:spcPct val="20000"/>
        </a:spcBef>
        <a:buFont typeface="Arial" panose="020B0604020202020204" pitchFamily="34" charset="0"/>
        <a:buChar char="•"/>
        <a:defRPr sz="1703" kern="1200">
          <a:solidFill>
            <a:schemeClr val="tx1"/>
          </a:solidFill>
          <a:latin typeface="+mn-lt"/>
          <a:ea typeface="+mn-ea"/>
          <a:cs typeface="+mn-cs"/>
        </a:defRPr>
      </a:lvl6pPr>
      <a:lvl7pPr marL="2530442" indent="-194651" algn="l" defTabSz="778598" rtl="0" eaLnBrk="1" latinLnBrk="1" hangingPunct="1">
        <a:spcBef>
          <a:spcPct val="20000"/>
        </a:spcBef>
        <a:buFont typeface="Arial" panose="020B0604020202020204" pitchFamily="34" charset="0"/>
        <a:buChar char="•"/>
        <a:defRPr sz="1703" kern="1200">
          <a:solidFill>
            <a:schemeClr val="tx1"/>
          </a:solidFill>
          <a:latin typeface="+mn-lt"/>
          <a:ea typeface="+mn-ea"/>
          <a:cs typeface="+mn-cs"/>
        </a:defRPr>
      </a:lvl7pPr>
      <a:lvl8pPr marL="2919743" indent="-194651" algn="l" defTabSz="778598" rtl="0" eaLnBrk="1" latinLnBrk="1" hangingPunct="1">
        <a:spcBef>
          <a:spcPct val="20000"/>
        </a:spcBef>
        <a:buFont typeface="Arial" panose="020B0604020202020204" pitchFamily="34" charset="0"/>
        <a:buChar char="•"/>
        <a:defRPr sz="1703" kern="1200">
          <a:solidFill>
            <a:schemeClr val="tx1"/>
          </a:solidFill>
          <a:latin typeface="+mn-lt"/>
          <a:ea typeface="+mn-ea"/>
          <a:cs typeface="+mn-cs"/>
        </a:defRPr>
      </a:lvl8pPr>
      <a:lvl9pPr marL="3309040" indent="-194651" algn="l" defTabSz="778598" rtl="0" eaLnBrk="1" latinLnBrk="1" hangingPunct="1">
        <a:spcBef>
          <a:spcPct val="20000"/>
        </a:spcBef>
        <a:buFont typeface="Arial" panose="020B0604020202020204" pitchFamily="34" charset="0"/>
        <a:buChar char="•"/>
        <a:defRPr sz="170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778598" rtl="0" eaLnBrk="1" latinLnBrk="1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1pPr>
      <a:lvl2pPr marL="389300" algn="l" defTabSz="778598" rtl="0" eaLnBrk="1" latinLnBrk="1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2pPr>
      <a:lvl3pPr marL="778598" algn="l" defTabSz="778598" rtl="0" eaLnBrk="1" latinLnBrk="1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3pPr>
      <a:lvl4pPr marL="1167899" algn="l" defTabSz="778598" rtl="0" eaLnBrk="1" latinLnBrk="1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4pPr>
      <a:lvl5pPr marL="1557195" algn="l" defTabSz="778598" rtl="0" eaLnBrk="1" latinLnBrk="1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5pPr>
      <a:lvl6pPr marL="1946495" algn="l" defTabSz="778598" rtl="0" eaLnBrk="1" latinLnBrk="1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6pPr>
      <a:lvl7pPr marL="2335792" algn="l" defTabSz="778598" rtl="0" eaLnBrk="1" latinLnBrk="1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7pPr>
      <a:lvl8pPr marL="2725092" algn="l" defTabSz="778598" rtl="0" eaLnBrk="1" latinLnBrk="1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8pPr>
      <a:lvl9pPr marL="3114390" algn="l" defTabSz="778598" rtl="0" eaLnBrk="1" latinLnBrk="1" hangingPunct="1">
        <a:defRPr sz="15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제목 개체 틀 1"/>
          <p:cNvSpPr>
            <a:spLocks noGrp="1"/>
          </p:cNvSpPr>
          <p:nvPr>
            <p:ph type="title"/>
          </p:nvPr>
        </p:nvSpPr>
        <p:spPr bwMode="auto">
          <a:xfrm>
            <a:off x="520010" y="290531"/>
            <a:ext cx="9345455" cy="1209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5" tIns="45713" rIns="91425" bIns="4571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제목 스타일 편집</a:t>
            </a:r>
          </a:p>
        </p:txBody>
      </p:sp>
      <p:sp>
        <p:nvSpPr>
          <p:cNvPr id="3075" name="텍스트 개체 틀 2"/>
          <p:cNvSpPr>
            <a:spLocks noGrp="1"/>
          </p:cNvSpPr>
          <p:nvPr>
            <p:ph type="body" idx="1"/>
          </p:nvPr>
        </p:nvSpPr>
        <p:spPr bwMode="auto">
          <a:xfrm>
            <a:off x="520010" y="1692806"/>
            <a:ext cx="9345455" cy="4787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5" tIns="45713" rIns="91425" bIns="4571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518375" y="6724195"/>
            <a:ext cx="2423441" cy="386255"/>
          </a:xfrm>
          <a:prstGeom prst="rect">
            <a:avLst/>
          </a:prstGeom>
        </p:spPr>
        <p:txBody>
          <a:bodyPr vert="horz" lIns="91425" tIns="45713" rIns="91425" bIns="45713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kumimoji="0" sz="1236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</a:defRPr>
            </a:lvl1pPr>
          </a:lstStyle>
          <a:p>
            <a:pPr defTabSz="941923">
              <a:defRPr/>
            </a:pPr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548494" y="6724195"/>
            <a:ext cx="3286853" cy="386255"/>
          </a:xfrm>
          <a:prstGeom prst="rect">
            <a:avLst/>
          </a:prstGeom>
        </p:spPr>
        <p:txBody>
          <a:bodyPr vert="horz" lIns="91425" tIns="45713" rIns="91425" bIns="45713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kumimoji="0" sz="1236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</a:defRPr>
            </a:lvl1pPr>
          </a:lstStyle>
          <a:p>
            <a:pPr defTabSz="941923">
              <a:defRPr/>
            </a:pPr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7442024" y="6724195"/>
            <a:ext cx="2423441" cy="386255"/>
          </a:xfrm>
          <a:prstGeom prst="rect">
            <a:avLst/>
          </a:prstGeom>
        </p:spPr>
        <p:txBody>
          <a:bodyPr vert="horz" lIns="91425" tIns="45713" rIns="91425" bIns="45713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1236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</a:defRPr>
            </a:lvl1pPr>
          </a:lstStyle>
          <a:p>
            <a:pPr defTabSz="941923">
              <a:defRPr/>
            </a:pPr>
            <a:fld id="{3DDBC064-3500-4513-8E4F-FF1F161ECEC8}" type="slidenum">
              <a:rPr lang="ko-KR" altLang="en-US" smtClean="0"/>
              <a:pPr defTabSz="941923">
                <a:defRPr/>
              </a:pPr>
              <a:t>‹#›</a:t>
            </a:fld>
            <a:endParaRPr lang="ko-KR" altLang="en-US"/>
          </a:p>
        </p:txBody>
      </p:sp>
      <p:pic>
        <p:nvPicPr>
          <p:cNvPr id="3079" name="그림 6"/>
          <p:cNvPicPr>
            <a:picLocks noChangeAspect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" y="0"/>
            <a:ext cx="10383838" cy="7254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62735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8" r:id="rId1"/>
    <p:sldLayoutId id="2147484149" r:id="rId2"/>
    <p:sldLayoutId id="2147484150" r:id="rId3"/>
    <p:sldLayoutId id="2147484151" r:id="rId4"/>
    <p:sldLayoutId id="2147484152" r:id="rId5"/>
    <p:sldLayoutId id="2147484153" r:id="rId6"/>
    <p:sldLayoutId id="2147484154" r:id="rId7"/>
    <p:sldLayoutId id="2147484155" r:id="rId8"/>
  </p:sldLayoutIdLst>
  <p:timing>
    <p:tnLst>
      <p:par>
        <p:cTn id="1" dur="indefinite" restart="never" nodeType="tmRoot"/>
      </p:par>
    </p:tnLst>
  </p:timing>
  <p:hf sldNum="0" hd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532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532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532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532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532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70880" algn="ctr" rtl="0" fontAlgn="base" latinLnBrk="1">
        <a:spcBef>
          <a:spcPct val="0"/>
        </a:spcBef>
        <a:spcAft>
          <a:spcPct val="0"/>
        </a:spcAft>
        <a:defRPr sz="4532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41760" algn="ctr" rtl="0" fontAlgn="base" latinLnBrk="1">
        <a:spcBef>
          <a:spcPct val="0"/>
        </a:spcBef>
        <a:spcAft>
          <a:spcPct val="0"/>
        </a:spcAft>
        <a:defRPr sz="4532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412640" algn="ctr" rtl="0" fontAlgn="base" latinLnBrk="1">
        <a:spcBef>
          <a:spcPct val="0"/>
        </a:spcBef>
        <a:spcAft>
          <a:spcPct val="0"/>
        </a:spcAft>
        <a:defRPr sz="4532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83520" algn="ctr" rtl="0" fontAlgn="base" latinLnBrk="1">
        <a:spcBef>
          <a:spcPct val="0"/>
        </a:spcBef>
        <a:spcAft>
          <a:spcPct val="0"/>
        </a:spcAft>
        <a:defRPr sz="4532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51566" indent="-351566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•"/>
        <a:defRPr sz="3296" kern="1200">
          <a:solidFill>
            <a:schemeClr val="tx1"/>
          </a:solidFill>
          <a:latin typeface="+mn-lt"/>
          <a:ea typeface="+mn-ea"/>
          <a:cs typeface="+mn-cs"/>
        </a:defRPr>
      </a:lvl1pPr>
      <a:lvl2pPr marL="763634" indent="-292700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–"/>
        <a:defRPr sz="2884" kern="1200">
          <a:solidFill>
            <a:schemeClr val="tx1"/>
          </a:solidFill>
          <a:latin typeface="+mn-lt"/>
          <a:ea typeface="+mn-ea"/>
          <a:cs typeface="+mn-cs"/>
        </a:defRPr>
      </a:lvl2pPr>
      <a:lvl3pPr marL="1175702" indent="-233832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•"/>
        <a:defRPr sz="2472" kern="1200">
          <a:solidFill>
            <a:schemeClr val="tx1"/>
          </a:solidFill>
          <a:latin typeface="+mn-lt"/>
          <a:ea typeface="+mn-ea"/>
          <a:cs typeface="+mn-cs"/>
        </a:defRPr>
      </a:lvl3pPr>
      <a:lvl4pPr marL="1646635" indent="-233832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–"/>
        <a:defRPr sz="2060" kern="1200">
          <a:solidFill>
            <a:schemeClr val="tx1"/>
          </a:solidFill>
          <a:latin typeface="+mn-lt"/>
          <a:ea typeface="+mn-ea"/>
          <a:cs typeface="+mn-cs"/>
        </a:defRPr>
      </a:lvl4pPr>
      <a:lvl5pPr marL="2117570" indent="-233832" algn="l" rtl="0" eaLnBrk="0" fontAlgn="base" latinLnBrk="1" hangingPunct="0">
        <a:spcBef>
          <a:spcPct val="20000"/>
        </a:spcBef>
        <a:spcAft>
          <a:spcPct val="0"/>
        </a:spcAft>
        <a:buFont typeface="Arial" charset="0"/>
        <a:buChar char="»"/>
        <a:defRPr sz="2060" kern="1200">
          <a:solidFill>
            <a:schemeClr val="tx1"/>
          </a:solidFill>
          <a:latin typeface="+mn-lt"/>
          <a:ea typeface="+mn-ea"/>
          <a:cs typeface="+mn-cs"/>
        </a:defRPr>
      </a:lvl5pPr>
      <a:lvl6pPr marL="2589838" indent="-235440" algn="l" defTabSz="94176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60" kern="1200">
          <a:solidFill>
            <a:schemeClr val="tx1"/>
          </a:solidFill>
          <a:latin typeface="+mn-lt"/>
          <a:ea typeface="+mn-ea"/>
          <a:cs typeface="+mn-cs"/>
        </a:defRPr>
      </a:lvl6pPr>
      <a:lvl7pPr marL="3060719" indent="-235440" algn="l" defTabSz="94176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60" kern="1200">
          <a:solidFill>
            <a:schemeClr val="tx1"/>
          </a:solidFill>
          <a:latin typeface="+mn-lt"/>
          <a:ea typeface="+mn-ea"/>
          <a:cs typeface="+mn-cs"/>
        </a:defRPr>
      </a:lvl7pPr>
      <a:lvl8pPr marL="3531599" indent="-235440" algn="l" defTabSz="94176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60" kern="1200">
          <a:solidFill>
            <a:schemeClr val="tx1"/>
          </a:solidFill>
          <a:latin typeface="+mn-lt"/>
          <a:ea typeface="+mn-ea"/>
          <a:cs typeface="+mn-cs"/>
        </a:defRPr>
      </a:lvl8pPr>
      <a:lvl9pPr marL="4002479" indent="-235440" algn="l" defTabSz="941760" rtl="0" eaLnBrk="1" latinLnBrk="1" hangingPunct="1">
        <a:spcBef>
          <a:spcPct val="20000"/>
        </a:spcBef>
        <a:buFont typeface="Arial" panose="020B0604020202020204" pitchFamily="34" charset="0"/>
        <a:buChar char="•"/>
        <a:defRPr sz="20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41760" rtl="0" eaLnBrk="1" latinLnBrk="1" hangingPunct="1">
        <a:defRPr sz="1854" kern="1200">
          <a:solidFill>
            <a:schemeClr val="tx1"/>
          </a:solidFill>
          <a:latin typeface="+mn-lt"/>
          <a:ea typeface="+mn-ea"/>
          <a:cs typeface="+mn-cs"/>
        </a:defRPr>
      </a:lvl1pPr>
      <a:lvl2pPr marL="470880" algn="l" defTabSz="941760" rtl="0" eaLnBrk="1" latinLnBrk="1" hangingPunct="1">
        <a:defRPr sz="1854" kern="1200">
          <a:solidFill>
            <a:schemeClr val="tx1"/>
          </a:solidFill>
          <a:latin typeface="+mn-lt"/>
          <a:ea typeface="+mn-ea"/>
          <a:cs typeface="+mn-cs"/>
        </a:defRPr>
      </a:lvl2pPr>
      <a:lvl3pPr marL="941760" algn="l" defTabSz="941760" rtl="0" eaLnBrk="1" latinLnBrk="1" hangingPunct="1">
        <a:defRPr sz="1854" kern="1200">
          <a:solidFill>
            <a:schemeClr val="tx1"/>
          </a:solidFill>
          <a:latin typeface="+mn-lt"/>
          <a:ea typeface="+mn-ea"/>
          <a:cs typeface="+mn-cs"/>
        </a:defRPr>
      </a:lvl3pPr>
      <a:lvl4pPr marL="1412640" algn="l" defTabSz="941760" rtl="0" eaLnBrk="1" latinLnBrk="1" hangingPunct="1">
        <a:defRPr sz="1854" kern="1200">
          <a:solidFill>
            <a:schemeClr val="tx1"/>
          </a:solidFill>
          <a:latin typeface="+mn-lt"/>
          <a:ea typeface="+mn-ea"/>
          <a:cs typeface="+mn-cs"/>
        </a:defRPr>
      </a:lvl4pPr>
      <a:lvl5pPr marL="1883520" algn="l" defTabSz="941760" rtl="0" eaLnBrk="1" latinLnBrk="1" hangingPunct="1">
        <a:defRPr sz="1854" kern="1200">
          <a:solidFill>
            <a:schemeClr val="tx1"/>
          </a:solidFill>
          <a:latin typeface="+mn-lt"/>
          <a:ea typeface="+mn-ea"/>
          <a:cs typeface="+mn-cs"/>
        </a:defRPr>
      </a:lvl5pPr>
      <a:lvl6pPr marL="2354401" algn="l" defTabSz="941760" rtl="0" eaLnBrk="1" latinLnBrk="1" hangingPunct="1">
        <a:defRPr sz="1854" kern="1200">
          <a:solidFill>
            <a:schemeClr val="tx1"/>
          </a:solidFill>
          <a:latin typeface="+mn-lt"/>
          <a:ea typeface="+mn-ea"/>
          <a:cs typeface="+mn-cs"/>
        </a:defRPr>
      </a:lvl6pPr>
      <a:lvl7pPr marL="2825279" algn="l" defTabSz="941760" rtl="0" eaLnBrk="1" latinLnBrk="1" hangingPunct="1">
        <a:defRPr sz="1854" kern="1200">
          <a:solidFill>
            <a:schemeClr val="tx1"/>
          </a:solidFill>
          <a:latin typeface="+mn-lt"/>
          <a:ea typeface="+mn-ea"/>
          <a:cs typeface="+mn-cs"/>
        </a:defRPr>
      </a:lvl7pPr>
      <a:lvl8pPr marL="3296160" algn="l" defTabSz="941760" rtl="0" eaLnBrk="1" latinLnBrk="1" hangingPunct="1">
        <a:defRPr sz="1854" kern="1200">
          <a:solidFill>
            <a:schemeClr val="tx1"/>
          </a:solidFill>
          <a:latin typeface="+mn-lt"/>
          <a:ea typeface="+mn-ea"/>
          <a:cs typeface="+mn-cs"/>
        </a:defRPr>
      </a:lvl8pPr>
      <a:lvl9pPr marL="3767040" algn="l" defTabSz="941760" rtl="0" eaLnBrk="1" latinLnBrk="1" hangingPunct="1">
        <a:defRPr sz="185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" y="680"/>
            <a:ext cx="10387752" cy="7060395"/>
          </a:xfrm>
          <a:prstGeom prst="rect">
            <a:avLst/>
          </a:prstGeom>
        </p:spPr>
      </p:pic>
      <p:sp>
        <p:nvSpPr>
          <p:cNvPr id="5" name="직사각형 4"/>
          <p:cNvSpPr/>
          <p:nvPr userDrawn="1"/>
        </p:nvSpPr>
        <p:spPr>
          <a:xfrm>
            <a:off x="9079046" y="29012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algn="ctr"/>
            <a:r>
              <a:rPr lang="ko-KR" altLang="en-US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사내교육용</a:t>
            </a:r>
            <a:r>
              <a:rPr lang="en-US" altLang="ko-KR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(</a:t>
            </a:r>
            <a:r>
              <a:rPr lang="ko-KR" altLang="en-US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대외비</a:t>
            </a:r>
            <a:r>
              <a:rPr lang="en-US" altLang="ko-KR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)</a:t>
            </a:r>
            <a:r>
              <a:rPr lang="ko-KR" altLang="en-US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</a:p>
        </p:txBody>
      </p:sp>
      <p:sp>
        <p:nvSpPr>
          <p:cNvPr id="6" name="슬라이드 번호 개체 틀 2"/>
          <p:cNvSpPr txBox="1">
            <a:spLocks/>
          </p:cNvSpPr>
          <p:nvPr userDrawn="1"/>
        </p:nvSpPr>
        <p:spPr>
          <a:xfrm>
            <a:off x="9691481" y="6967999"/>
            <a:ext cx="631527" cy="322319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91202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0" lang="en-US" altLang="ko-KR" sz="1200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912025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</p:sldLayoutIdLst>
  <p:hf hdr="0" ftr="0" dt="0"/>
  <p:txStyles>
    <p:titleStyle>
      <a:lvl1pPr algn="ctr" defTabSz="871850" rtl="0" eaLnBrk="1" latinLnBrk="1" hangingPunct="1">
        <a:spcBef>
          <a:spcPct val="0"/>
        </a:spcBef>
        <a:buNone/>
        <a:defRPr sz="4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6944" indent="-326944" algn="l" defTabSz="871850" rtl="0" eaLnBrk="1" latinLnBrk="1" hangingPunct="1">
        <a:spcBef>
          <a:spcPct val="20000"/>
        </a:spcBef>
        <a:buFont typeface="Arial" pitchFamily="34" charset="0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1pPr>
      <a:lvl2pPr marL="708380" indent="-272452" algn="l" defTabSz="871850" rtl="0" eaLnBrk="1" latinLnBrk="1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89811" indent="-217962" algn="l" defTabSz="871850" rtl="0" eaLnBrk="1" latinLnBrk="1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525735" indent="-217962" algn="l" defTabSz="871850" rtl="0" eaLnBrk="1" latinLnBrk="1" hangingPunct="1">
        <a:spcBef>
          <a:spcPct val="20000"/>
        </a:spcBef>
        <a:buFont typeface="Arial" pitchFamily="34" charset="0"/>
        <a:buChar char="–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61659" indent="-217962" algn="l" defTabSz="871850" rtl="0" eaLnBrk="1" latinLnBrk="1" hangingPunct="1">
        <a:spcBef>
          <a:spcPct val="20000"/>
        </a:spcBef>
        <a:buFont typeface="Arial" pitchFamily="34" charset="0"/>
        <a:buChar char="»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7582" indent="-217962" algn="l" defTabSz="871850" rtl="0" eaLnBrk="1" latinLnBrk="1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33513" indent="-217962" algn="l" defTabSz="871850" rtl="0" eaLnBrk="1" latinLnBrk="1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69432" indent="-217962" algn="l" defTabSz="871850" rtl="0" eaLnBrk="1" latinLnBrk="1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705359" indent="-217962" algn="l" defTabSz="871850" rtl="0" eaLnBrk="1" latinLnBrk="1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87185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35925" algn="l" defTabSz="87185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71850" algn="l" defTabSz="87185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07773" algn="l" defTabSz="87185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43698" algn="l" defTabSz="87185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179623" algn="l" defTabSz="87185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15548" algn="l" defTabSz="87185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51471" algn="l" defTabSz="87185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87400" algn="l" defTabSz="87185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</p:sldLayoutIdLst>
  <p:hf hdr="0" ftr="0" dt="0"/>
  <p:txStyles>
    <p:titleStyle>
      <a:lvl1pPr algn="ctr" defTabSz="913985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744" indent="-342744" algn="l" defTabSz="913985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617" indent="-285621" algn="l" defTabSz="913985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485" indent="-228498" algn="l" defTabSz="913985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81" indent="-228498" algn="l" defTabSz="913985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473" indent="-228498" algn="l" defTabSz="913985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466" indent="-228498" algn="l" defTabSz="913985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62" indent="-228498" algn="l" defTabSz="913985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55" indent="-228498" algn="l" defTabSz="913985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8" indent="-228498" algn="l" defTabSz="913985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3985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4" algn="l" defTabSz="913985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5" algn="l" defTabSz="913985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82" algn="l" defTabSz="913985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7" algn="l" defTabSz="913985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70" algn="l" defTabSz="913985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64" algn="l" defTabSz="913985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56" algn="l" defTabSz="913985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51" algn="l" defTabSz="913985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" y="693"/>
            <a:ext cx="10387751" cy="7257341"/>
          </a:xfrm>
          <a:prstGeom prst="rect">
            <a:avLst/>
          </a:prstGeom>
        </p:spPr>
      </p:pic>
      <p:sp>
        <p:nvSpPr>
          <p:cNvPr id="7" name="직사각형 6"/>
          <p:cNvSpPr/>
          <p:nvPr userDrawn="1"/>
        </p:nvSpPr>
        <p:spPr>
          <a:xfrm>
            <a:off x="9079046" y="29012"/>
            <a:ext cx="1277156" cy="265902"/>
          </a:xfrm>
          <a:prstGeom prst="rect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txBody>
          <a:bodyPr wrap="square" lIns="35906" tIns="35906" rIns="35906" bIns="35906" anchor="ctr" anchorCtr="0">
            <a:noAutofit/>
          </a:bodyPr>
          <a:lstStyle/>
          <a:p>
            <a:pPr algn="ctr"/>
            <a:r>
              <a:rPr lang="ko-KR" altLang="en-US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사내교육용</a:t>
            </a:r>
            <a:r>
              <a:rPr lang="en-US" altLang="ko-KR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(</a:t>
            </a:r>
            <a:r>
              <a:rPr lang="ko-KR" altLang="en-US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대외비</a:t>
            </a:r>
            <a:r>
              <a:rPr lang="en-US" altLang="ko-KR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)</a:t>
            </a:r>
            <a:r>
              <a:rPr lang="ko-KR" altLang="en-US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나눔고딕" pitchFamily="50" charset="-127"/>
                <a:ea typeface="나눔고딕" pitchFamily="50" charset="-127"/>
              </a:rPr>
              <a:t> </a:t>
            </a:r>
          </a:p>
        </p:txBody>
      </p:sp>
      <p:sp>
        <p:nvSpPr>
          <p:cNvPr id="8" name="슬라이드 번호 개체 틀 2"/>
          <p:cNvSpPr txBox="1">
            <a:spLocks/>
          </p:cNvSpPr>
          <p:nvPr userDrawn="1"/>
        </p:nvSpPr>
        <p:spPr>
          <a:xfrm>
            <a:off x="9691481" y="6967999"/>
            <a:ext cx="631527" cy="322319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912025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18B652-5059-46A7-89D9-3F882A9610B1}" type="slidenum">
              <a:rPr kumimoji="0" lang="en-US" altLang="ko-KR" sz="1200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pPr marL="0" marR="0" lvl="0" indent="0" algn="r" defTabSz="912025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2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</p:sldLayoutIdLst>
  <p:hf hdr="0" ftr="0" dt="0"/>
  <p:txStyles>
    <p:titleStyle>
      <a:lvl1pPr algn="ctr" defTabSz="872703" rtl="0" eaLnBrk="1" latinLnBrk="1" hangingPunct="1">
        <a:spcBef>
          <a:spcPct val="0"/>
        </a:spcBef>
        <a:buNone/>
        <a:defRPr sz="4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7264" indent="-327264" algn="l" defTabSz="872703" rtl="0" eaLnBrk="1" latinLnBrk="1" hangingPunct="1">
        <a:spcBef>
          <a:spcPct val="20000"/>
        </a:spcBef>
        <a:buFont typeface="Arial" pitchFamily="34" charset="0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1pPr>
      <a:lvl2pPr marL="709072" indent="-272720" algn="l" defTabSz="872703" rtl="0" eaLnBrk="1" latinLnBrk="1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90879" indent="-218175" algn="l" defTabSz="872703" rtl="0" eaLnBrk="1" latinLnBrk="1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527230" indent="-218175" algn="l" defTabSz="872703" rtl="0" eaLnBrk="1" latinLnBrk="1" hangingPunct="1">
        <a:spcBef>
          <a:spcPct val="20000"/>
        </a:spcBef>
        <a:buFont typeface="Arial" pitchFamily="34" charset="0"/>
        <a:buChar char="–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63582" indent="-218175" algn="l" defTabSz="872703" rtl="0" eaLnBrk="1" latinLnBrk="1" hangingPunct="1">
        <a:spcBef>
          <a:spcPct val="20000"/>
        </a:spcBef>
        <a:buFont typeface="Arial" pitchFamily="34" charset="0"/>
        <a:buChar char="»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9933" indent="-218175" algn="l" defTabSz="872703" rtl="0" eaLnBrk="1" latinLnBrk="1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36285" indent="-218175" algn="l" defTabSz="872703" rtl="0" eaLnBrk="1" latinLnBrk="1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72636" indent="-218175" algn="l" defTabSz="872703" rtl="0" eaLnBrk="1" latinLnBrk="1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708988" indent="-218175" algn="l" defTabSz="872703" rtl="0" eaLnBrk="1" latinLnBrk="1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87270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36352" algn="l" defTabSz="87270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72703" algn="l" defTabSz="87270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09054" algn="l" defTabSz="87270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45406" algn="l" defTabSz="87270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181757" algn="l" defTabSz="87270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18109" algn="l" defTabSz="87270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54461" algn="l" defTabSz="87270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90812" algn="l" defTabSz="872703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그림 8"/>
          <p:cNvPicPr>
            <a:picLocks noChangeAspect="1"/>
          </p:cNvPicPr>
          <p:nvPr userDrawn="1"/>
        </p:nvPicPr>
        <p:blipFill>
          <a:blip r:embed="rId5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09" y="34748"/>
            <a:ext cx="746500" cy="737604"/>
          </a:xfrm>
          <a:prstGeom prst="rect">
            <a:avLst/>
          </a:prstGeom>
        </p:spPr>
      </p:pic>
      <p:pic>
        <p:nvPicPr>
          <p:cNvPr id="2" name="그림 1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912" y="3"/>
            <a:ext cx="10387751" cy="7257341"/>
          </a:xfrm>
          <a:prstGeom prst="rect">
            <a:avLst/>
          </a:prstGeom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9823172" y="6956145"/>
            <a:ext cx="577827" cy="251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5407" tIns="47704" rIns="95407" bIns="47704"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marL="0" marR="0" lvl="0" indent="0" algn="r" defTabSz="95461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535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fld id="{16B1565D-7790-4B20-9C8C-6E71895AF331}" type="slidenum">
              <a:rPr kumimoji="0" lang="ko-KR" altLang="en-US" sz="1535" b="1" i="0" u="none" strike="noStrike" kern="1200" cap="none" spc="0" normalizeH="0" baseline="0" noProof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pPr marL="0" marR="0" lvl="0" indent="0" algn="r" defTabSz="954613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535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pic>
        <p:nvPicPr>
          <p:cNvPr id="13" name="그림 12" descr="그림5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0396" y="103838"/>
            <a:ext cx="876017" cy="350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22081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</p:sldLayoutIdLst>
  <p:hf hdr="0" ftr="0" dt="0"/>
  <p:txStyles>
    <p:titleStyle>
      <a:lvl1pPr algn="ctr" defTabSz="954613" rtl="0" eaLnBrk="1" latinLnBrk="1" hangingPunct="1">
        <a:spcBef>
          <a:spcPct val="0"/>
        </a:spcBef>
        <a:buNone/>
        <a:defRPr sz="460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7979" indent="-357979" algn="l" defTabSz="954613" rtl="0" eaLnBrk="1" latinLnBrk="1" hangingPunct="1">
        <a:spcBef>
          <a:spcPct val="20000"/>
        </a:spcBef>
        <a:buFont typeface="Arial" pitchFamily="34" charset="0"/>
        <a:buChar char="•"/>
        <a:defRPr sz="3358" kern="1200">
          <a:solidFill>
            <a:schemeClr val="tx1"/>
          </a:solidFill>
          <a:latin typeface="+mn-lt"/>
          <a:ea typeface="+mn-ea"/>
          <a:cs typeface="+mn-cs"/>
        </a:defRPr>
      </a:lvl1pPr>
      <a:lvl2pPr marL="775620" indent="-298319" algn="l" defTabSz="954613" rtl="0" eaLnBrk="1" latinLnBrk="1" hangingPunct="1">
        <a:spcBef>
          <a:spcPct val="20000"/>
        </a:spcBef>
        <a:buFont typeface="Arial" pitchFamily="34" charset="0"/>
        <a:buChar char="–"/>
        <a:defRPr sz="2879" kern="1200">
          <a:solidFill>
            <a:schemeClr val="tx1"/>
          </a:solidFill>
          <a:latin typeface="+mn-lt"/>
          <a:ea typeface="+mn-ea"/>
          <a:cs typeface="+mn-cs"/>
        </a:defRPr>
      </a:lvl2pPr>
      <a:lvl3pPr marL="1193266" indent="-238654" algn="l" defTabSz="954613" rtl="0" eaLnBrk="1" latinLnBrk="1" hangingPunct="1">
        <a:spcBef>
          <a:spcPct val="20000"/>
        </a:spcBef>
        <a:buFont typeface="Arial" pitchFamily="34" charset="0"/>
        <a:buChar char="•"/>
        <a:defRPr sz="2495" kern="1200">
          <a:solidFill>
            <a:schemeClr val="tx1"/>
          </a:solidFill>
          <a:latin typeface="+mn-lt"/>
          <a:ea typeface="+mn-ea"/>
          <a:cs typeface="+mn-cs"/>
        </a:defRPr>
      </a:lvl3pPr>
      <a:lvl4pPr marL="1670567" indent="-238654" algn="l" defTabSz="954613" rtl="0" eaLnBrk="1" latinLnBrk="1" hangingPunct="1">
        <a:spcBef>
          <a:spcPct val="20000"/>
        </a:spcBef>
        <a:buFont typeface="Arial" pitchFamily="34" charset="0"/>
        <a:buChar char="–"/>
        <a:defRPr sz="2111" kern="1200">
          <a:solidFill>
            <a:schemeClr val="tx1"/>
          </a:solidFill>
          <a:latin typeface="+mn-lt"/>
          <a:ea typeface="+mn-ea"/>
          <a:cs typeface="+mn-cs"/>
        </a:defRPr>
      </a:lvl4pPr>
      <a:lvl5pPr marL="2147871" indent="-238654" algn="l" defTabSz="954613" rtl="0" eaLnBrk="1" latinLnBrk="1" hangingPunct="1">
        <a:spcBef>
          <a:spcPct val="20000"/>
        </a:spcBef>
        <a:buFont typeface="Arial" pitchFamily="34" charset="0"/>
        <a:buChar char="»"/>
        <a:defRPr sz="2111" kern="1200">
          <a:solidFill>
            <a:schemeClr val="tx1"/>
          </a:solidFill>
          <a:latin typeface="+mn-lt"/>
          <a:ea typeface="+mn-ea"/>
          <a:cs typeface="+mn-cs"/>
        </a:defRPr>
      </a:lvl5pPr>
      <a:lvl6pPr marL="2625178" indent="-238654" algn="l" defTabSz="954613" rtl="0" eaLnBrk="1" latinLnBrk="1" hangingPunct="1">
        <a:spcBef>
          <a:spcPct val="20000"/>
        </a:spcBef>
        <a:buFont typeface="Arial" pitchFamily="34" charset="0"/>
        <a:buChar char="•"/>
        <a:defRPr sz="2111" kern="1200">
          <a:solidFill>
            <a:schemeClr val="tx1"/>
          </a:solidFill>
          <a:latin typeface="+mn-lt"/>
          <a:ea typeface="+mn-ea"/>
          <a:cs typeface="+mn-cs"/>
        </a:defRPr>
      </a:lvl6pPr>
      <a:lvl7pPr marL="3102482" indent="-238654" algn="l" defTabSz="954613" rtl="0" eaLnBrk="1" latinLnBrk="1" hangingPunct="1">
        <a:spcBef>
          <a:spcPct val="20000"/>
        </a:spcBef>
        <a:buFont typeface="Arial" pitchFamily="34" charset="0"/>
        <a:buChar char="•"/>
        <a:defRPr sz="2111" kern="1200">
          <a:solidFill>
            <a:schemeClr val="tx1"/>
          </a:solidFill>
          <a:latin typeface="+mn-lt"/>
          <a:ea typeface="+mn-ea"/>
          <a:cs typeface="+mn-cs"/>
        </a:defRPr>
      </a:lvl7pPr>
      <a:lvl8pPr marL="3579786" indent="-238654" algn="l" defTabSz="954613" rtl="0" eaLnBrk="1" latinLnBrk="1" hangingPunct="1">
        <a:spcBef>
          <a:spcPct val="20000"/>
        </a:spcBef>
        <a:buFont typeface="Arial" pitchFamily="34" charset="0"/>
        <a:buChar char="•"/>
        <a:defRPr sz="2111" kern="1200">
          <a:solidFill>
            <a:schemeClr val="tx1"/>
          </a:solidFill>
          <a:latin typeface="+mn-lt"/>
          <a:ea typeface="+mn-ea"/>
          <a:cs typeface="+mn-cs"/>
        </a:defRPr>
      </a:lvl8pPr>
      <a:lvl9pPr marL="4057093" indent="-238654" algn="l" defTabSz="954613" rtl="0" eaLnBrk="1" latinLnBrk="1" hangingPunct="1">
        <a:spcBef>
          <a:spcPct val="20000"/>
        </a:spcBef>
        <a:buFont typeface="Arial" pitchFamily="34" charset="0"/>
        <a:buChar char="•"/>
        <a:defRPr sz="211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54613" rtl="0" eaLnBrk="1" latinLnBrk="1" hangingPunct="1">
        <a:defRPr sz="1919" kern="1200">
          <a:solidFill>
            <a:schemeClr val="tx1"/>
          </a:solidFill>
          <a:latin typeface="+mn-lt"/>
          <a:ea typeface="+mn-ea"/>
          <a:cs typeface="+mn-cs"/>
        </a:defRPr>
      </a:lvl1pPr>
      <a:lvl2pPr marL="477307" algn="l" defTabSz="954613" rtl="0" eaLnBrk="1" latinLnBrk="1" hangingPunct="1">
        <a:defRPr sz="1919" kern="1200">
          <a:solidFill>
            <a:schemeClr val="tx1"/>
          </a:solidFill>
          <a:latin typeface="+mn-lt"/>
          <a:ea typeface="+mn-ea"/>
          <a:cs typeface="+mn-cs"/>
        </a:defRPr>
      </a:lvl2pPr>
      <a:lvl3pPr marL="954613" algn="l" defTabSz="954613" rtl="0" eaLnBrk="1" latinLnBrk="1" hangingPunct="1">
        <a:defRPr sz="1919" kern="1200">
          <a:solidFill>
            <a:schemeClr val="tx1"/>
          </a:solidFill>
          <a:latin typeface="+mn-lt"/>
          <a:ea typeface="+mn-ea"/>
          <a:cs typeface="+mn-cs"/>
        </a:defRPr>
      </a:lvl3pPr>
      <a:lvl4pPr marL="1431916" algn="l" defTabSz="954613" rtl="0" eaLnBrk="1" latinLnBrk="1" hangingPunct="1">
        <a:defRPr sz="1919" kern="1200">
          <a:solidFill>
            <a:schemeClr val="tx1"/>
          </a:solidFill>
          <a:latin typeface="+mn-lt"/>
          <a:ea typeface="+mn-ea"/>
          <a:cs typeface="+mn-cs"/>
        </a:defRPr>
      </a:lvl4pPr>
      <a:lvl5pPr marL="1909222" algn="l" defTabSz="954613" rtl="0" eaLnBrk="1" latinLnBrk="1" hangingPunct="1">
        <a:defRPr sz="1919" kern="1200">
          <a:solidFill>
            <a:schemeClr val="tx1"/>
          </a:solidFill>
          <a:latin typeface="+mn-lt"/>
          <a:ea typeface="+mn-ea"/>
          <a:cs typeface="+mn-cs"/>
        </a:defRPr>
      </a:lvl5pPr>
      <a:lvl6pPr marL="2386526" algn="l" defTabSz="954613" rtl="0" eaLnBrk="1" latinLnBrk="1" hangingPunct="1">
        <a:defRPr sz="1919" kern="1200">
          <a:solidFill>
            <a:schemeClr val="tx1"/>
          </a:solidFill>
          <a:latin typeface="+mn-lt"/>
          <a:ea typeface="+mn-ea"/>
          <a:cs typeface="+mn-cs"/>
        </a:defRPr>
      </a:lvl6pPr>
      <a:lvl7pPr marL="2863830" algn="l" defTabSz="954613" rtl="0" eaLnBrk="1" latinLnBrk="1" hangingPunct="1">
        <a:defRPr sz="1919" kern="1200">
          <a:solidFill>
            <a:schemeClr val="tx1"/>
          </a:solidFill>
          <a:latin typeface="+mn-lt"/>
          <a:ea typeface="+mn-ea"/>
          <a:cs typeface="+mn-cs"/>
        </a:defRPr>
      </a:lvl7pPr>
      <a:lvl8pPr marL="3341134" algn="l" defTabSz="954613" rtl="0" eaLnBrk="1" latinLnBrk="1" hangingPunct="1">
        <a:defRPr sz="1919" kern="1200">
          <a:solidFill>
            <a:schemeClr val="tx1"/>
          </a:solidFill>
          <a:latin typeface="+mn-lt"/>
          <a:ea typeface="+mn-ea"/>
          <a:cs typeface="+mn-cs"/>
        </a:defRPr>
      </a:lvl8pPr>
      <a:lvl9pPr marL="3818439" algn="l" defTabSz="954613" rtl="0" eaLnBrk="1" latinLnBrk="1" hangingPunct="1">
        <a:defRPr sz="191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그림 8"/>
          <p:cNvPicPr>
            <a:picLocks noChangeAspect="1"/>
          </p:cNvPicPr>
          <p:nvPr userDrawn="1"/>
        </p:nvPicPr>
        <p:blipFill>
          <a:blip r:embed="rId6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09" y="34748"/>
            <a:ext cx="746500" cy="737604"/>
          </a:xfrm>
          <a:prstGeom prst="rect">
            <a:avLst/>
          </a:prstGeom>
        </p:spPr>
      </p:pic>
      <p:pic>
        <p:nvPicPr>
          <p:cNvPr id="2" name="그림 1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912" y="3"/>
            <a:ext cx="10387751" cy="7257341"/>
          </a:xfrm>
          <a:prstGeom prst="rect">
            <a:avLst/>
          </a:prstGeom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9823172" y="6956145"/>
            <a:ext cx="577827" cy="251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5407" tIns="47704" rIns="95407" bIns="47704"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marL="0" marR="0" lvl="0" indent="0" algn="r" defTabSz="95461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535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t> </a:t>
            </a:r>
            <a:fld id="{16B1565D-7790-4B20-9C8C-6E71895AF331}" type="slidenum">
              <a:rPr kumimoji="0" lang="ko-KR" altLang="en-US" sz="1535" b="1" i="0" u="none" strike="noStrike" kern="1200" cap="none" spc="0" normalizeH="0" baseline="0" noProof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rPr>
              <a:pPr marL="0" marR="0" lvl="0" indent="0" algn="r" defTabSz="954613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ko-KR" sz="1535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75000"/>
                </a:srgbClr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pic>
        <p:nvPicPr>
          <p:cNvPr id="13" name="그림 12" descr="그림5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0396" y="103838"/>
            <a:ext cx="876017" cy="350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5087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</p:sldLayoutIdLst>
  <p:hf hdr="0" ftr="0" dt="0"/>
  <p:txStyles>
    <p:titleStyle>
      <a:lvl1pPr algn="ctr" defTabSz="954613" rtl="0" eaLnBrk="1" latinLnBrk="1" hangingPunct="1">
        <a:spcBef>
          <a:spcPct val="0"/>
        </a:spcBef>
        <a:buNone/>
        <a:defRPr sz="460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7979" indent="-357979" algn="l" defTabSz="954613" rtl="0" eaLnBrk="1" latinLnBrk="1" hangingPunct="1">
        <a:spcBef>
          <a:spcPct val="20000"/>
        </a:spcBef>
        <a:buFont typeface="Arial" pitchFamily="34" charset="0"/>
        <a:buChar char="•"/>
        <a:defRPr sz="3358" kern="1200">
          <a:solidFill>
            <a:schemeClr val="tx1"/>
          </a:solidFill>
          <a:latin typeface="+mn-lt"/>
          <a:ea typeface="+mn-ea"/>
          <a:cs typeface="+mn-cs"/>
        </a:defRPr>
      </a:lvl1pPr>
      <a:lvl2pPr marL="775620" indent="-298319" algn="l" defTabSz="954613" rtl="0" eaLnBrk="1" latinLnBrk="1" hangingPunct="1">
        <a:spcBef>
          <a:spcPct val="20000"/>
        </a:spcBef>
        <a:buFont typeface="Arial" pitchFamily="34" charset="0"/>
        <a:buChar char="–"/>
        <a:defRPr sz="2879" kern="1200">
          <a:solidFill>
            <a:schemeClr val="tx1"/>
          </a:solidFill>
          <a:latin typeface="+mn-lt"/>
          <a:ea typeface="+mn-ea"/>
          <a:cs typeface="+mn-cs"/>
        </a:defRPr>
      </a:lvl2pPr>
      <a:lvl3pPr marL="1193266" indent="-238654" algn="l" defTabSz="954613" rtl="0" eaLnBrk="1" latinLnBrk="1" hangingPunct="1">
        <a:spcBef>
          <a:spcPct val="20000"/>
        </a:spcBef>
        <a:buFont typeface="Arial" pitchFamily="34" charset="0"/>
        <a:buChar char="•"/>
        <a:defRPr sz="2495" kern="1200">
          <a:solidFill>
            <a:schemeClr val="tx1"/>
          </a:solidFill>
          <a:latin typeface="+mn-lt"/>
          <a:ea typeface="+mn-ea"/>
          <a:cs typeface="+mn-cs"/>
        </a:defRPr>
      </a:lvl3pPr>
      <a:lvl4pPr marL="1670567" indent="-238654" algn="l" defTabSz="954613" rtl="0" eaLnBrk="1" latinLnBrk="1" hangingPunct="1">
        <a:spcBef>
          <a:spcPct val="20000"/>
        </a:spcBef>
        <a:buFont typeface="Arial" pitchFamily="34" charset="0"/>
        <a:buChar char="–"/>
        <a:defRPr sz="2111" kern="1200">
          <a:solidFill>
            <a:schemeClr val="tx1"/>
          </a:solidFill>
          <a:latin typeface="+mn-lt"/>
          <a:ea typeface="+mn-ea"/>
          <a:cs typeface="+mn-cs"/>
        </a:defRPr>
      </a:lvl4pPr>
      <a:lvl5pPr marL="2147871" indent="-238654" algn="l" defTabSz="954613" rtl="0" eaLnBrk="1" latinLnBrk="1" hangingPunct="1">
        <a:spcBef>
          <a:spcPct val="20000"/>
        </a:spcBef>
        <a:buFont typeface="Arial" pitchFamily="34" charset="0"/>
        <a:buChar char="»"/>
        <a:defRPr sz="2111" kern="1200">
          <a:solidFill>
            <a:schemeClr val="tx1"/>
          </a:solidFill>
          <a:latin typeface="+mn-lt"/>
          <a:ea typeface="+mn-ea"/>
          <a:cs typeface="+mn-cs"/>
        </a:defRPr>
      </a:lvl5pPr>
      <a:lvl6pPr marL="2625178" indent="-238654" algn="l" defTabSz="954613" rtl="0" eaLnBrk="1" latinLnBrk="1" hangingPunct="1">
        <a:spcBef>
          <a:spcPct val="20000"/>
        </a:spcBef>
        <a:buFont typeface="Arial" pitchFamily="34" charset="0"/>
        <a:buChar char="•"/>
        <a:defRPr sz="2111" kern="1200">
          <a:solidFill>
            <a:schemeClr val="tx1"/>
          </a:solidFill>
          <a:latin typeface="+mn-lt"/>
          <a:ea typeface="+mn-ea"/>
          <a:cs typeface="+mn-cs"/>
        </a:defRPr>
      </a:lvl6pPr>
      <a:lvl7pPr marL="3102482" indent="-238654" algn="l" defTabSz="954613" rtl="0" eaLnBrk="1" latinLnBrk="1" hangingPunct="1">
        <a:spcBef>
          <a:spcPct val="20000"/>
        </a:spcBef>
        <a:buFont typeface="Arial" pitchFamily="34" charset="0"/>
        <a:buChar char="•"/>
        <a:defRPr sz="2111" kern="1200">
          <a:solidFill>
            <a:schemeClr val="tx1"/>
          </a:solidFill>
          <a:latin typeface="+mn-lt"/>
          <a:ea typeface="+mn-ea"/>
          <a:cs typeface="+mn-cs"/>
        </a:defRPr>
      </a:lvl7pPr>
      <a:lvl8pPr marL="3579786" indent="-238654" algn="l" defTabSz="954613" rtl="0" eaLnBrk="1" latinLnBrk="1" hangingPunct="1">
        <a:spcBef>
          <a:spcPct val="20000"/>
        </a:spcBef>
        <a:buFont typeface="Arial" pitchFamily="34" charset="0"/>
        <a:buChar char="•"/>
        <a:defRPr sz="2111" kern="1200">
          <a:solidFill>
            <a:schemeClr val="tx1"/>
          </a:solidFill>
          <a:latin typeface="+mn-lt"/>
          <a:ea typeface="+mn-ea"/>
          <a:cs typeface="+mn-cs"/>
        </a:defRPr>
      </a:lvl8pPr>
      <a:lvl9pPr marL="4057093" indent="-238654" algn="l" defTabSz="954613" rtl="0" eaLnBrk="1" latinLnBrk="1" hangingPunct="1">
        <a:spcBef>
          <a:spcPct val="20000"/>
        </a:spcBef>
        <a:buFont typeface="Arial" pitchFamily="34" charset="0"/>
        <a:buChar char="•"/>
        <a:defRPr sz="211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54613" rtl="0" eaLnBrk="1" latinLnBrk="1" hangingPunct="1">
        <a:defRPr sz="1919" kern="1200">
          <a:solidFill>
            <a:schemeClr val="tx1"/>
          </a:solidFill>
          <a:latin typeface="+mn-lt"/>
          <a:ea typeface="+mn-ea"/>
          <a:cs typeface="+mn-cs"/>
        </a:defRPr>
      </a:lvl1pPr>
      <a:lvl2pPr marL="477307" algn="l" defTabSz="954613" rtl="0" eaLnBrk="1" latinLnBrk="1" hangingPunct="1">
        <a:defRPr sz="1919" kern="1200">
          <a:solidFill>
            <a:schemeClr val="tx1"/>
          </a:solidFill>
          <a:latin typeface="+mn-lt"/>
          <a:ea typeface="+mn-ea"/>
          <a:cs typeface="+mn-cs"/>
        </a:defRPr>
      </a:lvl2pPr>
      <a:lvl3pPr marL="954613" algn="l" defTabSz="954613" rtl="0" eaLnBrk="1" latinLnBrk="1" hangingPunct="1">
        <a:defRPr sz="1919" kern="1200">
          <a:solidFill>
            <a:schemeClr val="tx1"/>
          </a:solidFill>
          <a:latin typeface="+mn-lt"/>
          <a:ea typeface="+mn-ea"/>
          <a:cs typeface="+mn-cs"/>
        </a:defRPr>
      </a:lvl3pPr>
      <a:lvl4pPr marL="1431916" algn="l" defTabSz="954613" rtl="0" eaLnBrk="1" latinLnBrk="1" hangingPunct="1">
        <a:defRPr sz="1919" kern="1200">
          <a:solidFill>
            <a:schemeClr val="tx1"/>
          </a:solidFill>
          <a:latin typeface="+mn-lt"/>
          <a:ea typeface="+mn-ea"/>
          <a:cs typeface="+mn-cs"/>
        </a:defRPr>
      </a:lvl4pPr>
      <a:lvl5pPr marL="1909222" algn="l" defTabSz="954613" rtl="0" eaLnBrk="1" latinLnBrk="1" hangingPunct="1">
        <a:defRPr sz="1919" kern="1200">
          <a:solidFill>
            <a:schemeClr val="tx1"/>
          </a:solidFill>
          <a:latin typeface="+mn-lt"/>
          <a:ea typeface="+mn-ea"/>
          <a:cs typeface="+mn-cs"/>
        </a:defRPr>
      </a:lvl5pPr>
      <a:lvl6pPr marL="2386526" algn="l" defTabSz="954613" rtl="0" eaLnBrk="1" latinLnBrk="1" hangingPunct="1">
        <a:defRPr sz="1919" kern="1200">
          <a:solidFill>
            <a:schemeClr val="tx1"/>
          </a:solidFill>
          <a:latin typeface="+mn-lt"/>
          <a:ea typeface="+mn-ea"/>
          <a:cs typeface="+mn-cs"/>
        </a:defRPr>
      </a:lvl6pPr>
      <a:lvl7pPr marL="2863830" algn="l" defTabSz="954613" rtl="0" eaLnBrk="1" latinLnBrk="1" hangingPunct="1">
        <a:defRPr sz="1919" kern="1200">
          <a:solidFill>
            <a:schemeClr val="tx1"/>
          </a:solidFill>
          <a:latin typeface="+mn-lt"/>
          <a:ea typeface="+mn-ea"/>
          <a:cs typeface="+mn-cs"/>
        </a:defRPr>
      </a:lvl7pPr>
      <a:lvl8pPr marL="3341134" algn="l" defTabSz="954613" rtl="0" eaLnBrk="1" latinLnBrk="1" hangingPunct="1">
        <a:defRPr sz="1919" kern="1200">
          <a:solidFill>
            <a:schemeClr val="tx1"/>
          </a:solidFill>
          <a:latin typeface="+mn-lt"/>
          <a:ea typeface="+mn-ea"/>
          <a:cs typeface="+mn-cs"/>
        </a:defRPr>
      </a:lvl8pPr>
      <a:lvl9pPr marL="3818439" algn="l" defTabSz="954613" rtl="0" eaLnBrk="1" latinLnBrk="1" hangingPunct="1">
        <a:defRPr sz="191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 userDrawn="1"/>
        </p:nvSpPr>
        <p:spPr>
          <a:xfrm>
            <a:off x="88153" y="6985351"/>
            <a:ext cx="6777856" cy="2400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5471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※ </a:t>
            </a:r>
            <a:r>
              <a:rPr kumimoji="0" lang="ko-KR" altLang="en-US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본 자료는 컨설턴트 교육용으로 </a:t>
            </a:r>
            <a:r>
              <a:rPr kumimoji="0" lang="ko-KR" altLang="en-US" sz="960" b="1" i="0" u="none" strike="noStrike" kern="1200" cap="none" spc="0" normalizeH="0" baseline="0" noProof="0" dirty="0" err="1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환급금</a:t>
            </a:r>
            <a:r>
              <a:rPr kumimoji="0" lang="ko-KR" altLang="en-US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 및 보험금 지급의 근거가 될 수 없으며 고객안내자료로 활용할 수 없습니다</a:t>
            </a:r>
            <a:r>
              <a:rPr kumimoji="0" lang="en-US" altLang="ko-KR" sz="96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rPr>
              <a:t>.</a:t>
            </a:r>
            <a:endParaRPr kumimoji="0" lang="ko-KR" altLang="en-US" sz="960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교보서체 Bold" panose="020B0600000101010101" pitchFamily="50" charset="-127"/>
              <a:ea typeface="교보서체 Bold" panose="020B0600000101010101" pitchFamily="50" charset="-127"/>
              <a:cs typeface="+mn-cs"/>
            </a:endParaRPr>
          </a:p>
        </p:txBody>
      </p:sp>
      <p:grpSp>
        <p:nvGrpSpPr>
          <p:cNvPr id="4" name="그룹 3"/>
          <p:cNvGrpSpPr/>
          <p:nvPr userDrawn="1"/>
        </p:nvGrpSpPr>
        <p:grpSpPr>
          <a:xfrm>
            <a:off x="8309742" y="105456"/>
            <a:ext cx="1963165" cy="234671"/>
            <a:chOff x="8353635" y="186085"/>
            <a:chExt cx="2020790" cy="244530"/>
          </a:xfrm>
        </p:grpSpPr>
        <p:sp>
          <p:nvSpPr>
            <p:cNvPr id="6" name="모서리가 둥근 직사각형 5"/>
            <p:cNvSpPr/>
            <p:nvPr/>
          </p:nvSpPr>
          <p:spPr>
            <a:xfrm>
              <a:off x="8353635" y="186085"/>
              <a:ext cx="2020790" cy="244530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18000" rIns="36000" bIns="18000" rtlCol="0" anchor="ctr">
              <a:spAutoFit/>
            </a:bodyPr>
            <a:lstStyle/>
            <a:p>
              <a:pPr marL="0" marR="0" lvl="0" indent="0" algn="r" defTabSz="87755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152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>
                      <a:lumMod val="50000"/>
                    </a:srgbClr>
                  </a:solidFill>
                  <a:effectLst/>
                  <a:uLnTx/>
                  <a:uFillTx/>
                  <a:latin typeface="교보서체 Bold" panose="020B0600000101010101" pitchFamily="50" charset="-127"/>
                  <a:ea typeface="교보서체 Bold" panose="020B0600000101010101" pitchFamily="50" charset="-127"/>
                  <a:cs typeface="+mn-cs"/>
                </a:rPr>
                <a:t>고객제시불가</a:t>
              </a:r>
            </a:p>
          </p:txBody>
        </p:sp>
        <p:sp>
          <p:nvSpPr>
            <p:cNvPr id="7" name="모서리가 둥근 직사각형 6"/>
            <p:cNvSpPr/>
            <p:nvPr/>
          </p:nvSpPr>
          <p:spPr>
            <a:xfrm>
              <a:off x="8353635" y="186085"/>
              <a:ext cx="1045030" cy="244530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 w="12700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18000" rIns="0" bIns="18000" rtlCol="0" anchor="ctr">
              <a:spAutoFit/>
            </a:bodyPr>
            <a:lstStyle/>
            <a:p>
              <a:pPr marL="0" marR="0" lvl="0" indent="0" algn="ctr" defTabSz="87755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152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교보서체 Bold" panose="020B0600000101010101" pitchFamily="50" charset="-127"/>
                  <a:ea typeface="교보서체 Bold" panose="020B0600000101010101" pitchFamily="50" charset="-127"/>
                  <a:cs typeface="+mn-cs"/>
                </a:rPr>
                <a:t>FP</a:t>
              </a:r>
              <a:r>
                <a:rPr kumimoji="0" lang="ko-KR" altLang="en-US" sz="1152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교보서체 Bold" panose="020B0600000101010101" pitchFamily="50" charset="-127"/>
                  <a:ea typeface="교보서체 Bold" panose="020B0600000101010101" pitchFamily="50" charset="-127"/>
                  <a:cs typeface="+mn-cs"/>
                </a:rPr>
                <a:t>교육용자료</a:t>
              </a:r>
              <a:endParaRPr kumimoji="0" lang="ko-KR" altLang="en-US" sz="1152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교보서체 Bold" panose="020B0600000101010101" pitchFamily="50" charset="-127"/>
                <a:ea typeface="교보서체 Bold" panose="020B0600000101010101" pitchFamily="50" charset="-127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164376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</p:sldLayoutIdLst>
  <p:hf hdr="0" ftr="0" dt="0"/>
  <p:txStyles>
    <p:titleStyle>
      <a:lvl1pPr algn="ctr" defTabSz="778657" rtl="0" eaLnBrk="1" latinLnBrk="1" hangingPunct="1">
        <a:spcBef>
          <a:spcPct val="0"/>
        </a:spcBef>
        <a:buNone/>
        <a:defRPr sz="375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1995" indent="-291995" algn="l" defTabSz="778657" rtl="0" eaLnBrk="1" latinLnBrk="1" hangingPunct="1">
        <a:spcBef>
          <a:spcPct val="20000"/>
        </a:spcBef>
        <a:buFont typeface="Arial" pitchFamily="34" charset="0"/>
        <a:buChar char="•"/>
        <a:defRPr sz="2739" kern="1200">
          <a:solidFill>
            <a:schemeClr val="tx1"/>
          </a:solidFill>
          <a:latin typeface="+mn-lt"/>
          <a:ea typeface="+mn-ea"/>
          <a:cs typeface="+mn-cs"/>
        </a:defRPr>
      </a:lvl1pPr>
      <a:lvl2pPr marL="632657" indent="-243333" algn="l" defTabSz="778657" rtl="0" eaLnBrk="1" latinLnBrk="1" hangingPunct="1">
        <a:spcBef>
          <a:spcPct val="20000"/>
        </a:spcBef>
        <a:buFont typeface="Arial" pitchFamily="34" charset="0"/>
        <a:buChar char="–"/>
        <a:defRPr sz="2347" kern="1200">
          <a:solidFill>
            <a:schemeClr val="tx1"/>
          </a:solidFill>
          <a:latin typeface="+mn-lt"/>
          <a:ea typeface="+mn-ea"/>
          <a:cs typeface="+mn-cs"/>
        </a:defRPr>
      </a:lvl2pPr>
      <a:lvl3pPr marL="973321" indent="-194665" algn="l" defTabSz="778657" rtl="0" eaLnBrk="1" latinLnBrk="1" hangingPunct="1">
        <a:spcBef>
          <a:spcPct val="20000"/>
        </a:spcBef>
        <a:buFont typeface="Arial" pitchFamily="34" charset="0"/>
        <a:buChar char="•"/>
        <a:defRPr sz="2035" kern="1200">
          <a:solidFill>
            <a:schemeClr val="tx1"/>
          </a:solidFill>
          <a:latin typeface="+mn-lt"/>
          <a:ea typeface="+mn-ea"/>
          <a:cs typeface="+mn-cs"/>
        </a:defRPr>
      </a:lvl3pPr>
      <a:lvl4pPr marL="1362645" indent="-194665" algn="l" defTabSz="778657" rtl="0" eaLnBrk="1" latinLnBrk="1" hangingPunct="1">
        <a:spcBef>
          <a:spcPct val="20000"/>
        </a:spcBef>
        <a:buFont typeface="Arial" pitchFamily="34" charset="0"/>
        <a:buChar char="–"/>
        <a:defRPr sz="1722" kern="1200">
          <a:solidFill>
            <a:schemeClr val="tx1"/>
          </a:solidFill>
          <a:latin typeface="+mn-lt"/>
          <a:ea typeface="+mn-ea"/>
          <a:cs typeface="+mn-cs"/>
        </a:defRPr>
      </a:lvl4pPr>
      <a:lvl5pPr marL="1751972" indent="-194665" algn="l" defTabSz="778657" rtl="0" eaLnBrk="1" latinLnBrk="1" hangingPunct="1">
        <a:spcBef>
          <a:spcPct val="20000"/>
        </a:spcBef>
        <a:buFont typeface="Arial" pitchFamily="34" charset="0"/>
        <a:buChar char="»"/>
        <a:defRPr sz="1722" kern="1200">
          <a:solidFill>
            <a:schemeClr val="tx1"/>
          </a:solidFill>
          <a:latin typeface="+mn-lt"/>
          <a:ea typeface="+mn-ea"/>
          <a:cs typeface="+mn-cs"/>
        </a:defRPr>
      </a:lvl5pPr>
      <a:lvl6pPr marL="2141300" indent="-194665" algn="l" defTabSz="778657" rtl="0" eaLnBrk="1" latinLnBrk="1" hangingPunct="1">
        <a:spcBef>
          <a:spcPct val="20000"/>
        </a:spcBef>
        <a:buFont typeface="Arial" pitchFamily="34" charset="0"/>
        <a:buChar char="•"/>
        <a:defRPr sz="1722" kern="1200">
          <a:solidFill>
            <a:schemeClr val="tx1"/>
          </a:solidFill>
          <a:latin typeface="+mn-lt"/>
          <a:ea typeface="+mn-ea"/>
          <a:cs typeface="+mn-cs"/>
        </a:defRPr>
      </a:lvl6pPr>
      <a:lvl7pPr marL="2530627" indent="-194665" algn="l" defTabSz="778657" rtl="0" eaLnBrk="1" latinLnBrk="1" hangingPunct="1">
        <a:spcBef>
          <a:spcPct val="20000"/>
        </a:spcBef>
        <a:buFont typeface="Arial" pitchFamily="34" charset="0"/>
        <a:buChar char="•"/>
        <a:defRPr sz="1722" kern="1200">
          <a:solidFill>
            <a:schemeClr val="tx1"/>
          </a:solidFill>
          <a:latin typeface="+mn-lt"/>
          <a:ea typeface="+mn-ea"/>
          <a:cs typeface="+mn-cs"/>
        </a:defRPr>
      </a:lvl7pPr>
      <a:lvl8pPr marL="2919953" indent="-194665" algn="l" defTabSz="778657" rtl="0" eaLnBrk="1" latinLnBrk="1" hangingPunct="1">
        <a:spcBef>
          <a:spcPct val="20000"/>
        </a:spcBef>
        <a:buFont typeface="Arial" pitchFamily="34" charset="0"/>
        <a:buChar char="•"/>
        <a:defRPr sz="1722" kern="1200">
          <a:solidFill>
            <a:schemeClr val="tx1"/>
          </a:solidFill>
          <a:latin typeface="+mn-lt"/>
          <a:ea typeface="+mn-ea"/>
          <a:cs typeface="+mn-cs"/>
        </a:defRPr>
      </a:lvl8pPr>
      <a:lvl9pPr marL="3309283" indent="-194665" algn="l" defTabSz="778657" rtl="0" eaLnBrk="1" latinLnBrk="1" hangingPunct="1">
        <a:spcBef>
          <a:spcPct val="20000"/>
        </a:spcBef>
        <a:buFont typeface="Arial" pitchFamily="34" charset="0"/>
        <a:buChar char="•"/>
        <a:defRPr sz="172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778657" rtl="0" eaLnBrk="1" latinLnBrk="1" hangingPunct="1">
        <a:defRPr sz="1565" kern="1200">
          <a:solidFill>
            <a:schemeClr val="tx1"/>
          </a:solidFill>
          <a:latin typeface="+mn-lt"/>
          <a:ea typeface="+mn-ea"/>
          <a:cs typeface="+mn-cs"/>
        </a:defRPr>
      </a:lvl1pPr>
      <a:lvl2pPr marL="389329" algn="l" defTabSz="778657" rtl="0" eaLnBrk="1" latinLnBrk="1" hangingPunct="1">
        <a:defRPr sz="1565" kern="1200">
          <a:solidFill>
            <a:schemeClr val="tx1"/>
          </a:solidFill>
          <a:latin typeface="+mn-lt"/>
          <a:ea typeface="+mn-ea"/>
          <a:cs typeface="+mn-cs"/>
        </a:defRPr>
      </a:lvl2pPr>
      <a:lvl3pPr marL="778657" algn="l" defTabSz="778657" rtl="0" eaLnBrk="1" latinLnBrk="1" hangingPunct="1">
        <a:defRPr sz="1565" kern="1200">
          <a:solidFill>
            <a:schemeClr val="tx1"/>
          </a:solidFill>
          <a:latin typeface="+mn-lt"/>
          <a:ea typeface="+mn-ea"/>
          <a:cs typeface="+mn-cs"/>
        </a:defRPr>
      </a:lvl3pPr>
      <a:lvl4pPr marL="1167983" algn="l" defTabSz="778657" rtl="0" eaLnBrk="1" latinLnBrk="1" hangingPunct="1">
        <a:defRPr sz="1565" kern="1200">
          <a:solidFill>
            <a:schemeClr val="tx1"/>
          </a:solidFill>
          <a:latin typeface="+mn-lt"/>
          <a:ea typeface="+mn-ea"/>
          <a:cs typeface="+mn-cs"/>
        </a:defRPr>
      </a:lvl4pPr>
      <a:lvl5pPr marL="1557311" algn="l" defTabSz="778657" rtl="0" eaLnBrk="1" latinLnBrk="1" hangingPunct="1">
        <a:defRPr sz="1565" kern="1200">
          <a:solidFill>
            <a:schemeClr val="tx1"/>
          </a:solidFill>
          <a:latin typeface="+mn-lt"/>
          <a:ea typeface="+mn-ea"/>
          <a:cs typeface="+mn-cs"/>
        </a:defRPr>
      </a:lvl5pPr>
      <a:lvl6pPr marL="1946637" algn="l" defTabSz="778657" rtl="0" eaLnBrk="1" latinLnBrk="1" hangingPunct="1">
        <a:defRPr sz="1565" kern="1200">
          <a:solidFill>
            <a:schemeClr val="tx1"/>
          </a:solidFill>
          <a:latin typeface="+mn-lt"/>
          <a:ea typeface="+mn-ea"/>
          <a:cs typeface="+mn-cs"/>
        </a:defRPr>
      </a:lvl6pPr>
      <a:lvl7pPr marL="2335965" algn="l" defTabSz="778657" rtl="0" eaLnBrk="1" latinLnBrk="1" hangingPunct="1">
        <a:defRPr sz="1565" kern="1200">
          <a:solidFill>
            <a:schemeClr val="tx1"/>
          </a:solidFill>
          <a:latin typeface="+mn-lt"/>
          <a:ea typeface="+mn-ea"/>
          <a:cs typeface="+mn-cs"/>
        </a:defRPr>
      </a:lvl7pPr>
      <a:lvl8pPr marL="2725291" algn="l" defTabSz="778657" rtl="0" eaLnBrk="1" latinLnBrk="1" hangingPunct="1">
        <a:defRPr sz="1565" kern="1200">
          <a:solidFill>
            <a:schemeClr val="tx1"/>
          </a:solidFill>
          <a:latin typeface="+mn-lt"/>
          <a:ea typeface="+mn-ea"/>
          <a:cs typeface="+mn-cs"/>
        </a:defRPr>
      </a:lvl8pPr>
      <a:lvl9pPr marL="3114618" algn="l" defTabSz="778657" rtl="0" eaLnBrk="1" latinLnBrk="1" hangingPunct="1">
        <a:defRPr sz="15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microsoft.com/office/2007/relationships/hdphoto" Target="../media/hdphoto2.wdp"/><Relationship Id="rId7" Type="http://schemas.openxmlformats.org/officeDocument/2006/relationships/image" Target="../media/image114.png"/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3.tmp"/><Relationship Id="rId5" Type="http://schemas.openxmlformats.org/officeDocument/2006/relationships/image" Target="../media/image112.tmp"/><Relationship Id="rId4" Type="http://schemas.openxmlformats.org/officeDocument/2006/relationships/image" Target="../media/image111.tmp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tmp"/><Relationship Id="rId7" Type="http://schemas.microsoft.com/office/2007/relationships/hdphoto" Target="../media/hdphoto5.wdp"/><Relationship Id="rId2" Type="http://schemas.openxmlformats.org/officeDocument/2006/relationships/image" Target="../media/image115.tmp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9.png"/><Relationship Id="rId5" Type="http://schemas.openxmlformats.org/officeDocument/2006/relationships/image" Target="../media/image118.tmp"/><Relationship Id="rId4" Type="http://schemas.openxmlformats.org/officeDocument/2006/relationships/image" Target="../media/image117.tmp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2" Type="http://schemas.openxmlformats.org/officeDocument/2006/relationships/image" Target="../media/image120.png"/><Relationship Id="rId1" Type="http://schemas.openxmlformats.org/officeDocument/2006/relationships/slideLayout" Target="../slideLayouts/slideLayout4.xml"/><Relationship Id="rId5" Type="http://schemas.microsoft.com/office/2007/relationships/hdphoto" Target="../media/hdphoto6.wdp"/><Relationship Id="rId4" Type="http://schemas.openxmlformats.org/officeDocument/2006/relationships/image" Target="../media/image12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7.png"/><Relationship Id="rId3" Type="http://schemas.openxmlformats.org/officeDocument/2006/relationships/image" Target="../media/image123.png"/><Relationship Id="rId7" Type="http://schemas.openxmlformats.org/officeDocument/2006/relationships/image" Target="../media/image12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25.png"/><Relationship Id="rId5" Type="http://schemas.openxmlformats.org/officeDocument/2006/relationships/image" Target="../media/image124.png"/><Relationship Id="rId4" Type="http://schemas.microsoft.com/office/2007/relationships/hdphoto" Target="../media/hdphoto7.wdp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4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4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4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4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6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4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png"/><Relationship Id="rId7" Type="http://schemas.openxmlformats.org/officeDocument/2006/relationships/image" Target="../media/image135.png"/><Relationship Id="rId2" Type="http://schemas.openxmlformats.org/officeDocument/2006/relationships/image" Target="../media/image130.png"/><Relationship Id="rId1" Type="http://schemas.openxmlformats.org/officeDocument/2006/relationships/slideLayout" Target="../slideLayouts/slideLayout346.xml"/><Relationship Id="rId6" Type="http://schemas.openxmlformats.org/officeDocument/2006/relationships/image" Target="../media/image134.png"/><Relationship Id="rId5" Type="http://schemas.openxmlformats.org/officeDocument/2006/relationships/image" Target="../media/image133.png"/><Relationship Id="rId4" Type="http://schemas.openxmlformats.org/officeDocument/2006/relationships/image" Target="../media/image132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6.png"/><Relationship Id="rId1" Type="http://schemas.openxmlformats.org/officeDocument/2006/relationships/slideLayout" Target="../slideLayouts/slideLayout34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7.png"/><Relationship Id="rId1" Type="http://schemas.openxmlformats.org/officeDocument/2006/relationships/slideLayout" Target="../slideLayouts/slideLayout34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8.png"/><Relationship Id="rId1" Type="http://schemas.openxmlformats.org/officeDocument/2006/relationships/slideLayout" Target="../slideLayouts/slideLayout34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8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4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tmp"/><Relationship Id="rId2" Type="http://schemas.openxmlformats.org/officeDocument/2006/relationships/image" Target="../media/image139.tmp"/><Relationship Id="rId1" Type="http://schemas.openxmlformats.org/officeDocument/2006/relationships/slideLayout" Target="../slideLayouts/slideLayout346.xml"/><Relationship Id="rId4" Type="http://schemas.openxmlformats.org/officeDocument/2006/relationships/image" Target="../media/image141.tmp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tmp"/><Relationship Id="rId2" Type="http://schemas.openxmlformats.org/officeDocument/2006/relationships/image" Target="../media/image142.tmp"/><Relationship Id="rId1" Type="http://schemas.openxmlformats.org/officeDocument/2006/relationships/slideLayout" Target="../slideLayouts/slideLayout346.xml"/><Relationship Id="rId6" Type="http://schemas.openxmlformats.org/officeDocument/2006/relationships/image" Target="../media/image146.tmp"/><Relationship Id="rId5" Type="http://schemas.openxmlformats.org/officeDocument/2006/relationships/image" Target="../media/image145.tmp"/><Relationship Id="rId4" Type="http://schemas.openxmlformats.org/officeDocument/2006/relationships/image" Target="../media/image144.tmp"/></Relationships>
</file>

<file path=ppt/slides/_rels/slide35.xml.rels><?xml version="1.0" encoding="UTF-8" standalone="yes"?>
<Relationships xmlns="http://schemas.openxmlformats.org/package/2006/relationships"><Relationship Id="rId3" Type="http://schemas.microsoft.com/office/2007/relationships/hdphoto" Target="../media/hdphoto8.wdp"/><Relationship Id="rId2" Type="http://schemas.openxmlformats.org/officeDocument/2006/relationships/image" Target="../media/image147.png"/><Relationship Id="rId1" Type="http://schemas.openxmlformats.org/officeDocument/2006/relationships/slideLayout" Target="../slideLayouts/slideLayout346.xml"/><Relationship Id="rId5" Type="http://schemas.openxmlformats.org/officeDocument/2006/relationships/image" Target="../media/image149.tmp"/><Relationship Id="rId4" Type="http://schemas.openxmlformats.org/officeDocument/2006/relationships/image" Target="../media/image148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1.png"/><Relationship Id="rId2" Type="http://schemas.openxmlformats.org/officeDocument/2006/relationships/image" Target="../media/image150.png"/><Relationship Id="rId1" Type="http://schemas.openxmlformats.org/officeDocument/2006/relationships/slideLayout" Target="../slideLayouts/slideLayout346.xml"/><Relationship Id="rId4" Type="http://schemas.openxmlformats.org/officeDocument/2006/relationships/image" Target="../media/image152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4.jpeg"/><Relationship Id="rId2" Type="http://schemas.openxmlformats.org/officeDocument/2006/relationships/image" Target="../media/image153.jpeg"/><Relationship Id="rId1" Type="http://schemas.openxmlformats.org/officeDocument/2006/relationships/slideLayout" Target="../slideLayouts/slideLayout346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6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155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4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6.xml"/></Relationships>
</file>

<file path=ppt/slides/_rels/slide41.xml.rels><?xml version="1.0" encoding="UTF-8" standalone="yes"?>
<Relationships xmlns="http://schemas.openxmlformats.org/package/2006/relationships"><Relationship Id="rId3" Type="http://schemas.microsoft.com/office/2007/relationships/hdphoto" Target="../media/hdphoto9.wdp"/><Relationship Id="rId2" Type="http://schemas.openxmlformats.org/officeDocument/2006/relationships/image" Target="../media/image157.png"/><Relationship Id="rId1" Type="http://schemas.openxmlformats.org/officeDocument/2006/relationships/slideLayout" Target="../slideLayouts/slideLayout346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6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6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158.png"/><Relationship Id="rId1" Type="http://schemas.openxmlformats.org/officeDocument/2006/relationships/slideLayout" Target="../slideLayouts/slideLayout346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110.png"/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4.xml"/><Relationship Id="rId6" Type="http://schemas.microsoft.com/office/2007/relationships/hdphoto" Target="../media/hdphoto3.wdp"/><Relationship Id="rId5" Type="http://schemas.openxmlformats.org/officeDocument/2006/relationships/image" Target="../media/image109.png"/><Relationship Id="rId4" Type="http://schemas.openxmlformats.org/officeDocument/2006/relationships/image" Target="../media/image10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그룹 12"/>
          <p:cNvGrpSpPr/>
          <p:nvPr/>
        </p:nvGrpSpPr>
        <p:grpSpPr>
          <a:xfrm>
            <a:off x="32608" y="6848943"/>
            <a:ext cx="5197019" cy="371562"/>
            <a:chOff x="1268399" y="5425030"/>
            <a:chExt cx="7408045" cy="659594"/>
          </a:xfrm>
        </p:grpSpPr>
        <p:sp>
          <p:nvSpPr>
            <p:cNvPr id="8" name="직사각형 7"/>
            <p:cNvSpPr/>
            <p:nvPr/>
          </p:nvSpPr>
          <p:spPr>
            <a:xfrm>
              <a:off x="1268399" y="5425030"/>
              <a:ext cx="7408045" cy="659594"/>
            </a:xfrm>
            <a:prstGeom prst="rect">
              <a:avLst/>
            </a:prstGeom>
            <a:ln w="12700">
              <a:solidFill>
                <a:schemeClr val="tx2">
                  <a:lumMod val="75000"/>
                </a:schemeClr>
              </a:solidFill>
            </a:ln>
          </p:spPr>
          <p:txBody>
            <a:bodyPr wrap="square" anchor="ctr" anchorCtr="0">
              <a:noAutofit/>
            </a:bodyPr>
            <a:lstStyle/>
            <a:p>
              <a:pPr>
                <a:defRPr/>
              </a:pPr>
              <a:r>
                <a:rPr lang="ko-KR" altLang="en-US" sz="1000" b="1" dirty="0">
                  <a:solidFill>
                    <a:srgbClr val="1F497D">
                      <a:lumMod val="50000"/>
                    </a:srgbClr>
                  </a:solidFill>
                  <a:latin typeface="나눔고딕" pitchFamily="50" charset="-127"/>
                  <a:ea typeface="나눔고딕" pitchFamily="50" charset="-127"/>
                </a:rPr>
                <a:t>             본 자료는 교육을 목적으로 한 자료로 고객에게 제시</a:t>
              </a:r>
              <a:r>
                <a:rPr lang="en-US" altLang="ko-KR" sz="1000" b="1" dirty="0">
                  <a:solidFill>
                    <a:srgbClr val="1F497D">
                      <a:lumMod val="50000"/>
                    </a:srgbClr>
                  </a:solidFill>
                  <a:latin typeface="나눔고딕" pitchFamily="50" charset="-127"/>
                  <a:ea typeface="나눔고딕" pitchFamily="50" charset="-127"/>
                </a:rPr>
                <a:t> · </a:t>
              </a:r>
              <a:r>
                <a:rPr lang="ko-KR" altLang="en-US" sz="1000" b="1" dirty="0">
                  <a:solidFill>
                    <a:srgbClr val="1F497D">
                      <a:lumMod val="50000"/>
                    </a:srgbClr>
                  </a:solidFill>
                  <a:latin typeface="나눔고딕" pitchFamily="50" charset="-127"/>
                  <a:ea typeface="나눔고딕" pitchFamily="50" charset="-127"/>
                </a:rPr>
                <a:t>교부해서 사용할 수 없습니다</a:t>
              </a:r>
              <a:r>
                <a:rPr lang="en-US" altLang="ko-KR" sz="1000" b="1" dirty="0">
                  <a:solidFill>
                    <a:srgbClr val="1F497D">
                      <a:lumMod val="50000"/>
                    </a:srgbClr>
                  </a:solidFill>
                  <a:latin typeface="나눔고딕" pitchFamily="50" charset="-127"/>
                  <a:ea typeface="나눔고딕" pitchFamily="50" charset="-127"/>
                </a:rPr>
                <a:t>.</a:t>
              </a:r>
            </a:p>
            <a:p>
              <a:pPr>
                <a:defRPr/>
              </a:pPr>
              <a:r>
                <a:rPr lang="ko-KR" altLang="en-US" sz="1000" b="1" dirty="0">
                  <a:solidFill>
                    <a:srgbClr val="1F497D">
                      <a:lumMod val="50000"/>
                    </a:srgbClr>
                  </a:solidFill>
                  <a:latin typeface="나눔고딕" pitchFamily="50" charset="-127"/>
                  <a:ea typeface="나눔고딕" pitchFamily="50" charset="-127"/>
                </a:rPr>
                <a:t>             또한 어떠한 경우에도 고객용 자료로 재편집하여 사용하거나 제공해서는 안됩니다</a:t>
              </a:r>
              <a:r>
                <a:rPr lang="en-US" altLang="ko-KR" sz="1000" b="1" dirty="0">
                  <a:solidFill>
                    <a:srgbClr val="1F497D">
                      <a:lumMod val="50000"/>
                    </a:srgbClr>
                  </a:solidFill>
                  <a:latin typeface="나눔고딕" pitchFamily="50" charset="-127"/>
                  <a:ea typeface="나눔고딕" pitchFamily="50" charset="-127"/>
                </a:rPr>
                <a:t>.</a:t>
              </a:r>
            </a:p>
          </p:txBody>
        </p:sp>
        <p:sp>
          <p:nvSpPr>
            <p:cNvPr id="9" name="직사각형 8"/>
            <p:cNvSpPr/>
            <p:nvPr/>
          </p:nvSpPr>
          <p:spPr>
            <a:xfrm>
              <a:off x="1331640" y="5500904"/>
              <a:ext cx="540000" cy="5400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wrap="none" lIns="54000" tIns="36000" rIns="54000" bIns="36000" anchor="ctr">
              <a:noAutofit/>
            </a:bodyPr>
            <a:lstStyle/>
            <a:p>
              <a:pPr algn="ctr">
                <a:defRPr/>
              </a:pPr>
              <a:r>
                <a:rPr lang="ko-KR" altLang="en-US" sz="800" b="1" dirty="0">
                  <a:solidFill>
                    <a:srgbClr val="C00000"/>
                  </a:solidFill>
                  <a:latin typeface="나눔고딕" panose="020D0604000000000000" pitchFamily="50" charset="-127"/>
                  <a:ea typeface="나눔고딕" panose="020D0604000000000000" pitchFamily="50" charset="-127"/>
                </a:rPr>
                <a:t>교육용</a:t>
              </a:r>
              <a:endParaRPr lang="ko-KR" altLang="en-US" sz="80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endParaRPr>
            </a:p>
          </p:txBody>
        </p:sp>
      </p:grpSp>
      <p:sp>
        <p:nvSpPr>
          <p:cNvPr id="11" name="TextBox 6"/>
          <p:cNvSpPr txBox="1">
            <a:spLocks noChangeArrowheads="1"/>
          </p:cNvSpPr>
          <p:nvPr/>
        </p:nvSpPr>
        <p:spPr bwMode="auto">
          <a:xfrm>
            <a:off x="676537" y="2956721"/>
            <a:ext cx="4285352" cy="307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45663" rIns="91329" bIns="45663">
            <a:spAutoFit/>
          </a:bodyPr>
          <a:lstStyle/>
          <a:p>
            <a:pPr>
              <a:defRPr/>
            </a:pPr>
            <a:r>
              <a:rPr lang="en-US" altLang="ko-KR" sz="1400" b="1" dirty="0">
                <a:solidFill>
                  <a:srgbClr val="505050"/>
                </a:solidFill>
                <a:latin typeface="나눔고딕" pitchFamily="50" charset="-127"/>
                <a:ea typeface="나눔고딕" pitchFamily="50" charset="-127"/>
              </a:rPr>
              <a:t>AM</a:t>
            </a:r>
            <a:r>
              <a:rPr lang="ko-KR" altLang="en-US" sz="1400" b="1" dirty="0">
                <a:solidFill>
                  <a:srgbClr val="505050"/>
                </a:solidFill>
                <a:latin typeface="나눔고딕" pitchFamily="50" charset="-127"/>
                <a:ea typeface="나눔고딕" pitchFamily="50" charset="-127"/>
              </a:rPr>
              <a:t>본부  </a:t>
            </a:r>
            <a:r>
              <a:rPr lang="en-US" altLang="ko-KR" sz="1400" b="1" dirty="0">
                <a:solidFill>
                  <a:srgbClr val="505050"/>
                </a:solidFill>
                <a:latin typeface="나눔고딕" pitchFamily="50" charset="-127"/>
                <a:ea typeface="나눔고딕" pitchFamily="50" charset="-127"/>
              </a:rPr>
              <a:t>|  </a:t>
            </a:r>
            <a:r>
              <a:rPr lang="en-US" altLang="ko-KR" sz="1400" b="1" dirty="0" smtClean="0">
                <a:solidFill>
                  <a:srgbClr val="505050"/>
                </a:solidFill>
                <a:latin typeface="나눔고딕" pitchFamily="50" charset="-127"/>
                <a:ea typeface="나눔고딕" pitchFamily="50" charset="-127"/>
              </a:rPr>
              <a:t>2023.9</a:t>
            </a:r>
            <a:r>
              <a:rPr lang="ko-KR" altLang="en-US" sz="1400" b="1" dirty="0" smtClean="0">
                <a:solidFill>
                  <a:srgbClr val="505050"/>
                </a:solidFill>
                <a:latin typeface="나눔고딕" pitchFamily="50" charset="-127"/>
                <a:ea typeface="나눔고딕" pitchFamily="50" charset="-127"/>
              </a:rPr>
              <a:t>월</a:t>
            </a:r>
            <a:endParaRPr lang="ko-KR" altLang="en-US" sz="1400" b="1" dirty="0">
              <a:solidFill>
                <a:srgbClr val="505050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12" name="TextBox 5"/>
          <p:cNvSpPr txBox="1">
            <a:spLocks noChangeArrowheads="1"/>
          </p:cNvSpPr>
          <p:nvPr/>
        </p:nvSpPr>
        <p:spPr bwMode="auto">
          <a:xfrm>
            <a:off x="655415" y="2187277"/>
            <a:ext cx="6248285" cy="646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45663" rIns="91329" bIns="45663">
            <a:spAutoFit/>
          </a:bodyPr>
          <a:lstStyle/>
          <a:p>
            <a:pPr>
              <a:defRPr/>
            </a:pPr>
            <a:r>
              <a:rPr lang="en-US" altLang="ko-KR" sz="3500" b="1" dirty="0">
                <a:solidFill>
                  <a:srgbClr val="003874"/>
                </a:solidFill>
                <a:latin typeface="나눔고딕 ExtraBold" pitchFamily="50" charset="-127"/>
                <a:ea typeface="나눔고딕 ExtraBold" pitchFamily="50" charset="-127"/>
                <a:cs typeface="나눔고딕 ExtraBold" pitchFamily="50" charset="-127"/>
              </a:rPr>
              <a:t>2023. </a:t>
            </a:r>
            <a:r>
              <a:rPr lang="en-US" altLang="ko-KR" sz="3500" b="1" dirty="0" smtClean="0">
                <a:solidFill>
                  <a:srgbClr val="003874"/>
                </a:solidFill>
                <a:latin typeface="나눔고딕 ExtraBold" pitchFamily="50" charset="-127"/>
                <a:ea typeface="나눔고딕 ExtraBold" pitchFamily="50" charset="-127"/>
                <a:cs typeface="나눔고딕 ExtraBold" pitchFamily="50" charset="-127"/>
              </a:rPr>
              <a:t>10</a:t>
            </a:r>
            <a:r>
              <a:rPr lang="ko-KR" altLang="en-US" sz="3500" b="1" dirty="0" smtClean="0">
                <a:solidFill>
                  <a:srgbClr val="003874"/>
                </a:solidFill>
                <a:latin typeface="나눔고딕 ExtraBold" pitchFamily="50" charset="-127"/>
                <a:ea typeface="나눔고딕 ExtraBold" pitchFamily="50" charset="-127"/>
                <a:cs typeface="나눔고딕 ExtraBold" pitchFamily="50" charset="-127"/>
              </a:rPr>
              <a:t>월 </a:t>
            </a:r>
            <a:r>
              <a:rPr lang="en-US" altLang="ko-KR" sz="3500" b="1" dirty="0">
                <a:solidFill>
                  <a:srgbClr val="003874"/>
                </a:solidFill>
                <a:latin typeface="나눔고딕 ExtraBold" pitchFamily="50" charset="-127"/>
                <a:ea typeface="나눔고딕 ExtraBold" pitchFamily="50" charset="-127"/>
                <a:cs typeface="나눔고딕 ExtraBold" pitchFamily="50" charset="-127"/>
              </a:rPr>
              <a:t>AM</a:t>
            </a:r>
            <a:r>
              <a:rPr lang="ko-KR" altLang="en-US" sz="3500" b="1" dirty="0">
                <a:solidFill>
                  <a:srgbClr val="003874"/>
                </a:solidFill>
                <a:latin typeface="나눔고딕 ExtraBold" pitchFamily="50" charset="-127"/>
                <a:ea typeface="나눔고딕 ExtraBold" pitchFamily="50" charset="-127"/>
                <a:cs typeface="나눔고딕 ExtraBold" pitchFamily="50" charset="-127"/>
              </a:rPr>
              <a:t>본부 </a:t>
            </a:r>
            <a:r>
              <a:rPr lang="ko-KR" altLang="en-US" sz="3500" b="1" dirty="0" err="1">
                <a:solidFill>
                  <a:srgbClr val="003874"/>
                </a:solidFill>
                <a:latin typeface="나눔고딕 ExtraBold" pitchFamily="50" charset="-127"/>
                <a:ea typeface="나눔고딕 ExtraBold" pitchFamily="50" charset="-127"/>
                <a:cs typeface="나눔고딕 ExtraBold" pitchFamily="50" charset="-127"/>
              </a:rPr>
              <a:t>영업이슈</a:t>
            </a:r>
            <a:endParaRPr lang="en-US" altLang="ko-KR" sz="3500" b="1" dirty="0">
              <a:solidFill>
                <a:srgbClr val="003874"/>
              </a:solidFill>
              <a:latin typeface="나눔고딕 ExtraBold" pitchFamily="50" charset="-127"/>
              <a:ea typeface="나눔고딕 ExtraBold" pitchFamily="50" charset="-127"/>
              <a:cs typeface="나눔고딕 ExtraBold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80284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그룹 9"/>
          <p:cNvGrpSpPr/>
          <p:nvPr/>
        </p:nvGrpSpPr>
        <p:grpSpPr>
          <a:xfrm>
            <a:off x="1849506" y="2247541"/>
            <a:ext cx="3371621" cy="1033473"/>
            <a:chOff x="1923713" y="1050474"/>
            <a:chExt cx="4434332" cy="1231068"/>
          </a:xfrm>
        </p:grpSpPr>
        <p:pic>
          <p:nvPicPr>
            <p:cNvPr id="12" name="그림 11" descr="화면 캡처"/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5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23713" y="1050474"/>
              <a:ext cx="4422238" cy="1231068"/>
            </a:xfrm>
            <a:prstGeom prst="rect">
              <a:avLst/>
            </a:prstGeom>
          </p:spPr>
        </p:pic>
        <p:sp>
          <p:nvSpPr>
            <p:cNvPr id="13" name="TextBox 12"/>
            <p:cNvSpPr txBox="1"/>
            <p:nvPr/>
          </p:nvSpPr>
          <p:spPr>
            <a:xfrm>
              <a:off x="2376245" y="1283957"/>
              <a:ext cx="3981800" cy="8404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778509">
                <a:lnSpc>
                  <a:spcPct val="120000"/>
                </a:lnSpc>
              </a:pPr>
              <a:r>
                <a:rPr lang="ko-KR" altLang="en-US" sz="1107">
                  <a:solidFill>
                    <a:prstClr val="black"/>
                  </a:solidFill>
                  <a:latin typeface="나눔명조" panose="02020603020101020101" pitchFamily="18" charset="-127"/>
                  <a:ea typeface="나눔명조" panose="02020603020101020101" pitchFamily="18" charset="-127"/>
                </a:rPr>
                <a:t>그때</a:t>
              </a:r>
              <a:r>
                <a:rPr lang="en-US" altLang="ko-KR" sz="1107">
                  <a:solidFill>
                    <a:prstClr val="black"/>
                  </a:solidFill>
                  <a:latin typeface="나눔명조" panose="02020603020101020101" pitchFamily="18" charset="-127"/>
                  <a:ea typeface="나눔명조" panose="02020603020101020101" pitchFamily="18" charset="-127"/>
                </a:rPr>
                <a:t>(</a:t>
              </a:r>
              <a:r>
                <a:rPr lang="ko-KR" altLang="en-US" sz="1107">
                  <a:solidFill>
                    <a:prstClr val="black"/>
                  </a:solidFill>
                  <a:latin typeface="나눔명조" panose="02020603020101020101" pitchFamily="18" charset="-127"/>
                  <a:ea typeface="나눔명조" panose="02020603020101020101" pitchFamily="18" charset="-127"/>
                </a:rPr>
                <a:t>보험계약 가입시점</a:t>
              </a:r>
              <a:r>
                <a:rPr lang="en-US" altLang="ko-KR" sz="1107">
                  <a:solidFill>
                    <a:prstClr val="black"/>
                  </a:solidFill>
                  <a:latin typeface="나눔명조" panose="02020603020101020101" pitchFamily="18" charset="-127"/>
                  <a:ea typeface="나눔명조" panose="02020603020101020101" pitchFamily="18" charset="-127"/>
                </a:rPr>
                <a:t>) </a:t>
              </a:r>
              <a:r>
                <a:rPr lang="ko-KR" altLang="en-US" sz="1107">
                  <a:solidFill>
                    <a:prstClr val="black"/>
                  </a:solidFill>
                  <a:latin typeface="나눔명조" panose="02020603020101020101" pitchFamily="18" charset="-127"/>
                  <a:ea typeface="나눔명조" panose="02020603020101020101" pitchFamily="18" charset="-127"/>
                </a:rPr>
                <a:t>저는 해외 유학 중</a:t>
              </a:r>
              <a:endParaRPr lang="en-US" altLang="ko-KR" sz="1107">
                <a:solidFill>
                  <a:prstClr val="black"/>
                </a:solidFill>
                <a:latin typeface="나눔명조" panose="02020603020101020101" pitchFamily="18" charset="-127"/>
                <a:ea typeface="나눔명조" panose="02020603020101020101" pitchFamily="18" charset="-127"/>
              </a:endParaRPr>
            </a:p>
            <a:p>
              <a:pPr defTabSz="778509">
                <a:lnSpc>
                  <a:spcPct val="120000"/>
                </a:lnSpc>
              </a:pPr>
              <a:r>
                <a:rPr lang="ko-KR" altLang="en-US" sz="1107">
                  <a:solidFill>
                    <a:prstClr val="black"/>
                  </a:solidFill>
                  <a:latin typeface="나눔명조" panose="02020603020101020101" pitchFamily="18" charset="-127"/>
                  <a:ea typeface="나눔명조" panose="02020603020101020101" pitchFamily="18" charset="-127"/>
                </a:rPr>
                <a:t>이였어요</a:t>
              </a:r>
              <a:r>
                <a:rPr lang="en-US" altLang="ko-KR" sz="1107">
                  <a:solidFill>
                    <a:prstClr val="black"/>
                  </a:solidFill>
                  <a:latin typeface="나눔명조" panose="02020603020101020101" pitchFamily="18" charset="-127"/>
                  <a:ea typeface="나눔명조" panose="02020603020101020101" pitchFamily="18" charset="-127"/>
                </a:rPr>
                <a:t>. </a:t>
              </a:r>
              <a:r>
                <a:rPr lang="ko-KR" altLang="en-US" sz="1107">
                  <a:solidFill>
                    <a:prstClr val="black"/>
                  </a:solidFill>
                  <a:latin typeface="나눔명조" panose="02020603020101020101" pitchFamily="18" charset="-127"/>
                  <a:ea typeface="나눔명조" panose="02020603020101020101" pitchFamily="18" charset="-127"/>
                </a:rPr>
                <a:t>어머님께서 제 의사도 묻지 </a:t>
              </a:r>
              <a:endParaRPr lang="en-US" altLang="ko-KR" sz="1107">
                <a:solidFill>
                  <a:prstClr val="black"/>
                </a:solidFill>
                <a:latin typeface="나눔명조" panose="02020603020101020101" pitchFamily="18" charset="-127"/>
                <a:ea typeface="나눔명조" panose="02020603020101020101" pitchFamily="18" charset="-127"/>
              </a:endParaRPr>
            </a:p>
            <a:p>
              <a:pPr defTabSz="778509">
                <a:lnSpc>
                  <a:spcPct val="120000"/>
                </a:lnSpc>
              </a:pPr>
              <a:r>
                <a:rPr lang="ko-KR" altLang="en-US" sz="1107">
                  <a:solidFill>
                    <a:prstClr val="black"/>
                  </a:solidFill>
                  <a:latin typeface="나눔명조" panose="02020603020101020101" pitchFamily="18" charset="-127"/>
                  <a:ea typeface="나눔명조" panose="02020603020101020101" pitchFamily="18" charset="-127"/>
                </a:rPr>
                <a:t>않으시고</a:t>
              </a:r>
              <a:r>
                <a:rPr lang="en-US" altLang="ko-KR" sz="1107">
                  <a:solidFill>
                    <a:prstClr val="black"/>
                  </a:solidFill>
                  <a:latin typeface="나눔명조" panose="02020603020101020101" pitchFamily="18" charset="-127"/>
                  <a:ea typeface="나눔명조" panose="02020603020101020101" pitchFamily="18" charset="-127"/>
                </a:rPr>
                <a:t>, </a:t>
              </a:r>
              <a:r>
                <a:rPr lang="ko-KR" altLang="en-US" sz="1107">
                  <a:solidFill>
                    <a:prstClr val="black"/>
                  </a:solidFill>
                  <a:latin typeface="나눔명조" panose="02020603020101020101" pitchFamily="18" charset="-127"/>
                  <a:ea typeface="나눔명조" panose="02020603020101020101" pitchFamily="18" charset="-127"/>
                </a:rPr>
                <a:t>보험가입을 해 놓으셨네요</a:t>
              </a:r>
              <a:r>
                <a:rPr lang="en-US" altLang="ko-KR" sz="1107">
                  <a:solidFill>
                    <a:prstClr val="black"/>
                  </a:solidFill>
                  <a:latin typeface="나눔명조" panose="02020603020101020101" pitchFamily="18" charset="-127"/>
                  <a:ea typeface="나눔명조" panose="02020603020101020101" pitchFamily="18" charset="-127"/>
                </a:rPr>
                <a:t>.</a:t>
              </a:r>
            </a:p>
          </p:txBody>
        </p:sp>
      </p:grpSp>
      <p:grpSp>
        <p:nvGrpSpPr>
          <p:cNvPr id="9" name="그룹 8"/>
          <p:cNvGrpSpPr/>
          <p:nvPr/>
        </p:nvGrpSpPr>
        <p:grpSpPr>
          <a:xfrm>
            <a:off x="1849505" y="4608696"/>
            <a:ext cx="3398416" cy="1226574"/>
            <a:chOff x="557638" y="4030457"/>
            <a:chExt cx="3990190" cy="792088"/>
          </a:xfrm>
        </p:grpSpPr>
        <p:pic>
          <p:nvPicPr>
            <p:cNvPr id="30" name="그림 29" descr="화면 캡처"/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5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7638" y="4030457"/>
              <a:ext cx="3990190" cy="792088"/>
            </a:xfrm>
            <a:prstGeom prst="rect">
              <a:avLst/>
            </a:prstGeom>
          </p:spPr>
        </p:pic>
        <p:sp>
          <p:nvSpPr>
            <p:cNvPr id="31" name="TextBox 30"/>
            <p:cNvSpPr txBox="1"/>
            <p:nvPr/>
          </p:nvSpPr>
          <p:spPr>
            <a:xfrm>
              <a:off x="983144" y="4164407"/>
              <a:ext cx="3446823" cy="5876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778509">
                <a:lnSpc>
                  <a:spcPct val="120000"/>
                </a:lnSpc>
              </a:pPr>
              <a:r>
                <a:rPr lang="ko-KR" altLang="en-US" sz="1107">
                  <a:solidFill>
                    <a:prstClr val="black"/>
                  </a:solidFill>
                  <a:latin typeface="나눔명조" panose="02020603020101020101" pitchFamily="18" charset="-127"/>
                  <a:ea typeface="나눔명조" panose="02020603020101020101" pitchFamily="18" charset="-127"/>
                </a:rPr>
                <a:t>남편이 보험을 엄청 싫어해서 제가 대신</a:t>
              </a:r>
              <a:endParaRPr lang="en-US" altLang="ko-KR" sz="1107">
                <a:solidFill>
                  <a:prstClr val="black"/>
                </a:solidFill>
                <a:latin typeface="나눔명조" panose="02020603020101020101" pitchFamily="18" charset="-127"/>
                <a:ea typeface="나눔명조" panose="02020603020101020101" pitchFamily="18" charset="-127"/>
              </a:endParaRPr>
            </a:p>
            <a:p>
              <a:pPr defTabSz="778509">
                <a:lnSpc>
                  <a:spcPct val="120000"/>
                </a:lnSpc>
              </a:pPr>
              <a:r>
                <a:rPr lang="ko-KR" altLang="en-US" sz="1107">
                  <a:solidFill>
                    <a:prstClr val="black"/>
                  </a:solidFill>
                  <a:latin typeface="나눔명조" panose="02020603020101020101" pitchFamily="18" charset="-127"/>
                  <a:ea typeface="나눔명조" panose="02020603020101020101" pitchFamily="18" charset="-127"/>
                </a:rPr>
                <a:t>자필서명을 했어요</a:t>
              </a:r>
              <a:r>
                <a:rPr lang="en-US" altLang="ko-KR" sz="1107">
                  <a:solidFill>
                    <a:prstClr val="black"/>
                  </a:solidFill>
                  <a:latin typeface="나눔명조" panose="02020603020101020101" pitchFamily="18" charset="-127"/>
                  <a:ea typeface="나눔명조" panose="02020603020101020101" pitchFamily="18" charset="-127"/>
                </a:rPr>
                <a:t>.</a:t>
              </a:r>
            </a:p>
            <a:p>
              <a:pPr defTabSz="778509">
                <a:lnSpc>
                  <a:spcPct val="120000"/>
                </a:lnSpc>
              </a:pPr>
              <a:r>
                <a:rPr lang="en-US" altLang="ko-KR" sz="1107">
                  <a:solidFill>
                    <a:prstClr val="black"/>
                  </a:solidFill>
                  <a:latin typeface="나눔명조" panose="02020603020101020101" pitchFamily="18" charset="-127"/>
                  <a:ea typeface="나눔명조" panose="02020603020101020101" pitchFamily="18" charset="-127"/>
                </a:rPr>
                <a:t>FP</a:t>
              </a:r>
              <a:r>
                <a:rPr lang="ko-KR" altLang="en-US" sz="1107">
                  <a:solidFill>
                    <a:prstClr val="black"/>
                  </a:solidFill>
                  <a:latin typeface="나눔명조" panose="02020603020101020101" pitchFamily="18" charset="-127"/>
                  <a:ea typeface="나눔명조" panose="02020603020101020101" pitchFamily="18" charset="-127"/>
                </a:rPr>
                <a:t>님도 그렇게</a:t>
              </a:r>
              <a:r>
                <a:rPr lang="en-US" altLang="ko-KR" sz="1107">
                  <a:solidFill>
                    <a:prstClr val="black"/>
                  </a:solidFill>
                  <a:latin typeface="나눔명조" panose="02020603020101020101" pitchFamily="18" charset="-127"/>
                  <a:ea typeface="나눔명조" panose="02020603020101020101" pitchFamily="18" charset="-127"/>
                </a:rPr>
                <a:t>(</a:t>
              </a:r>
              <a:r>
                <a:rPr lang="ko-KR" altLang="en-US" sz="1107">
                  <a:solidFill>
                    <a:prstClr val="black"/>
                  </a:solidFill>
                  <a:latin typeface="나눔명조" panose="02020603020101020101" pitchFamily="18" charset="-127"/>
                  <a:ea typeface="나눔명조" panose="02020603020101020101" pitchFamily="18" charset="-127"/>
                </a:rPr>
                <a:t>자필서명을 대필</a:t>
              </a:r>
              <a:r>
                <a:rPr lang="en-US" altLang="ko-KR" sz="1107">
                  <a:solidFill>
                    <a:prstClr val="black"/>
                  </a:solidFill>
                  <a:latin typeface="나눔명조" panose="02020603020101020101" pitchFamily="18" charset="-127"/>
                  <a:ea typeface="나눔명조" panose="02020603020101020101" pitchFamily="18" charset="-127"/>
                </a:rPr>
                <a:t>)</a:t>
              </a:r>
              <a:r>
                <a:rPr lang="ko-KR" altLang="en-US" sz="1107">
                  <a:solidFill>
                    <a:prstClr val="black"/>
                  </a:solidFill>
                  <a:latin typeface="나눔명조" panose="02020603020101020101" pitchFamily="18" charset="-127"/>
                  <a:ea typeface="나눔명조" panose="02020603020101020101" pitchFamily="18" charset="-127"/>
                </a:rPr>
                <a:t>해도</a:t>
              </a:r>
              <a:endParaRPr lang="en-US" altLang="ko-KR" sz="1107">
                <a:solidFill>
                  <a:prstClr val="black"/>
                </a:solidFill>
                <a:latin typeface="나눔명조" panose="02020603020101020101" pitchFamily="18" charset="-127"/>
                <a:ea typeface="나눔명조" panose="02020603020101020101" pitchFamily="18" charset="-127"/>
              </a:endParaRPr>
            </a:p>
            <a:p>
              <a:pPr defTabSz="778509">
                <a:lnSpc>
                  <a:spcPct val="120000"/>
                </a:lnSpc>
              </a:pPr>
              <a:r>
                <a:rPr lang="ko-KR" altLang="en-US" sz="1107">
                  <a:solidFill>
                    <a:prstClr val="black"/>
                  </a:solidFill>
                  <a:latin typeface="나눔명조" panose="02020603020101020101" pitchFamily="18" charset="-127"/>
                  <a:ea typeface="나눔명조" panose="02020603020101020101" pitchFamily="18" charset="-127"/>
                </a:rPr>
                <a:t>된다고 하시더라구요</a:t>
              </a:r>
              <a:r>
                <a:rPr lang="en-US" altLang="ko-KR" sz="1107">
                  <a:solidFill>
                    <a:prstClr val="black"/>
                  </a:solidFill>
                  <a:latin typeface="나눔명조" panose="02020603020101020101" pitchFamily="18" charset="-127"/>
                  <a:ea typeface="나눔명조" panose="02020603020101020101" pitchFamily="18" charset="-127"/>
                </a:rPr>
                <a:t>.</a:t>
              </a:r>
            </a:p>
          </p:txBody>
        </p:sp>
      </p:grpSp>
      <p:grpSp>
        <p:nvGrpSpPr>
          <p:cNvPr id="8" name="그룹 7"/>
          <p:cNvGrpSpPr/>
          <p:nvPr/>
        </p:nvGrpSpPr>
        <p:grpSpPr>
          <a:xfrm>
            <a:off x="1849505" y="3535444"/>
            <a:ext cx="3398416" cy="889265"/>
            <a:chOff x="551384" y="2996951"/>
            <a:chExt cx="3990190" cy="1044115"/>
          </a:xfrm>
        </p:grpSpPr>
        <p:pic>
          <p:nvPicPr>
            <p:cNvPr id="27" name="그림 26" descr="화면 캡처"/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5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1384" y="2996951"/>
              <a:ext cx="3990190" cy="1044115"/>
            </a:xfrm>
            <a:prstGeom prst="rect">
              <a:avLst/>
            </a:prstGeom>
          </p:spPr>
        </p:pic>
        <p:sp>
          <p:nvSpPr>
            <p:cNvPr id="28" name="TextBox 27"/>
            <p:cNvSpPr txBox="1"/>
            <p:nvPr/>
          </p:nvSpPr>
          <p:spPr>
            <a:xfrm>
              <a:off x="988486" y="3122186"/>
              <a:ext cx="3446823" cy="8284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778509">
                <a:lnSpc>
                  <a:spcPct val="120000"/>
                </a:lnSpc>
              </a:pPr>
              <a:r>
                <a:rPr lang="ko-KR" altLang="en-US" sz="1107">
                  <a:solidFill>
                    <a:prstClr val="black"/>
                  </a:solidFill>
                  <a:latin typeface="나눔명조" panose="02020603020101020101" pitchFamily="18" charset="-127"/>
                  <a:ea typeface="나눔명조" panose="02020603020101020101" pitchFamily="18" charset="-127"/>
                </a:rPr>
                <a:t>저는 그때</a:t>
              </a:r>
              <a:r>
                <a:rPr lang="en-US" altLang="ko-KR" sz="1107">
                  <a:solidFill>
                    <a:prstClr val="black"/>
                  </a:solidFill>
                  <a:latin typeface="나눔명조" panose="02020603020101020101" pitchFamily="18" charset="-127"/>
                  <a:ea typeface="나눔명조" panose="02020603020101020101" pitchFamily="18" charset="-127"/>
                </a:rPr>
                <a:t>(</a:t>
              </a:r>
              <a:r>
                <a:rPr lang="ko-KR" altLang="en-US" sz="1107">
                  <a:solidFill>
                    <a:prstClr val="black"/>
                  </a:solidFill>
                  <a:latin typeface="나눔명조" panose="02020603020101020101" pitchFamily="18" charset="-127"/>
                  <a:ea typeface="나눔명조" panose="02020603020101020101" pitchFamily="18" charset="-127"/>
                </a:rPr>
                <a:t>보험계약 가입시점</a:t>
              </a:r>
              <a:r>
                <a:rPr lang="en-US" altLang="ko-KR" sz="1107">
                  <a:solidFill>
                    <a:prstClr val="black"/>
                  </a:solidFill>
                  <a:latin typeface="나눔명조" panose="02020603020101020101" pitchFamily="18" charset="-127"/>
                  <a:ea typeface="나눔명조" panose="02020603020101020101" pitchFamily="18" charset="-127"/>
                </a:rPr>
                <a:t>) </a:t>
              </a:r>
              <a:r>
                <a:rPr lang="ko-KR" altLang="en-US" sz="1107">
                  <a:solidFill>
                    <a:prstClr val="black"/>
                  </a:solidFill>
                  <a:latin typeface="나눔명조" panose="02020603020101020101" pitchFamily="18" charset="-127"/>
                  <a:ea typeface="나눔명조" panose="02020603020101020101" pitchFamily="18" charset="-127"/>
                </a:rPr>
                <a:t>군복무 중</a:t>
              </a:r>
              <a:endParaRPr lang="en-US" altLang="ko-KR" sz="1107">
                <a:solidFill>
                  <a:prstClr val="black"/>
                </a:solidFill>
                <a:latin typeface="나눔명조" panose="02020603020101020101" pitchFamily="18" charset="-127"/>
                <a:ea typeface="나눔명조" panose="02020603020101020101" pitchFamily="18" charset="-127"/>
              </a:endParaRPr>
            </a:p>
            <a:p>
              <a:pPr defTabSz="778509">
                <a:lnSpc>
                  <a:spcPct val="120000"/>
                </a:lnSpc>
              </a:pPr>
              <a:r>
                <a:rPr lang="ko-KR" altLang="en-US" sz="1107">
                  <a:solidFill>
                    <a:prstClr val="black"/>
                  </a:solidFill>
                  <a:latin typeface="나눔명조" panose="02020603020101020101" pitchFamily="18" charset="-127"/>
                  <a:ea typeface="나눔명조" panose="02020603020101020101" pitchFamily="18" charset="-127"/>
                </a:rPr>
                <a:t>이였고</a:t>
              </a:r>
              <a:r>
                <a:rPr lang="en-US" altLang="ko-KR" sz="1107">
                  <a:solidFill>
                    <a:prstClr val="black"/>
                  </a:solidFill>
                  <a:latin typeface="나눔명조" panose="02020603020101020101" pitchFamily="18" charset="-127"/>
                  <a:ea typeface="나눔명조" panose="02020603020101020101" pitchFamily="18" charset="-127"/>
                </a:rPr>
                <a:t>, </a:t>
              </a:r>
              <a:r>
                <a:rPr lang="ko-KR" altLang="en-US" sz="1107">
                  <a:solidFill>
                    <a:prstClr val="black"/>
                  </a:solidFill>
                  <a:latin typeface="나눔명조" panose="02020603020101020101" pitchFamily="18" charset="-127"/>
                  <a:ea typeface="나눔명조" panose="02020603020101020101" pitchFamily="18" charset="-127"/>
                </a:rPr>
                <a:t>그 기간 중에 군대에서 휴가나 외출을</a:t>
              </a:r>
              <a:endParaRPr lang="en-US" altLang="ko-KR" sz="1107">
                <a:solidFill>
                  <a:prstClr val="black"/>
                </a:solidFill>
                <a:latin typeface="나눔명조" panose="02020603020101020101" pitchFamily="18" charset="-127"/>
                <a:ea typeface="나눔명조" panose="02020603020101020101" pitchFamily="18" charset="-127"/>
              </a:endParaRPr>
            </a:p>
            <a:p>
              <a:pPr defTabSz="778509">
                <a:lnSpc>
                  <a:spcPct val="120000"/>
                </a:lnSpc>
              </a:pPr>
              <a:r>
                <a:rPr lang="ko-KR" altLang="en-US" sz="1107">
                  <a:solidFill>
                    <a:prstClr val="black"/>
                  </a:solidFill>
                  <a:latin typeface="나눔명조" panose="02020603020101020101" pitchFamily="18" charset="-127"/>
                  <a:ea typeface="나눔명조" panose="02020603020101020101" pitchFamily="18" charset="-127"/>
                </a:rPr>
                <a:t>한적도 없습니다</a:t>
              </a:r>
              <a:r>
                <a:rPr lang="en-US" altLang="ko-KR" sz="1107">
                  <a:solidFill>
                    <a:prstClr val="black"/>
                  </a:solidFill>
                  <a:latin typeface="나눔명조" panose="02020603020101020101" pitchFamily="18" charset="-127"/>
                  <a:ea typeface="나눔명조" panose="02020603020101020101" pitchFamily="18" charset="-127"/>
                </a:rPr>
                <a:t>. </a:t>
              </a:r>
            </a:p>
          </p:txBody>
        </p:sp>
      </p:grpSp>
      <p:sp>
        <p:nvSpPr>
          <p:cNvPr id="26" name="Rectangle 188">
            <a:extLst>
              <a:ext uri="{FF2B5EF4-FFF2-40B4-BE49-F238E27FC236}">
                <a16:creationId xmlns:a16="http://schemas.microsoft.com/office/drawing/2014/main" id="{31FC86EF-0A2B-4AA2-AA70-67BB0E7679DA}"/>
              </a:ext>
            </a:extLst>
          </p:cNvPr>
          <p:cNvSpPr/>
          <p:nvPr/>
        </p:nvSpPr>
        <p:spPr>
          <a:xfrm>
            <a:off x="653047" y="1775997"/>
            <a:ext cx="4998070" cy="4212141"/>
          </a:xfrm>
          <a:prstGeom prst="rect">
            <a:avLst/>
          </a:prstGeom>
          <a:noFill/>
          <a:ln w="3175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429253" tIns="38939" rIns="77879" bIns="389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778509" latinLnBrk="0">
              <a:defRPr/>
            </a:pPr>
            <a:endParaRPr lang="en-US" sz="1022" b="1" kern="0" dirty="0">
              <a:solidFill>
                <a:prstClr val="black"/>
              </a:solidFill>
              <a:latin typeface="나눔명조" panose="02020603020101020101" pitchFamily="18" charset="-127"/>
              <a:ea typeface="나눔명조" panose="02020603020101020101" pitchFamily="18" charset="-127"/>
              <a:cs typeface="Arial" panose="020B0604020202020204" pitchFamily="34" charset="0"/>
            </a:endParaRPr>
          </a:p>
        </p:txBody>
      </p:sp>
      <p:sp>
        <p:nvSpPr>
          <p:cNvPr id="33" name="Text Box 2"/>
          <p:cNvSpPr txBox="1">
            <a:spLocks noChangeArrowheads="1"/>
          </p:cNvSpPr>
          <p:nvPr/>
        </p:nvSpPr>
        <p:spPr bwMode="auto">
          <a:xfrm>
            <a:off x="583407" y="1126496"/>
            <a:ext cx="4990514" cy="367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ctr" latinLnBrk="1">
              <a:lnSpc>
                <a:spcPct val="120000"/>
              </a:lnSpc>
              <a:defRPr kumimoji="1" sz="900" b="1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1pPr>
            <a:lvl2pPr marL="742950" indent="-285750" algn="ctr" latinLnBrk="1">
              <a:lnSpc>
                <a:spcPct val="120000"/>
              </a:lnSpc>
              <a:defRPr kumimoji="1" sz="900" b="1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2pPr>
            <a:lvl3pPr marL="1143000" indent="-228600" algn="ctr" latinLnBrk="1">
              <a:lnSpc>
                <a:spcPct val="120000"/>
              </a:lnSpc>
              <a:defRPr kumimoji="1" sz="900" b="1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3pPr>
            <a:lvl4pPr marL="1600200" indent="-228600" algn="ctr" latinLnBrk="1">
              <a:lnSpc>
                <a:spcPct val="120000"/>
              </a:lnSpc>
              <a:defRPr kumimoji="1" sz="900" b="1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4pPr>
            <a:lvl5pPr marL="2057400" indent="-228600" algn="ctr" latinLnBrk="1">
              <a:lnSpc>
                <a:spcPct val="120000"/>
              </a:lnSpc>
              <a:defRPr kumimoji="1" sz="900" b="1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5pPr>
            <a:lvl6pPr marL="2514600" indent="-228600" algn="ctr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kumimoji="1" sz="900" b="1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6pPr>
            <a:lvl7pPr marL="2971800" indent="-228600" algn="ctr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kumimoji="1" sz="900" b="1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7pPr>
            <a:lvl8pPr marL="3429000" indent="-228600" algn="ctr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kumimoji="1" sz="900" b="1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8pPr>
            <a:lvl9pPr marL="3886200" indent="-228600" algn="ctr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kumimoji="1" sz="900" b="1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9pPr>
          </a:lstStyle>
          <a:p>
            <a:pPr algn="l" defTabSz="778509">
              <a:lnSpc>
                <a:spcPct val="100000"/>
              </a:lnSpc>
              <a:spcBef>
                <a:spcPct val="50000"/>
              </a:spcBef>
            </a:pPr>
            <a:r>
              <a:rPr lang="ko-KR" altLang="en-US" sz="1789" dirty="0" smtClean="0">
                <a:solidFill>
                  <a:srgbClr val="1F497D">
                    <a:lumMod val="75000"/>
                  </a:srgbClr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□ 자필서명 </a:t>
            </a:r>
            <a:r>
              <a:rPr lang="ko-KR" altLang="en-US" sz="1789" dirty="0" err="1">
                <a:solidFill>
                  <a:srgbClr val="1F497D">
                    <a:lumMod val="75000"/>
                  </a:srgbClr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미이행</a:t>
            </a:r>
            <a:r>
              <a:rPr lang="ko-KR" altLang="en-US" sz="1789" dirty="0">
                <a:solidFill>
                  <a:srgbClr val="1F497D">
                    <a:lumMod val="75000"/>
                  </a:srgbClr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 </a:t>
            </a:r>
            <a:r>
              <a:rPr lang="ko-KR" altLang="en-US" sz="1789" dirty="0" smtClean="0">
                <a:solidFill>
                  <a:srgbClr val="1F497D">
                    <a:lumMod val="75000"/>
                  </a:srgbClr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사례</a:t>
            </a:r>
            <a:endParaRPr lang="en-US" altLang="ko-KR" sz="1533" b="0" dirty="0">
              <a:solidFill>
                <a:srgbClr val="1F497D">
                  <a:lumMod val="75000"/>
                </a:srgbClr>
              </a:solidFill>
              <a:latin typeface="Arial Black" panose="020B0A04020102020204" pitchFamily="34" charset="0"/>
              <a:ea typeface="교보서체 Bold" panose="020B0600000101010101" pitchFamily="50" charset="-127"/>
            </a:endParaRPr>
          </a:p>
        </p:txBody>
      </p:sp>
      <p:pic>
        <p:nvPicPr>
          <p:cNvPr id="7" name="그림 6" descr="화면 캡처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826" y="2339535"/>
            <a:ext cx="811351" cy="981734"/>
          </a:xfrm>
          <a:prstGeom prst="rect">
            <a:avLst/>
          </a:prstGeom>
        </p:spPr>
      </p:pic>
      <p:pic>
        <p:nvPicPr>
          <p:cNvPr id="11" name="그림 10" descr="화면 캡처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701" y="4895909"/>
            <a:ext cx="843804" cy="916826"/>
          </a:xfrm>
          <a:prstGeom prst="rect">
            <a:avLst/>
          </a:prstGeom>
        </p:spPr>
      </p:pic>
      <p:pic>
        <p:nvPicPr>
          <p:cNvPr id="14" name="그림 13" descr="화면 캡처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561" y="3612849"/>
            <a:ext cx="535492" cy="973621"/>
          </a:xfrm>
          <a:prstGeom prst="rect">
            <a:avLst/>
          </a:prstGeom>
        </p:spPr>
      </p:pic>
      <p:grpSp>
        <p:nvGrpSpPr>
          <p:cNvPr id="55" name="그룹 54"/>
          <p:cNvGrpSpPr/>
          <p:nvPr/>
        </p:nvGrpSpPr>
        <p:grpSpPr>
          <a:xfrm>
            <a:off x="6153433" y="1772503"/>
            <a:ext cx="3638201" cy="4212141"/>
            <a:chOff x="7224945" y="1251061"/>
            <a:chExt cx="4271730" cy="4945611"/>
          </a:xfrm>
        </p:grpSpPr>
        <p:pic>
          <p:nvPicPr>
            <p:cNvPr id="46" name="그림 45"/>
            <p:cNvPicPr>
              <a:picLocks noChangeAspect="1"/>
            </p:cNvPicPr>
            <p:nvPr/>
          </p:nvPicPr>
          <p:blipFill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224945" y="1251061"/>
              <a:ext cx="4271730" cy="4945611"/>
            </a:xfrm>
            <a:prstGeom prst="rect">
              <a:avLst/>
            </a:prstGeom>
            <a:noFill/>
            <a:ln w="3175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</p:pic>
        <p:sp>
          <p:nvSpPr>
            <p:cNvPr id="45" name="TextBox 44"/>
            <p:cNvSpPr txBox="1"/>
            <p:nvPr/>
          </p:nvSpPr>
          <p:spPr>
            <a:xfrm>
              <a:off x="7858125" y="4227185"/>
              <a:ext cx="3480169" cy="3700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43373" indent="-243373" defTabSz="778509">
                <a:buFont typeface="Wingdings" panose="05000000000000000000" pitchFamily="2" charset="2"/>
                <a:buChar char="ü"/>
              </a:pPr>
              <a:r>
                <a:rPr lang="ko-KR" altLang="en-US" sz="1448">
                  <a:solidFill>
                    <a:prstClr val="black"/>
                  </a:solidFill>
                  <a:latin typeface="교보 손글씨 2019" panose="02020503000000000000" pitchFamily="18" charset="-127"/>
                  <a:ea typeface="교보 손글씨 2019" panose="02020503000000000000" pitchFamily="18" charset="-127"/>
                </a:rPr>
                <a:t>제가</a:t>
              </a:r>
              <a:r>
                <a:rPr lang="en-US" altLang="ko-KR" sz="1448">
                  <a:solidFill>
                    <a:prstClr val="black"/>
                  </a:solidFill>
                  <a:latin typeface="교보 손글씨 2019" panose="02020503000000000000" pitchFamily="18" charset="-127"/>
                  <a:ea typeface="교보 손글씨 2019" panose="02020503000000000000" pitchFamily="18" charset="-127"/>
                </a:rPr>
                <a:t>(FP) </a:t>
              </a:r>
              <a:r>
                <a:rPr lang="ko-KR" altLang="en-US" sz="1448">
                  <a:solidFill>
                    <a:prstClr val="black"/>
                  </a:solidFill>
                  <a:latin typeface="교보 손글씨 2019" panose="02020503000000000000" pitchFamily="18" charset="-127"/>
                  <a:ea typeface="교보 손글씨 2019" panose="02020503000000000000" pitchFamily="18" charset="-127"/>
                </a:rPr>
                <a:t>자필서명을 대신 했습니다</a:t>
              </a:r>
              <a:r>
                <a:rPr lang="en-US" altLang="ko-KR" sz="1448">
                  <a:solidFill>
                    <a:prstClr val="black"/>
                  </a:solidFill>
                  <a:latin typeface="교보 손글씨 2019" panose="02020503000000000000" pitchFamily="18" charset="-127"/>
                  <a:ea typeface="교보 손글씨 2019" panose="02020503000000000000" pitchFamily="18" charset="-127"/>
                </a:rPr>
                <a:t>..</a:t>
              </a:r>
              <a:endParaRPr lang="ko-KR" altLang="en-US" sz="1448">
                <a:solidFill>
                  <a:prstClr val="black"/>
                </a:solidFill>
                <a:latin typeface="교보 손글씨 2019" panose="02020503000000000000" pitchFamily="18" charset="-127"/>
                <a:ea typeface="교보 손글씨 2019" panose="02020503000000000000" pitchFamily="18" charset="-127"/>
              </a:endParaRPr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7885716" y="2313825"/>
              <a:ext cx="3240360" cy="7486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43373" indent="-243373" defTabSz="778509">
                <a:lnSpc>
                  <a:spcPct val="130000"/>
                </a:lnSpc>
                <a:buFont typeface="Wingdings" panose="05000000000000000000" pitchFamily="2" charset="2"/>
                <a:buChar char="ü"/>
              </a:pPr>
              <a:r>
                <a:rPr lang="ko-KR" altLang="en-US" sz="1363">
                  <a:solidFill>
                    <a:prstClr val="black"/>
                  </a:solidFill>
                  <a:latin typeface="교보 손글씨 2020 박도연" panose="02020503000000000000" pitchFamily="18" charset="-127"/>
                  <a:ea typeface="교보 손글씨 2020 박도연" panose="02020503000000000000" pitchFamily="18" charset="-127"/>
                </a:rPr>
                <a:t>계약자에게는 자필서명을 받았는데</a:t>
              </a:r>
              <a:r>
                <a:rPr lang="en-US" altLang="ko-KR" sz="1363">
                  <a:solidFill>
                    <a:prstClr val="black"/>
                  </a:solidFill>
                  <a:latin typeface="교보 손글씨 2020 박도연" panose="02020503000000000000" pitchFamily="18" charset="-127"/>
                  <a:ea typeface="교보 손글씨 2020 박도연" panose="02020503000000000000" pitchFamily="18" charset="-127"/>
                </a:rPr>
                <a:t>, </a:t>
              </a:r>
            </a:p>
            <a:p>
              <a:pPr defTabSz="778509">
                <a:lnSpc>
                  <a:spcPct val="130000"/>
                </a:lnSpc>
              </a:pPr>
              <a:r>
                <a:rPr lang="ko-KR" altLang="en-US" sz="1363">
                  <a:solidFill>
                    <a:prstClr val="black"/>
                  </a:solidFill>
                  <a:latin typeface="교보 손글씨 2020 박도연" panose="02020503000000000000" pitchFamily="18" charset="-127"/>
                  <a:ea typeface="교보 손글씨 2020 박도연" panose="02020503000000000000" pitchFamily="18" charset="-127"/>
                </a:rPr>
                <a:t>      피보험자를 만난 기억은 없습니다</a:t>
              </a:r>
              <a:r>
                <a:rPr lang="en-US" altLang="ko-KR" sz="1363">
                  <a:solidFill>
                    <a:prstClr val="black"/>
                  </a:solidFill>
                  <a:latin typeface="교보 손글씨 2020 박도연" panose="02020503000000000000" pitchFamily="18" charset="-127"/>
                  <a:ea typeface="교보 손글씨 2020 박도연" panose="02020503000000000000" pitchFamily="18" charset="-127"/>
                </a:rPr>
                <a:t>..</a:t>
              </a:r>
              <a:endParaRPr lang="ko-KR" altLang="en-US" sz="1363">
                <a:solidFill>
                  <a:prstClr val="black"/>
                </a:solidFill>
                <a:latin typeface="교보 손글씨 2020 박도연" panose="02020503000000000000" pitchFamily="18" charset="-127"/>
                <a:ea typeface="교보 손글씨 2020 박도연" panose="02020503000000000000" pitchFamily="18" charset="-127"/>
              </a:endParaRP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7858124" y="3314867"/>
              <a:ext cx="3267951" cy="6316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43373" indent="-243373" defTabSz="778509">
                <a:buFont typeface="Wingdings" panose="05000000000000000000" pitchFamily="2" charset="2"/>
                <a:buChar char="ü"/>
              </a:pPr>
              <a:r>
                <a:rPr lang="ko-KR" altLang="en-US" sz="1448">
                  <a:solidFill>
                    <a:prstClr val="black"/>
                  </a:solidFill>
                  <a:latin typeface="교보 손글씨 2021 성지영" panose="02020503000000000000" pitchFamily="18" charset="-127"/>
                  <a:ea typeface="교보 손글씨 2021 성지영" panose="02020503000000000000" pitchFamily="18" charset="-127"/>
                </a:rPr>
                <a:t>계약자가 자필서명을 받아 준다고 해서 청약서를 맡기고 왔습니다</a:t>
              </a:r>
              <a:r>
                <a:rPr lang="en-US" altLang="ko-KR" sz="1448">
                  <a:solidFill>
                    <a:prstClr val="black"/>
                  </a:solidFill>
                  <a:latin typeface="교보 손글씨 2021 성지영" panose="02020503000000000000" pitchFamily="18" charset="-127"/>
                  <a:ea typeface="교보 손글씨 2021 성지영" panose="02020503000000000000" pitchFamily="18" charset="-127"/>
                </a:rPr>
                <a:t>..</a:t>
              </a:r>
              <a:endParaRPr lang="ko-KR" altLang="en-US" sz="1448">
                <a:solidFill>
                  <a:prstClr val="black"/>
                </a:solidFill>
                <a:latin typeface="교보 손글씨 2021 성지영" panose="02020503000000000000" pitchFamily="18" charset="-127"/>
                <a:ea typeface="교보 손글씨 2021 성지영" panose="02020503000000000000" pitchFamily="18" charset="-127"/>
              </a:endParaRPr>
            </a:p>
          </p:txBody>
        </p:sp>
      </p:grpSp>
      <p:sp>
        <p:nvSpPr>
          <p:cNvPr id="24" name="TextBox 23"/>
          <p:cNvSpPr txBox="1"/>
          <p:nvPr/>
        </p:nvSpPr>
        <p:spPr>
          <a:xfrm>
            <a:off x="7935174" y="1745056"/>
            <a:ext cx="1870525" cy="426592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 anchor="ctr" anchorCtr="0">
            <a:spAutoFit/>
          </a:bodyPr>
          <a:lstStyle/>
          <a:p>
            <a:pPr algn="ctr" defTabSz="778509">
              <a:lnSpc>
                <a:spcPct val="150000"/>
              </a:lnSpc>
            </a:pPr>
            <a:r>
              <a:rPr lang="ko-KR" altLang="en-US" sz="1448">
                <a:solidFill>
                  <a:prstClr val="white"/>
                </a:solidFill>
                <a:latin typeface="나눔명조 ExtraBold" panose="02020603020101020101" pitchFamily="18" charset="-127"/>
                <a:ea typeface="나눔명조 ExtraBold" panose="02020603020101020101" pitchFamily="18" charset="-127"/>
              </a:rPr>
              <a:t>모집경위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53047" y="1750045"/>
            <a:ext cx="1870525" cy="426592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 anchor="ctr" anchorCtr="0">
            <a:spAutoFit/>
          </a:bodyPr>
          <a:lstStyle/>
          <a:p>
            <a:pPr algn="ctr" defTabSz="778509">
              <a:lnSpc>
                <a:spcPct val="150000"/>
              </a:lnSpc>
            </a:pPr>
            <a:r>
              <a:rPr lang="ko-KR" altLang="en-US" sz="1448">
                <a:solidFill>
                  <a:prstClr val="white"/>
                </a:solidFill>
                <a:latin typeface="나눔명조 ExtraBold" panose="02020603020101020101" pitchFamily="18" charset="-127"/>
                <a:ea typeface="나눔명조 ExtraBold" panose="02020603020101020101" pitchFamily="18" charset="-127"/>
              </a:rPr>
              <a:t>민 원 사 례</a:t>
            </a:r>
          </a:p>
        </p:txBody>
      </p:sp>
      <p:sp>
        <p:nvSpPr>
          <p:cNvPr id="29" name="Text Box 2"/>
          <p:cNvSpPr txBox="1">
            <a:spLocks noChangeArrowheads="1"/>
          </p:cNvSpPr>
          <p:nvPr/>
        </p:nvSpPr>
        <p:spPr bwMode="auto">
          <a:xfrm>
            <a:off x="398544" y="149288"/>
            <a:ext cx="9504536" cy="433058"/>
          </a:xfrm>
          <a:prstGeom prst="rect">
            <a:avLst/>
          </a:prstGeom>
          <a:noFill/>
          <a:ln w="25400">
            <a:noFill/>
            <a:miter lim="800000"/>
            <a:headEnd type="none" w="sm" len="sm"/>
            <a:tailEnd type="none" w="sm" len="sm"/>
          </a:ln>
        </p:spPr>
        <p:txBody>
          <a:bodyPr wrap="square" lIns="35996" tIns="46795" rIns="35996" bIns="46795">
            <a:spAutoFit/>
          </a:bodyPr>
          <a:lstStyle/>
          <a:p>
            <a:pPr eaLnBrk="0" latinLnBrk="0" hangingPunct="0">
              <a:spcBef>
                <a:spcPct val="50000"/>
              </a:spcBef>
              <a:defRPr/>
            </a:pPr>
            <a:r>
              <a:rPr lang="ko-KR" altLang="en-US" sz="2200" dirty="0" err="1" smtClean="0">
                <a:solidFill>
                  <a:prstClr val="black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자필서명의</a:t>
            </a:r>
            <a:r>
              <a:rPr lang="ko-KR" altLang="en-US" sz="2200" dirty="0" smtClean="0">
                <a:solidFill>
                  <a:prstClr val="black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중요성</a:t>
            </a:r>
            <a:r>
              <a:rPr lang="en-US" altLang="ko-KR" sz="2200" dirty="0" smtClean="0">
                <a:solidFill>
                  <a:prstClr val="black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(2/3)</a:t>
            </a:r>
            <a:endParaRPr lang="ko-KR" altLang="en-US" sz="2200" dirty="0">
              <a:solidFill>
                <a:prstClr val="black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32387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309120" y="1741377"/>
            <a:ext cx="2974441" cy="3282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78509"/>
            <a:r>
              <a:rPr lang="ko-KR" altLang="en-US" sz="1533">
                <a:solidFill>
                  <a:prstClr val="black"/>
                </a:solidFill>
                <a:latin typeface="나눔명조 ExtraBold" panose="02020603020101020101" pitchFamily="18" charset="-127"/>
                <a:ea typeface="나눔명조 ExtraBold" panose="02020603020101020101" pitchFamily="18" charset="-127"/>
              </a:rPr>
              <a:t>표준약관 제</a:t>
            </a:r>
            <a:r>
              <a:rPr lang="en-US" altLang="ko-KR" sz="1533">
                <a:solidFill>
                  <a:prstClr val="black"/>
                </a:solidFill>
                <a:latin typeface="나눔명조 ExtraBold" panose="02020603020101020101" pitchFamily="18" charset="-127"/>
                <a:ea typeface="나눔명조 ExtraBold" panose="02020603020101020101" pitchFamily="18" charset="-127"/>
              </a:rPr>
              <a:t>19</a:t>
            </a:r>
            <a:r>
              <a:rPr lang="ko-KR" altLang="en-US" sz="1533">
                <a:solidFill>
                  <a:prstClr val="black"/>
                </a:solidFill>
                <a:latin typeface="나눔명조 ExtraBold" panose="02020603020101020101" pitchFamily="18" charset="-127"/>
                <a:ea typeface="나눔명조 ExtraBold" panose="02020603020101020101" pitchFamily="18" charset="-127"/>
              </a:rPr>
              <a:t>조 </a:t>
            </a:r>
            <a:r>
              <a:rPr lang="en-US" altLang="ko-KR" sz="1533">
                <a:solidFill>
                  <a:prstClr val="black"/>
                </a:solidFill>
                <a:latin typeface="나눔명조 ExtraBold" panose="02020603020101020101" pitchFamily="18" charset="-127"/>
                <a:ea typeface="나눔명조 ExtraBold" panose="02020603020101020101" pitchFamily="18" charset="-127"/>
              </a:rPr>
              <a:t>[</a:t>
            </a:r>
            <a:r>
              <a:rPr lang="ko-KR" altLang="en-US" sz="1533">
                <a:solidFill>
                  <a:prstClr val="black"/>
                </a:solidFill>
                <a:latin typeface="나눔명조 ExtraBold" panose="02020603020101020101" pitchFamily="18" charset="-127"/>
                <a:ea typeface="나눔명조 ExtraBold" panose="02020603020101020101" pitchFamily="18" charset="-127"/>
              </a:rPr>
              <a:t>계약 무효</a:t>
            </a:r>
            <a:r>
              <a:rPr lang="en-US" altLang="ko-KR" sz="1533">
                <a:solidFill>
                  <a:prstClr val="black"/>
                </a:solidFill>
                <a:latin typeface="나눔명조 ExtraBold" panose="02020603020101020101" pitchFamily="18" charset="-127"/>
                <a:ea typeface="나눔명조 ExtraBold" panose="02020603020101020101" pitchFamily="18" charset="-127"/>
              </a:rPr>
              <a:t>]</a:t>
            </a:r>
            <a:endParaRPr lang="en-US" altLang="ko-KR" sz="1703">
              <a:solidFill>
                <a:prstClr val="black"/>
              </a:solidFill>
              <a:latin typeface="나눔명조" panose="02020603020101020101" pitchFamily="18" charset="-127"/>
              <a:ea typeface="나눔명조" panose="02020603020101020101" pitchFamily="18" charset="-127"/>
            </a:endParaRPr>
          </a:p>
        </p:txBody>
      </p:sp>
      <p:pic>
        <p:nvPicPr>
          <p:cNvPr id="2" name="그림 1" descr="화면 캡처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904" y="1706562"/>
            <a:ext cx="348881" cy="356994"/>
          </a:xfrm>
          <a:prstGeom prst="rect">
            <a:avLst/>
          </a:prstGeom>
        </p:spPr>
      </p:pic>
      <p:graphicFrame>
        <p:nvGraphicFramePr>
          <p:cNvPr id="9" name="표 8"/>
          <p:cNvGraphicFramePr>
            <a:graphicFrameLocks noGrp="1"/>
          </p:cNvGraphicFramePr>
          <p:nvPr>
            <p:extLst/>
          </p:nvPr>
        </p:nvGraphicFramePr>
        <p:xfrm>
          <a:off x="1002634" y="2128125"/>
          <a:ext cx="8513180" cy="21809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513180">
                  <a:extLst>
                    <a:ext uri="{9D8B030D-6E8A-4147-A177-3AD203B41FA5}">
                      <a16:colId xmlns:a16="http://schemas.microsoft.com/office/drawing/2014/main" val="3358192233"/>
                    </a:ext>
                  </a:extLst>
                </a:gridCol>
              </a:tblGrid>
              <a:tr h="2048751">
                <a:tc>
                  <a:txBody>
                    <a:bodyPr/>
                    <a:lstStyle/>
                    <a:p>
                      <a:pPr marL="0" marR="0" lvl="0" indent="0" algn="l" defTabSz="914169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300" b="0" kern="120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       </a:t>
                      </a:r>
                      <a:r>
                        <a:rPr lang="ko-KR" altLang="ko-KR" sz="1300" b="0" kern="120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다음 중 한 가지에 해당되는 경우에는 계약을 무효로 하며 이미 납입한 보험료를</a:t>
                      </a:r>
                      <a:r>
                        <a:rPr lang="en-US" altLang="ko-KR" sz="1300" b="0" kern="120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 </a:t>
                      </a:r>
                      <a:r>
                        <a:rPr lang="ko-KR" altLang="ko-KR" sz="1300" b="0" kern="120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돌려드립니다</a:t>
                      </a:r>
                      <a:r>
                        <a:rPr lang="en-US" altLang="ko-KR" sz="1300" b="0" kern="120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. </a:t>
                      </a:r>
                    </a:p>
                    <a:p>
                      <a:pPr marL="0" marR="0" lvl="0" indent="0" algn="l" defTabSz="914169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300" b="0" kern="120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       </a:t>
                      </a:r>
                      <a:r>
                        <a:rPr lang="ko-KR" altLang="ko-KR" sz="1300" b="0" kern="120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다만</a:t>
                      </a:r>
                      <a:r>
                        <a:rPr lang="en-US" altLang="ko-KR" sz="1300" b="0" kern="120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, </a:t>
                      </a:r>
                      <a:r>
                        <a:rPr lang="ko-KR" altLang="ko-KR" sz="1300" b="0" kern="120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회사의 고의 또는 과실로 계약이 무효로 된 경우와 회사가 승낙 전에 무효임을 알았거나 알 수 있었음에도</a:t>
                      </a:r>
                      <a:endParaRPr lang="en-US" altLang="ko-KR" sz="1300" b="0" kern="1200" smtClean="0">
                        <a:solidFill>
                          <a:schemeClr val="bg2">
                            <a:lumMod val="10000"/>
                          </a:schemeClr>
                        </a:solidFill>
                        <a:latin typeface="나눔명조" panose="02020603020101020101" pitchFamily="18" charset="-127"/>
                        <a:ea typeface="나눔명조" panose="02020603020101020101" pitchFamily="18" charset="-127"/>
                        <a:cs typeface="+mn-cs"/>
                      </a:endParaRPr>
                    </a:p>
                    <a:p>
                      <a:pPr marL="0" marR="0" lvl="0" indent="0" algn="l" defTabSz="914169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300" b="0" kern="120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       </a:t>
                      </a:r>
                      <a:r>
                        <a:rPr lang="ko-KR" altLang="ko-KR" sz="1300" b="0" kern="120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보험료를 반환하지 않은 경우에는</a:t>
                      </a:r>
                      <a:r>
                        <a:rPr lang="en-US" altLang="ko-KR" sz="1300" b="0" kern="120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 </a:t>
                      </a:r>
                      <a:r>
                        <a:rPr lang="ko-KR" altLang="ko-KR" sz="1300" b="0" kern="120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보험료를 납입한 날의 다음 날부터 반환일까지의 기간에 대하여 회사는 이 계약의</a:t>
                      </a:r>
                      <a:endParaRPr lang="en-US" altLang="ko-KR" sz="1300" b="0" kern="1200" smtClean="0">
                        <a:solidFill>
                          <a:schemeClr val="bg2">
                            <a:lumMod val="10000"/>
                          </a:schemeClr>
                        </a:solidFill>
                        <a:latin typeface="나눔명조" panose="02020603020101020101" pitchFamily="18" charset="-127"/>
                        <a:ea typeface="나눔명조" panose="02020603020101020101" pitchFamily="18" charset="-127"/>
                        <a:cs typeface="+mn-cs"/>
                      </a:endParaRPr>
                    </a:p>
                    <a:p>
                      <a:pPr marL="0" marR="0" lvl="0" indent="0" algn="l" defTabSz="914169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300" b="0" kern="120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     </a:t>
                      </a:r>
                      <a:r>
                        <a:rPr lang="ko-KR" altLang="ko-KR" sz="1300" b="0" kern="120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 </a:t>
                      </a:r>
                      <a:r>
                        <a:rPr lang="en-US" altLang="ko-KR" sz="1300" b="0" kern="120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 </a:t>
                      </a:r>
                      <a:r>
                        <a:rPr lang="ko-KR" altLang="ko-KR" sz="1300" b="0" kern="120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보험계약대출이율을 연단위 복리로 계산한 금액을 더하여 돌려드립니다</a:t>
                      </a:r>
                      <a:r>
                        <a:rPr lang="en-US" altLang="ko-KR" sz="1300" b="0" kern="120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.</a:t>
                      </a:r>
                    </a:p>
                    <a:p>
                      <a:pPr marL="0" marR="0" lvl="0" indent="0" algn="l" defTabSz="914169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300" b="0" kern="1200" smtClean="0">
                        <a:solidFill>
                          <a:schemeClr val="bg2">
                            <a:lumMod val="10000"/>
                          </a:schemeClr>
                        </a:solidFill>
                        <a:latin typeface="나눔명조" panose="02020603020101020101" pitchFamily="18" charset="-127"/>
                        <a:ea typeface="나눔명조" panose="02020603020101020101" pitchFamily="18" charset="-127"/>
                        <a:cs typeface="+mn-cs"/>
                      </a:endParaRPr>
                    </a:p>
                    <a:p>
                      <a:pPr marL="0" marR="0" lvl="0" indent="0" algn="l" defTabSz="914169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300" b="0" kern="120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       ① </a:t>
                      </a:r>
                      <a:r>
                        <a:rPr lang="ko-KR" altLang="en-US" sz="1300" b="0" kern="1200" smtClean="0">
                          <a:solidFill>
                            <a:srgbClr val="FF0000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타</a:t>
                      </a:r>
                      <a:r>
                        <a:rPr lang="ko-KR" altLang="ko-KR" sz="1300" b="0" kern="1200" smtClean="0">
                          <a:solidFill>
                            <a:srgbClr val="FF0000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인의 사망을 보험금 지급사유로 하는 계약에서 </a:t>
                      </a:r>
                      <a:r>
                        <a:rPr lang="ko-KR" altLang="ko-KR" sz="1300" b="0" kern="1200" smtClean="0">
                          <a:solidFill>
                            <a:srgbClr val="080DE6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계약을 체결할 때까지</a:t>
                      </a:r>
                      <a:r>
                        <a:rPr lang="en-US" altLang="ko-KR" sz="1300" b="0" kern="1200" smtClean="0">
                          <a:solidFill>
                            <a:srgbClr val="080DE6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 </a:t>
                      </a:r>
                      <a:r>
                        <a:rPr lang="ko-KR" altLang="ko-KR" sz="1300" b="0" kern="1200" smtClean="0">
                          <a:solidFill>
                            <a:srgbClr val="080DE6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피보험자의 서면</a:t>
                      </a:r>
                      <a:r>
                        <a:rPr lang="en-US" altLang="ko-KR" sz="1300" b="0" kern="1200" smtClean="0">
                          <a:solidFill>
                            <a:srgbClr val="080DE6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 </a:t>
                      </a:r>
                      <a:r>
                        <a:rPr lang="en-US" altLang="ko-KR" sz="1100" b="0" kern="120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(</a:t>
                      </a:r>
                      <a:r>
                        <a:rPr lang="ko-KR" altLang="ko-KR" sz="1100" b="0" kern="120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「전자서명법」제</a:t>
                      </a:r>
                      <a:r>
                        <a:rPr lang="en-US" altLang="ko-KR" sz="1100" b="0" kern="120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2</a:t>
                      </a:r>
                      <a:r>
                        <a:rPr lang="ko-KR" altLang="ko-KR" sz="1100" b="0" kern="120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조 </a:t>
                      </a:r>
                      <a:endParaRPr lang="en-US" altLang="ko-KR" sz="1100" b="0" kern="1200" smtClean="0">
                        <a:solidFill>
                          <a:schemeClr val="bg2">
                            <a:lumMod val="10000"/>
                          </a:schemeClr>
                        </a:solidFill>
                        <a:latin typeface="나눔명조" panose="02020603020101020101" pitchFamily="18" charset="-127"/>
                        <a:ea typeface="나눔명조" panose="02020603020101020101" pitchFamily="18" charset="-127"/>
                        <a:cs typeface="+mn-cs"/>
                      </a:endParaRPr>
                    </a:p>
                    <a:p>
                      <a:pPr marL="0" marR="0" lvl="0" indent="0" algn="l" defTabSz="914169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kern="120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             </a:t>
                      </a:r>
                      <a:r>
                        <a:rPr lang="ko-KR" altLang="ko-KR" sz="1100" b="0" kern="120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제</a:t>
                      </a:r>
                      <a:r>
                        <a:rPr lang="en-US" altLang="ko-KR" sz="1100" b="0" kern="120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2</a:t>
                      </a:r>
                      <a:r>
                        <a:rPr lang="ko-KR" altLang="ko-KR" sz="1100" b="0" kern="120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호에 따른 전자서명이 있는 경우로서</a:t>
                      </a:r>
                      <a:r>
                        <a:rPr lang="en-US" altLang="ko-KR" sz="1100" b="0" kern="120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 </a:t>
                      </a:r>
                      <a:r>
                        <a:rPr lang="ko-KR" altLang="ko-KR" sz="1100" b="0" kern="120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상법 시행령 제</a:t>
                      </a:r>
                      <a:r>
                        <a:rPr lang="en-US" altLang="ko-KR" sz="1100" b="0" kern="120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44</a:t>
                      </a:r>
                      <a:r>
                        <a:rPr lang="ko-KR" altLang="ko-KR" sz="1100" b="0" kern="120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조의</a:t>
                      </a:r>
                      <a:r>
                        <a:rPr lang="en-US" altLang="ko-KR" sz="1100" b="0" kern="120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2</a:t>
                      </a:r>
                      <a:r>
                        <a:rPr lang="ko-KR" altLang="ko-KR" sz="1100" b="0" kern="120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에 정하는 바에 따라 본인 확인 및 위조·변조 방지에 대한 </a:t>
                      </a:r>
                      <a:endParaRPr lang="en-US" altLang="ko-KR" sz="1100" b="0" kern="1200" smtClean="0">
                        <a:solidFill>
                          <a:schemeClr val="bg2">
                            <a:lumMod val="10000"/>
                          </a:schemeClr>
                        </a:solidFill>
                        <a:latin typeface="나눔명조" panose="02020603020101020101" pitchFamily="18" charset="-127"/>
                        <a:ea typeface="나눔명조" panose="02020603020101020101" pitchFamily="18" charset="-127"/>
                        <a:cs typeface="+mn-cs"/>
                      </a:endParaRPr>
                    </a:p>
                    <a:p>
                      <a:pPr marL="0" marR="0" lvl="0" indent="0" algn="l" defTabSz="914169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0" kern="120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             </a:t>
                      </a:r>
                      <a:r>
                        <a:rPr lang="ko-KR" altLang="ko-KR" sz="1100" b="0" kern="120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신뢰성을 갖춘 전자문서를 포함</a:t>
                      </a:r>
                      <a:r>
                        <a:rPr lang="en-US" altLang="ko-KR" sz="1100" b="0" kern="120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)</a:t>
                      </a:r>
                      <a:r>
                        <a:rPr lang="ko-KR" altLang="ko-KR" sz="1300" b="0" kern="1200" smtClean="0">
                          <a:solidFill>
                            <a:srgbClr val="080DE6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에 의한 동의를 얻지 않은 경우</a:t>
                      </a:r>
                      <a:r>
                        <a:rPr lang="en-US" altLang="ko-KR" sz="1300" b="0" kern="1200" smtClean="0">
                          <a:solidFill>
                            <a:srgbClr val="080DE6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 </a:t>
                      </a:r>
                      <a:r>
                        <a:rPr lang="en-US" altLang="ko-KR" sz="1300" b="0" kern="120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~ (</a:t>
                      </a:r>
                      <a:r>
                        <a:rPr lang="ko-KR" altLang="en-US" sz="1300" b="0" kern="120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중략</a:t>
                      </a:r>
                      <a:r>
                        <a:rPr lang="en-US" altLang="ko-KR" sz="1300" b="0" kern="120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) </a:t>
                      </a:r>
                      <a:endParaRPr lang="ko-KR" altLang="en-US" sz="1300" b="0" kern="1200">
                        <a:solidFill>
                          <a:schemeClr val="bg2">
                            <a:lumMod val="10000"/>
                          </a:schemeClr>
                        </a:solidFill>
                        <a:latin typeface="나눔명조" panose="02020603020101020101" pitchFamily="18" charset="-127"/>
                        <a:ea typeface="나눔명조" panose="02020603020101020101" pitchFamily="18" charset="-127"/>
                        <a:cs typeface="+mn-cs"/>
                      </a:endParaRPr>
                    </a:p>
                  </a:txBody>
                  <a:tcPr marL="77879" marR="77879" marT="38939" marB="38939"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173233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002477" y="4336713"/>
            <a:ext cx="2073394" cy="1036053"/>
          </a:xfrm>
          <a:prstGeom prst="rect">
            <a:avLst/>
          </a:prstGeom>
          <a:noFill/>
          <a:ln>
            <a:solidFill>
              <a:schemeClr val="tx1"/>
            </a:solidFill>
            <a:prstDash val="sysDot"/>
          </a:ln>
        </p:spPr>
        <p:txBody>
          <a:bodyPr wrap="square" rtlCol="0">
            <a:spAutoFit/>
          </a:bodyPr>
          <a:lstStyle/>
          <a:p>
            <a:pPr defTabSz="778509"/>
            <a:r>
              <a:rPr lang="ko-KR" altLang="en-US" sz="1022">
                <a:solidFill>
                  <a:prstClr val="black"/>
                </a:solidFill>
                <a:latin typeface="나눔명조" panose="02020603020101020101" pitchFamily="18" charset="-127"/>
                <a:ea typeface="나눔명조" panose="02020603020101020101" pitchFamily="18" charset="-127"/>
              </a:rPr>
              <a:t>타인의 사망보험이란</a:t>
            </a:r>
            <a:r>
              <a:rPr lang="en-US" altLang="ko-KR" sz="1022">
                <a:solidFill>
                  <a:prstClr val="black"/>
                </a:solidFill>
                <a:latin typeface="나눔명조" panose="02020603020101020101" pitchFamily="18" charset="-127"/>
                <a:ea typeface="나눔명조" panose="02020603020101020101" pitchFamily="18" charset="-127"/>
              </a:rPr>
              <a:t>?</a:t>
            </a:r>
          </a:p>
          <a:p>
            <a:pPr defTabSz="778509"/>
            <a:endParaRPr lang="en-US" altLang="ko-KR" sz="1022">
              <a:solidFill>
                <a:prstClr val="black"/>
              </a:solidFill>
              <a:latin typeface="나눔명조" panose="02020603020101020101" pitchFamily="18" charset="-127"/>
              <a:ea typeface="나눔명조" panose="02020603020101020101" pitchFamily="18" charset="-127"/>
            </a:endParaRPr>
          </a:p>
          <a:p>
            <a:pPr defTabSz="778509"/>
            <a:r>
              <a:rPr lang="ko-KR" altLang="en-US" sz="1022">
                <a:solidFill>
                  <a:prstClr val="black"/>
                </a:solidFill>
                <a:latin typeface="나눔명조" panose="02020603020101020101" pitchFamily="18" charset="-127"/>
                <a:ea typeface="나눔명조" panose="02020603020101020101" pitchFamily="18" charset="-127"/>
              </a:rPr>
              <a:t>보험계약자가 자기 이외의 제</a:t>
            </a:r>
            <a:r>
              <a:rPr lang="en-US" altLang="ko-KR" sz="1022">
                <a:solidFill>
                  <a:prstClr val="black"/>
                </a:solidFill>
                <a:latin typeface="나눔명조" panose="02020603020101020101" pitchFamily="18" charset="-127"/>
                <a:ea typeface="나눔명조" panose="02020603020101020101" pitchFamily="18" charset="-127"/>
              </a:rPr>
              <a:t>3</a:t>
            </a:r>
            <a:r>
              <a:rPr lang="ko-KR" altLang="en-US" sz="1022">
                <a:solidFill>
                  <a:prstClr val="black"/>
                </a:solidFill>
                <a:latin typeface="나눔명조" panose="02020603020101020101" pitchFamily="18" charset="-127"/>
                <a:ea typeface="나눔명조" panose="02020603020101020101" pitchFamily="18" charset="-127"/>
              </a:rPr>
              <a:t>자를</a:t>
            </a:r>
            <a:endParaRPr lang="en-US" altLang="ko-KR" sz="1022">
              <a:solidFill>
                <a:prstClr val="black"/>
              </a:solidFill>
              <a:latin typeface="나눔명조" panose="02020603020101020101" pitchFamily="18" charset="-127"/>
              <a:ea typeface="나눔명조" panose="02020603020101020101" pitchFamily="18" charset="-127"/>
            </a:endParaRPr>
          </a:p>
          <a:p>
            <a:pPr defTabSz="778509"/>
            <a:r>
              <a:rPr lang="ko-KR" altLang="en-US" sz="1022">
                <a:solidFill>
                  <a:prstClr val="black"/>
                </a:solidFill>
                <a:latin typeface="나눔명조" panose="02020603020101020101" pitchFamily="18" charset="-127"/>
                <a:ea typeface="나눔명조" panose="02020603020101020101" pitchFamily="18" charset="-127"/>
              </a:rPr>
              <a:t>피보험자로 하는 보험계약</a:t>
            </a:r>
            <a:endParaRPr lang="en-US" altLang="ko-KR" sz="1022">
              <a:solidFill>
                <a:prstClr val="black"/>
              </a:solidFill>
              <a:latin typeface="나눔명조" panose="02020603020101020101" pitchFamily="18" charset="-127"/>
              <a:ea typeface="나눔명조" panose="02020603020101020101" pitchFamily="18" charset="-127"/>
            </a:endParaRPr>
          </a:p>
          <a:p>
            <a:pPr defTabSz="778509"/>
            <a:r>
              <a:rPr lang="en-US" altLang="ko-KR" sz="1022">
                <a:solidFill>
                  <a:prstClr val="black"/>
                </a:solidFill>
                <a:latin typeface="나눔명조" panose="02020603020101020101" pitchFamily="18" charset="-127"/>
                <a:ea typeface="나눔명조" panose="02020603020101020101" pitchFamily="18" charset="-127"/>
              </a:rPr>
              <a:t>(</a:t>
            </a:r>
            <a:r>
              <a:rPr lang="ko-KR" altLang="en-US" sz="1022">
                <a:solidFill>
                  <a:prstClr val="black"/>
                </a:solidFill>
                <a:latin typeface="나눔명조" panose="02020603020101020101" pitchFamily="18" charset="-127"/>
                <a:ea typeface="나눔명조" panose="02020603020101020101" pitchFamily="18" charset="-127"/>
              </a:rPr>
              <a:t>계약자 </a:t>
            </a:r>
            <a:r>
              <a:rPr lang="en-US" altLang="ko-KR" sz="1022">
                <a:solidFill>
                  <a:prstClr val="black"/>
                </a:solidFill>
                <a:latin typeface="나눔명조" panose="02020603020101020101" pitchFamily="18" charset="-127"/>
                <a:ea typeface="나눔명조" panose="02020603020101020101" pitchFamily="18" charset="-127"/>
              </a:rPr>
              <a:t>≠ </a:t>
            </a:r>
            <a:r>
              <a:rPr lang="ko-KR" altLang="en-US" sz="1022">
                <a:solidFill>
                  <a:prstClr val="black"/>
                </a:solidFill>
                <a:latin typeface="나눔명조" panose="02020603020101020101" pitchFamily="18" charset="-127"/>
                <a:ea typeface="나눔명조" panose="02020603020101020101" pitchFamily="18" charset="-127"/>
              </a:rPr>
              <a:t>피보험자</a:t>
            </a:r>
            <a:r>
              <a:rPr lang="en-US" altLang="ko-KR" sz="1022">
                <a:solidFill>
                  <a:prstClr val="black"/>
                </a:solidFill>
                <a:latin typeface="나눔명조" panose="02020603020101020101" pitchFamily="18" charset="-127"/>
                <a:ea typeface="나눔명조" panose="02020603020101020101" pitchFamily="18" charset="-127"/>
              </a:rPr>
              <a:t>)</a:t>
            </a:r>
            <a:endParaRPr lang="ko-KR" altLang="en-US" sz="1022">
              <a:solidFill>
                <a:prstClr val="black"/>
              </a:solidFill>
              <a:latin typeface="나눔명조" panose="02020603020101020101" pitchFamily="18" charset="-127"/>
              <a:ea typeface="나눔명조" panose="02020603020101020101" pitchFamily="18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557608" y="4812291"/>
            <a:ext cx="2538792" cy="3282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78509"/>
            <a:endParaRPr lang="ko-KR" altLang="en-US" sz="1533">
              <a:solidFill>
                <a:prstClr val="black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522449" y="4332229"/>
            <a:ext cx="2123405" cy="1665199"/>
          </a:xfrm>
          <a:prstGeom prst="rect">
            <a:avLst/>
          </a:prstGeom>
          <a:noFill/>
          <a:ln>
            <a:solidFill>
              <a:schemeClr val="tx1"/>
            </a:solidFill>
            <a:prstDash val="sysDot"/>
          </a:ln>
        </p:spPr>
        <p:txBody>
          <a:bodyPr wrap="square" rtlCol="0">
            <a:spAutoFit/>
          </a:bodyPr>
          <a:lstStyle/>
          <a:p>
            <a:pPr defTabSz="778509"/>
            <a:r>
              <a:rPr lang="ko-KR" altLang="en-US" sz="1022">
                <a:solidFill>
                  <a:prstClr val="black"/>
                </a:solidFill>
                <a:latin typeface="나눔명조" panose="02020603020101020101" pitchFamily="18" charset="-127"/>
                <a:ea typeface="나눔명조" panose="02020603020101020101" pitchFamily="18" charset="-127"/>
              </a:rPr>
              <a:t>타인의 사망보험에서 피보험자의   서면동의 요구 취지는</a:t>
            </a:r>
            <a:r>
              <a:rPr lang="en-US" altLang="ko-KR" sz="1022">
                <a:solidFill>
                  <a:prstClr val="black"/>
                </a:solidFill>
                <a:latin typeface="나눔명조" panose="02020603020101020101" pitchFamily="18" charset="-127"/>
                <a:ea typeface="나눔명조" panose="02020603020101020101" pitchFamily="18" charset="-127"/>
              </a:rPr>
              <a:t>?</a:t>
            </a:r>
          </a:p>
          <a:p>
            <a:pPr defTabSz="778509"/>
            <a:r>
              <a:rPr lang="en-US" altLang="ko-KR" sz="1022">
                <a:solidFill>
                  <a:prstClr val="black"/>
                </a:solidFill>
                <a:latin typeface="나눔명조" panose="02020603020101020101" pitchFamily="18" charset="-127"/>
                <a:ea typeface="나눔명조" panose="02020603020101020101" pitchFamily="18" charset="-127"/>
              </a:rPr>
              <a:t>① </a:t>
            </a:r>
            <a:r>
              <a:rPr lang="ko-KR" altLang="en-US" sz="1022">
                <a:solidFill>
                  <a:prstClr val="black"/>
                </a:solidFill>
                <a:latin typeface="나눔명조" panose="02020603020101020101" pitchFamily="18" charset="-127"/>
                <a:ea typeface="나눔명조" panose="02020603020101020101" pitchFamily="18" charset="-127"/>
              </a:rPr>
              <a:t>사망보험을 도박에 악용할 우려</a:t>
            </a:r>
            <a:r>
              <a:rPr lang="en-US" altLang="ko-KR" sz="1022">
                <a:solidFill>
                  <a:prstClr val="black"/>
                </a:solidFill>
                <a:latin typeface="나눔명조" panose="02020603020101020101" pitchFamily="18" charset="-127"/>
                <a:ea typeface="나눔명조" panose="02020603020101020101" pitchFamily="18" charset="-127"/>
              </a:rPr>
              <a:t>, </a:t>
            </a:r>
            <a:r>
              <a:rPr lang="ko-KR" altLang="en-US" sz="1022">
                <a:solidFill>
                  <a:prstClr val="black"/>
                </a:solidFill>
                <a:latin typeface="나눔명조" panose="02020603020101020101" pitchFamily="18" charset="-127"/>
                <a:ea typeface="나눔명조" panose="02020603020101020101" pitchFamily="18" charset="-127"/>
              </a:rPr>
              <a:t>② 고의로 피보험자를 살해할 위험</a:t>
            </a:r>
            <a:endParaRPr lang="en-US" altLang="ko-KR" sz="1022">
              <a:solidFill>
                <a:prstClr val="black"/>
              </a:solidFill>
              <a:latin typeface="나눔명조" panose="02020603020101020101" pitchFamily="18" charset="-127"/>
              <a:ea typeface="나눔명조" panose="02020603020101020101" pitchFamily="18" charset="-127"/>
            </a:endParaRPr>
          </a:p>
          <a:p>
            <a:pPr defTabSz="778509"/>
            <a:endParaRPr lang="en-US" altLang="ko-KR" sz="1022">
              <a:solidFill>
                <a:prstClr val="black"/>
              </a:solidFill>
              <a:latin typeface="나눔명조" panose="02020603020101020101" pitchFamily="18" charset="-127"/>
              <a:ea typeface="나눔명조" panose="02020603020101020101" pitchFamily="18" charset="-127"/>
            </a:endParaRPr>
          </a:p>
          <a:p>
            <a:pPr defTabSz="778509"/>
            <a:r>
              <a:rPr lang="ko-KR" altLang="en-US" sz="1022">
                <a:solidFill>
                  <a:prstClr val="black"/>
                </a:solidFill>
                <a:latin typeface="나눔명조" panose="02020603020101020101" pitchFamily="18" charset="-127"/>
                <a:ea typeface="나눔명조" panose="02020603020101020101" pitchFamily="18" charset="-127"/>
              </a:rPr>
              <a:t>자신의 사망보험도 역시 도박에 악용하거나 자살의 위험이 있으나</a:t>
            </a:r>
            <a:r>
              <a:rPr lang="en-US" altLang="ko-KR" sz="1022">
                <a:solidFill>
                  <a:prstClr val="black"/>
                </a:solidFill>
                <a:latin typeface="나눔명조" panose="02020603020101020101" pitchFamily="18" charset="-127"/>
                <a:ea typeface="나눔명조" panose="02020603020101020101" pitchFamily="18" charset="-127"/>
              </a:rPr>
              <a:t>, </a:t>
            </a:r>
            <a:r>
              <a:rPr lang="ko-KR" altLang="en-US" sz="1022">
                <a:solidFill>
                  <a:prstClr val="black"/>
                </a:solidFill>
                <a:latin typeface="나눔명조" panose="02020603020101020101" pitchFamily="18" charset="-127"/>
                <a:ea typeface="나눔명조" panose="02020603020101020101" pitchFamily="18" charset="-127"/>
              </a:rPr>
              <a:t>보험계약자와 피보험자가 동일해 피보험자의 동의를 요구하는 것이 무의미 하기 때문임</a:t>
            </a:r>
            <a:r>
              <a:rPr lang="en-US" altLang="ko-KR" sz="1022">
                <a:solidFill>
                  <a:prstClr val="black"/>
                </a:solidFill>
                <a:latin typeface="나눔명조" panose="02020603020101020101" pitchFamily="18" charset="-127"/>
                <a:ea typeface="나눔명조" panose="02020603020101020101" pitchFamily="18" charset="-127"/>
              </a:rPr>
              <a:t>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071472" y="4332229"/>
            <a:ext cx="3148714" cy="1507913"/>
          </a:xfrm>
          <a:prstGeom prst="rect">
            <a:avLst/>
          </a:prstGeom>
          <a:noFill/>
          <a:ln>
            <a:solidFill>
              <a:schemeClr val="tx1"/>
            </a:solidFill>
            <a:prstDash val="sysDot"/>
          </a:ln>
        </p:spPr>
        <p:txBody>
          <a:bodyPr wrap="square" rtlCol="0">
            <a:spAutoFit/>
          </a:bodyPr>
          <a:lstStyle/>
          <a:p>
            <a:pPr defTabSz="778509"/>
            <a:r>
              <a:rPr lang="ko-KR" altLang="en-US" sz="1022">
                <a:solidFill>
                  <a:prstClr val="black"/>
                </a:solidFill>
                <a:latin typeface="나눔명조" panose="02020603020101020101" pitchFamily="18" charset="-127"/>
                <a:ea typeface="나눔명조" panose="02020603020101020101" pitchFamily="18" charset="-127"/>
              </a:rPr>
              <a:t>타인의 사망을 보험금 지급사유로 하는 계약에서 계약을 체결할 때까지 피보험자의 서면동의를 얻지 아니하면 해당 보험계약은 무효로 처리되며</a:t>
            </a:r>
            <a:r>
              <a:rPr lang="en-US" altLang="ko-KR" sz="1022">
                <a:solidFill>
                  <a:prstClr val="black"/>
                </a:solidFill>
                <a:latin typeface="나눔명조" panose="02020603020101020101" pitchFamily="18" charset="-127"/>
                <a:ea typeface="나눔명조" panose="02020603020101020101" pitchFamily="18" charset="-127"/>
              </a:rPr>
              <a:t>, </a:t>
            </a:r>
            <a:r>
              <a:rPr lang="ko-KR" altLang="en-US" sz="1022">
                <a:solidFill>
                  <a:prstClr val="black"/>
                </a:solidFill>
                <a:latin typeface="나눔명조" panose="02020603020101020101" pitchFamily="18" charset="-127"/>
                <a:ea typeface="나눔명조" panose="02020603020101020101" pitchFamily="18" charset="-127"/>
              </a:rPr>
              <a:t>기납입보험료를 반환하도록 규정하고 있음</a:t>
            </a:r>
            <a:r>
              <a:rPr lang="en-US" altLang="ko-KR" sz="1022">
                <a:solidFill>
                  <a:prstClr val="black"/>
                </a:solidFill>
                <a:latin typeface="나눔명조" panose="02020603020101020101" pitchFamily="18" charset="-127"/>
                <a:ea typeface="나눔명조" panose="02020603020101020101" pitchFamily="18" charset="-127"/>
              </a:rPr>
              <a:t>.</a:t>
            </a:r>
          </a:p>
          <a:p>
            <a:pPr defTabSz="778509"/>
            <a:endParaRPr lang="en-US" altLang="ko-KR" sz="1022">
              <a:solidFill>
                <a:prstClr val="black"/>
              </a:solidFill>
              <a:latin typeface="나눔명조" panose="02020603020101020101" pitchFamily="18" charset="-127"/>
              <a:ea typeface="나눔명조" panose="02020603020101020101" pitchFamily="18" charset="-127"/>
            </a:endParaRPr>
          </a:p>
          <a:p>
            <a:pPr defTabSz="778509"/>
            <a:r>
              <a:rPr lang="ko-KR" altLang="en-US" sz="1022">
                <a:solidFill>
                  <a:prstClr val="black"/>
                </a:solidFill>
                <a:latin typeface="나눔명조" panose="02020603020101020101" pitchFamily="18" charset="-127"/>
                <a:ea typeface="나눔명조" panose="02020603020101020101" pitchFamily="18" charset="-127"/>
              </a:rPr>
              <a:t>이때 회사가 고의 또는 과실이 있으면 기납입보험료에 보험료를 받은 기간에 대해 보험계약대출을 연단위   복리로 계산한 금액을 반환하도록 하여 회사의 책임을 가중하고 있음</a:t>
            </a:r>
            <a:r>
              <a:rPr lang="en-US" altLang="ko-KR" sz="1022">
                <a:solidFill>
                  <a:prstClr val="black"/>
                </a:solidFill>
                <a:latin typeface="나눔명조" panose="02020603020101020101" pitchFamily="18" charset="-127"/>
                <a:ea typeface="나눔명조" panose="02020603020101020101" pitchFamily="18" charset="-127"/>
              </a:rPr>
              <a:t>.</a:t>
            </a:r>
          </a:p>
        </p:txBody>
      </p:sp>
      <p:pic>
        <p:nvPicPr>
          <p:cNvPr id="5" name="그림 4" descr="화면 캡처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7447" y="4994850"/>
            <a:ext cx="1160231" cy="413789"/>
          </a:xfrm>
          <a:prstGeom prst="rect">
            <a:avLst/>
          </a:prstGeom>
        </p:spPr>
      </p:pic>
      <p:pic>
        <p:nvPicPr>
          <p:cNvPr id="6" name="그림 5" descr="화면 캡처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6770" y="5797471"/>
            <a:ext cx="1119663" cy="381334"/>
          </a:xfrm>
          <a:prstGeom prst="rect">
            <a:avLst/>
          </a:prstGeom>
        </p:spPr>
      </p:pic>
      <p:pic>
        <p:nvPicPr>
          <p:cNvPr id="10" name="그림 9" descr="화면 캡처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0469" y="5631652"/>
            <a:ext cx="1135891" cy="389448"/>
          </a:xfrm>
          <a:prstGeom prst="rect">
            <a:avLst/>
          </a:prstGeom>
        </p:spPr>
      </p:pic>
      <p:pic>
        <p:nvPicPr>
          <p:cNvPr id="17" name="그림 16" descr="화면 캡처"/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5556" b="88889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882" y="5131937"/>
            <a:ext cx="1218333" cy="85330"/>
          </a:xfrm>
          <a:prstGeom prst="rect">
            <a:avLst/>
          </a:prstGeom>
        </p:spPr>
      </p:pic>
      <p:pic>
        <p:nvPicPr>
          <p:cNvPr id="18" name="그림 17" descr="화면 캡처"/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5556" b="88889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9610" y="4639361"/>
            <a:ext cx="1218333" cy="85330"/>
          </a:xfrm>
          <a:prstGeom prst="rect">
            <a:avLst/>
          </a:prstGeom>
        </p:spPr>
      </p:pic>
      <p:pic>
        <p:nvPicPr>
          <p:cNvPr id="19" name="그림 18" descr="화면 캡처"/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5556" b="88889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9366" y="5252647"/>
            <a:ext cx="1340990" cy="93921"/>
          </a:xfrm>
          <a:prstGeom prst="rect">
            <a:avLst/>
          </a:prstGeom>
        </p:spPr>
      </p:pic>
      <p:pic>
        <p:nvPicPr>
          <p:cNvPr id="23" name="그림 22" descr="화면 캡처"/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5556" b="88889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3947" y="5589956"/>
            <a:ext cx="1218333" cy="85330"/>
          </a:xfrm>
          <a:prstGeom prst="rect">
            <a:avLst/>
          </a:prstGeom>
        </p:spPr>
      </p:pic>
      <p:sp>
        <p:nvSpPr>
          <p:cNvPr id="21" name="Text Box 2"/>
          <p:cNvSpPr txBox="1">
            <a:spLocks noChangeArrowheads="1"/>
          </p:cNvSpPr>
          <p:nvPr/>
        </p:nvSpPr>
        <p:spPr bwMode="auto">
          <a:xfrm>
            <a:off x="398544" y="149288"/>
            <a:ext cx="9504536" cy="433058"/>
          </a:xfrm>
          <a:prstGeom prst="rect">
            <a:avLst/>
          </a:prstGeom>
          <a:noFill/>
          <a:ln w="25400">
            <a:noFill/>
            <a:miter lim="800000"/>
            <a:headEnd type="none" w="sm" len="sm"/>
            <a:tailEnd type="none" w="sm" len="sm"/>
          </a:ln>
        </p:spPr>
        <p:txBody>
          <a:bodyPr wrap="square" lIns="35996" tIns="46795" rIns="35996" bIns="46795">
            <a:spAutoFit/>
          </a:bodyPr>
          <a:lstStyle/>
          <a:p>
            <a:pPr eaLnBrk="0" latinLnBrk="0" hangingPunct="0">
              <a:spcBef>
                <a:spcPct val="50000"/>
              </a:spcBef>
              <a:defRPr/>
            </a:pPr>
            <a:r>
              <a:rPr lang="ko-KR" altLang="en-US" sz="2200" dirty="0" err="1" smtClean="0">
                <a:solidFill>
                  <a:prstClr val="black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자필서명의</a:t>
            </a:r>
            <a:r>
              <a:rPr lang="ko-KR" altLang="en-US" sz="2200" dirty="0" smtClean="0">
                <a:solidFill>
                  <a:prstClr val="black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중요성</a:t>
            </a:r>
            <a:r>
              <a:rPr lang="en-US" altLang="ko-KR" sz="2200" dirty="0" smtClean="0">
                <a:solidFill>
                  <a:prstClr val="black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(3/3)</a:t>
            </a:r>
            <a:endParaRPr lang="ko-KR" altLang="en-US" sz="2200" dirty="0">
              <a:solidFill>
                <a:prstClr val="black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2" name="Text Box 2"/>
          <p:cNvSpPr txBox="1">
            <a:spLocks noChangeArrowheads="1"/>
          </p:cNvSpPr>
          <p:nvPr/>
        </p:nvSpPr>
        <p:spPr bwMode="auto">
          <a:xfrm>
            <a:off x="583407" y="1126496"/>
            <a:ext cx="4990514" cy="367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ctr" latinLnBrk="1">
              <a:lnSpc>
                <a:spcPct val="120000"/>
              </a:lnSpc>
              <a:defRPr kumimoji="1" sz="900" b="1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1pPr>
            <a:lvl2pPr marL="742950" indent="-285750" algn="ctr" latinLnBrk="1">
              <a:lnSpc>
                <a:spcPct val="120000"/>
              </a:lnSpc>
              <a:defRPr kumimoji="1" sz="900" b="1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2pPr>
            <a:lvl3pPr marL="1143000" indent="-228600" algn="ctr" latinLnBrk="1">
              <a:lnSpc>
                <a:spcPct val="120000"/>
              </a:lnSpc>
              <a:defRPr kumimoji="1" sz="900" b="1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3pPr>
            <a:lvl4pPr marL="1600200" indent="-228600" algn="ctr" latinLnBrk="1">
              <a:lnSpc>
                <a:spcPct val="120000"/>
              </a:lnSpc>
              <a:defRPr kumimoji="1" sz="900" b="1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4pPr>
            <a:lvl5pPr marL="2057400" indent="-228600" algn="ctr" latinLnBrk="1">
              <a:lnSpc>
                <a:spcPct val="120000"/>
              </a:lnSpc>
              <a:defRPr kumimoji="1" sz="900" b="1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5pPr>
            <a:lvl6pPr marL="2514600" indent="-228600" algn="ctr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kumimoji="1" sz="900" b="1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6pPr>
            <a:lvl7pPr marL="2971800" indent="-228600" algn="ctr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kumimoji="1" sz="900" b="1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7pPr>
            <a:lvl8pPr marL="3429000" indent="-228600" algn="ctr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kumimoji="1" sz="900" b="1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8pPr>
            <a:lvl9pPr marL="3886200" indent="-228600" algn="ctr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 kumimoji="1" sz="900" b="1">
                <a:solidFill>
                  <a:schemeClr val="tx1"/>
                </a:solidFill>
                <a:latin typeface="돋움" panose="020B0600000101010101" pitchFamily="50" charset="-127"/>
                <a:ea typeface="돋움" panose="020B0600000101010101" pitchFamily="50" charset="-127"/>
              </a:defRPr>
            </a:lvl9pPr>
          </a:lstStyle>
          <a:p>
            <a:pPr algn="l" defTabSz="778509">
              <a:lnSpc>
                <a:spcPct val="100000"/>
              </a:lnSpc>
              <a:spcBef>
                <a:spcPct val="50000"/>
              </a:spcBef>
            </a:pPr>
            <a:r>
              <a:rPr lang="ko-KR" altLang="en-US" sz="1789" dirty="0">
                <a:solidFill>
                  <a:srgbClr val="1F497D">
                    <a:lumMod val="75000"/>
                  </a:srgbClr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□ 관련법률 </a:t>
            </a:r>
            <a:r>
              <a:rPr lang="en-US" altLang="ko-KR" sz="1789" dirty="0">
                <a:solidFill>
                  <a:srgbClr val="1F497D">
                    <a:lumMod val="75000"/>
                  </a:srgbClr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_ </a:t>
            </a:r>
            <a:r>
              <a:rPr lang="ko-KR" altLang="en-US" sz="1789" dirty="0">
                <a:solidFill>
                  <a:srgbClr val="1F497D">
                    <a:lumMod val="75000"/>
                  </a:srgbClr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표준약관 </a:t>
            </a:r>
            <a:endParaRPr lang="en-US" altLang="ko-KR" sz="1533" b="0" dirty="0">
              <a:solidFill>
                <a:srgbClr val="1F497D">
                  <a:lumMod val="75000"/>
                </a:srgbClr>
              </a:solidFill>
              <a:latin typeface="Arial Black" panose="020B0A04020102020204" pitchFamily="34" charset="0"/>
              <a:ea typeface="교보서체 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330749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타원 3"/>
          <p:cNvSpPr/>
          <p:nvPr/>
        </p:nvSpPr>
        <p:spPr>
          <a:xfrm>
            <a:off x="2861714" y="3051375"/>
            <a:ext cx="1034063" cy="1034063"/>
          </a:xfrm>
          <a:prstGeom prst="ellipse">
            <a:avLst/>
          </a:prstGeom>
          <a:solidFill>
            <a:srgbClr val="4DB8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3273"/>
            <a:r>
              <a:rPr lang="en-US" altLang="ko-KR" sz="6400" dirty="0">
                <a:solidFill>
                  <a:prstClr val="white"/>
                </a:solidFill>
                <a:latin typeface="나눔고딕 ExtraBold" pitchFamily="50" charset="-127"/>
                <a:ea typeface="나눔고딕 ExtraBold" pitchFamily="50" charset="-127"/>
              </a:rPr>
              <a:t>2</a:t>
            </a:r>
            <a:endParaRPr lang="ko-KR" altLang="en-US" sz="6400" dirty="0">
              <a:solidFill>
                <a:prstClr val="white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6" name="Rectangle 91"/>
          <p:cNvSpPr>
            <a:spLocks noChangeArrowheads="1"/>
          </p:cNvSpPr>
          <p:nvPr/>
        </p:nvSpPr>
        <p:spPr bwMode="gray">
          <a:xfrm>
            <a:off x="4255815" y="3123383"/>
            <a:ext cx="6048672" cy="7821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45892" tIns="21545" rIns="45892" bIns="21545">
            <a:spAutoFit/>
          </a:bodyPr>
          <a:lstStyle/>
          <a:p>
            <a:pPr defTabSz="911920"/>
            <a:r>
              <a:rPr lang="ko-KR" altLang="en-US" sz="4800" kern="0" dirty="0" smtClean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latin typeface="나눔고딕 ExtraBold" pitchFamily="50" charset="-127"/>
                <a:ea typeface="나눔고딕 ExtraBold" pitchFamily="50" charset="-127"/>
                <a:cs typeface="Verdana" panose="020B0604030504040204" pitchFamily="34" charset="0"/>
              </a:rPr>
              <a:t>공지사항</a:t>
            </a:r>
            <a:endParaRPr lang="en-US" altLang="ko-KR" sz="4800" kern="0" dirty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solidFill>
                <a:srgbClr val="1408FE"/>
              </a:solidFill>
              <a:latin typeface="나눔고딕 ExtraBold" pitchFamily="50" charset="-127"/>
              <a:ea typeface="나눔고딕 ExtraBold" pitchFamily="50" charset="-127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2523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Box 2"/>
          <p:cNvSpPr txBox="1">
            <a:spLocks noChangeArrowheads="1"/>
          </p:cNvSpPr>
          <p:nvPr/>
        </p:nvSpPr>
        <p:spPr bwMode="auto">
          <a:xfrm>
            <a:off x="398544" y="149288"/>
            <a:ext cx="9504536" cy="433058"/>
          </a:xfrm>
          <a:prstGeom prst="rect">
            <a:avLst/>
          </a:prstGeom>
          <a:noFill/>
          <a:ln w="25400">
            <a:noFill/>
            <a:miter lim="800000"/>
            <a:headEnd type="none" w="sm" len="sm"/>
            <a:tailEnd type="none" w="sm" len="sm"/>
          </a:ln>
        </p:spPr>
        <p:txBody>
          <a:bodyPr wrap="square" lIns="35996" tIns="46795" rIns="35996" bIns="46795">
            <a:spAutoFit/>
          </a:bodyPr>
          <a:lstStyle/>
          <a:p>
            <a:pPr eaLnBrk="0" latinLnBrk="0" hangingPunct="0">
              <a:spcBef>
                <a:spcPct val="50000"/>
              </a:spcBef>
              <a:defRPr/>
            </a:pPr>
            <a:r>
              <a:rPr lang="en-US" altLang="ko-KR" sz="2200" dirty="0" smtClean="0">
                <a:solidFill>
                  <a:prstClr val="black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10</a:t>
            </a:r>
            <a:r>
              <a:rPr lang="ko-KR" altLang="en-US" sz="2200" dirty="0" smtClean="0">
                <a:solidFill>
                  <a:prstClr val="black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월 공지사항</a:t>
            </a:r>
            <a:endParaRPr lang="ko-KR" altLang="en-US" sz="2200" dirty="0">
              <a:solidFill>
                <a:prstClr val="black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" y="6997005"/>
            <a:ext cx="9728423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ko-KR" altLang="en-US" sz="9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본 자료는 </a:t>
            </a:r>
            <a:r>
              <a:rPr lang="en-US" altLang="ko-KR" sz="9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GA</a:t>
            </a:r>
            <a:r>
              <a:rPr lang="ko-KR" altLang="en-US" sz="9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교육용 </a:t>
            </a:r>
            <a:r>
              <a:rPr lang="ko-KR" altLang="en-US" sz="900" dirty="0" err="1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요약자료이며</a:t>
            </a:r>
            <a:r>
              <a:rPr lang="en-US" altLang="ko-KR" sz="9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9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고객에게 제시 및 교부를 금지합니다</a:t>
            </a:r>
            <a:r>
              <a:rPr lang="en-US" altLang="ko-KR" sz="9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9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정확한 내용은 약관과 상품설명서를 확인하시기 바랍니다</a:t>
            </a:r>
            <a:r>
              <a:rPr lang="en-US" altLang="ko-KR" sz="9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endParaRPr lang="ko-KR" altLang="en-US" sz="900" dirty="0">
              <a:solidFill>
                <a:srgbClr val="FF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" y="6997007"/>
            <a:ext cx="9728423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ko-KR" altLang="en-US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본 자료는 </a:t>
            </a:r>
            <a:r>
              <a:rPr lang="en-US" altLang="ko-KR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GA</a:t>
            </a:r>
            <a:r>
              <a:rPr lang="ko-KR" altLang="en-US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교육용 요약 자료이며</a:t>
            </a:r>
            <a:r>
              <a:rPr lang="en-US" altLang="ko-KR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고객에게 제시 및 교부를 금지합니다</a:t>
            </a:r>
            <a:r>
              <a:rPr lang="en-US" altLang="ko-KR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정확한 내용은 약관과 상품설명서를 확인하시기 바랍니다</a:t>
            </a:r>
            <a:r>
              <a:rPr lang="en-US" altLang="ko-KR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endParaRPr lang="ko-KR" altLang="en-US" sz="1000" dirty="0">
              <a:solidFill>
                <a:srgbClr val="FF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9" name="모서리가 둥근 직사각형 8"/>
          <p:cNvSpPr/>
          <p:nvPr/>
        </p:nvSpPr>
        <p:spPr>
          <a:xfrm>
            <a:off x="7963287" y="556924"/>
            <a:ext cx="1117064" cy="166755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100" dirty="0"/>
              <a:t>고객 제시 불가</a:t>
            </a:r>
          </a:p>
        </p:txBody>
      </p:sp>
      <p:sp>
        <p:nvSpPr>
          <p:cNvPr id="10" name="모서리가 둥근 직사각형 9"/>
          <p:cNvSpPr/>
          <p:nvPr/>
        </p:nvSpPr>
        <p:spPr>
          <a:xfrm>
            <a:off x="9116164" y="556922"/>
            <a:ext cx="854113" cy="166756"/>
          </a:xfrm>
          <a:prstGeom prst="roundRect">
            <a:avLst/>
          </a:prstGeom>
          <a:solidFill>
            <a:schemeClr val="tx2">
              <a:lumMod val="50000"/>
            </a:schemeClr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1100" dirty="0"/>
              <a:t>GA </a:t>
            </a:r>
            <a:r>
              <a:rPr lang="ko-KR" altLang="en-US" sz="1100" dirty="0"/>
              <a:t>교육용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778733"/>
            <a:fld id="{2747D207-944B-4363-884F-A02296F6E65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 defTabSz="778733"/>
              <a:t>13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직사각형 2"/>
          <p:cNvSpPr/>
          <p:nvPr/>
        </p:nvSpPr>
        <p:spPr>
          <a:xfrm>
            <a:off x="799431" y="1251173"/>
            <a:ext cx="8316733" cy="496855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" name="모서리가 둥근 직사각형 3"/>
          <p:cNvSpPr/>
          <p:nvPr/>
        </p:nvSpPr>
        <p:spPr>
          <a:xfrm>
            <a:off x="1159471" y="1539205"/>
            <a:ext cx="7560840" cy="122413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1" name="타원 10"/>
          <p:cNvSpPr/>
          <p:nvPr/>
        </p:nvSpPr>
        <p:spPr>
          <a:xfrm>
            <a:off x="1303487" y="1683221"/>
            <a:ext cx="936104" cy="936104"/>
          </a:xfrm>
          <a:prstGeom prst="ellipse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altLang="ko-KR" sz="28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01</a:t>
            </a:r>
            <a:endParaRPr lang="ko-KR" altLang="en-US" sz="28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cxnSp>
        <p:nvCxnSpPr>
          <p:cNvPr id="14" name="직선 연결선 13"/>
          <p:cNvCxnSpPr/>
          <p:nvPr/>
        </p:nvCxnSpPr>
        <p:spPr>
          <a:xfrm>
            <a:off x="7424167" y="1683221"/>
            <a:ext cx="0" cy="936104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1298647" y="1808383"/>
            <a:ext cx="91750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100" dirty="0" smtClean="0">
                <a:solidFill>
                  <a:schemeClr val="bg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공지사항</a:t>
            </a:r>
            <a:endParaRPr lang="ko-KR" altLang="en-US" sz="1100" dirty="0">
              <a:solidFill>
                <a:schemeClr val="bg1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0" name="모서리가 둥근 직사각형 19"/>
          <p:cNvSpPr/>
          <p:nvPr/>
        </p:nvSpPr>
        <p:spPr>
          <a:xfrm>
            <a:off x="1159471" y="3045699"/>
            <a:ext cx="7560840" cy="122413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1" name="타원 20"/>
          <p:cNvSpPr/>
          <p:nvPr/>
        </p:nvSpPr>
        <p:spPr>
          <a:xfrm>
            <a:off x="1303487" y="3189715"/>
            <a:ext cx="936104" cy="936104"/>
          </a:xfrm>
          <a:prstGeom prst="ellipse">
            <a:avLst/>
          </a:prstGeom>
          <a:solidFill>
            <a:srgbClr val="FF3648"/>
          </a:soli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altLang="ko-KR" sz="28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02</a:t>
            </a:r>
            <a:endParaRPr lang="ko-KR" altLang="en-US" sz="28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cxnSp>
        <p:nvCxnSpPr>
          <p:cNvPr id="22" name="직선 연결선 21"/>
          <p:cNvCxnSpPr/>
          <p:nvPr/>
        </p:nvCxnSpPr>
        <p:spPr>
          <a:xfrm>
            <a:off x="7424167" y="3189715"/>
            <a:ext cx="0" cy="936104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1298647" y="3314877"/>
            <a:ext cx="91750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100" dirty="0" smtClean="0">
                <a:solidFill>
                  <a:schemeClr val="bg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공지사항</a:t>
            </a:r>
            <a:endParaRPr lang="ko-KR" altLang="en-US" sz="1100" dirty="0">
              <a:solidFill>
                <a:schemeClr val="bg1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4" name="모서리가 둥근 직사각형 23"/>
          <p:cNvSpPr/>
          <p:nvPr/>
        </p:nvSpPr>
        <p:spPr>
          <a:xfrm>
            <a:off x="1159471" y="4655638"/>
            <a:ext cx="7560840" cy="122413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5" name="타원 24"/>
          <p:cNvSpPr/>
          <p:nvPr/>
        </p:nvSpPr>
        <p:spPr>
          <a:xfrm>
            <a:off x="1303487" y="4799654"/>
            <a:ext cx="936104" cy="936104"/>
          </a:xfrm>
          <a:prstGeom prst="ellipse">
            <a:avLst/>
          </a:prstGeom>
          <a:solidFill>
            <a:srgbClr val="00A956"/>
          </a:soli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altLang="ko-KR" sz="28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03</a:t>
            </a:r>
            <a:endParaRPr lang="ko-KR" altLang="en-US" sz="28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cxnSp>
        <p:nvCxnSpPr>
          <p:cNvPr id="26" name="직선 연결선 25"/>
          <p:cNvCxnSpPr/>
          <p:nvPr/>
        </p:nvCxnSpPr>
        <p:spPr>
          <a:xfrm>
            <a:off x="7424167" y="4799654"/>
            <a:ext cx="0" cy="936104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1298647" y="4924816"/>
            <a:ext cx="91750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100" dirty="0" smtClean="0">
                <a:solidFill>
                  <a:schemeClr val="bg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공지사항</a:t>
            </a:r>
            <a:endParaRPr lang="ko-KR" altLang="en-US" sz="1100" dirty="0">
              <a:solidFill>
                <a:schemeClr val="bg1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2311599" y="1611213"/>
            <a:ext cx="5191125" cy="1061829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lnSpc>
                <a:spcPct val="150000"/>
              </a:lnSpc>
            </a:pPr>
            <a:r>
              <a:rPr lang="en-US" altLang="ko-KR" sz="16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2">
                    <a:lumMod val="50000"/>
                  </a:schemeClr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10</a:t>
            </a:r>
            <a:r>
              <a:rPr lang="ko-KR" altLang="en-US" sz="16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2">
                    <a:lumMod val="50000"/>
                  </a:schemeClr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월 마지막 헬스케어서비스 가입 </a:t>
            </a:r>
            <a:r>
              <a:rPr lang="ko-KR" altLang="en-US" sz="1600" b="1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2">
                    <a:lumMod val="50000"/>
                  </a:schemeClr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이벤트</a:t>
            </a:r>
            <a:endParaRPr lang="en-US" altLang="ko-KR" sz="1600" b="1" dirty="0" smtClean="0">
              <a:ln w="9525">
                <a:solidFill>
                  <a:schemeClr val="bg1"/>
                </a:solidFill>
                <a:prstDash val="solid"/>
              </a:ln>
              <a:solidFill>
                <a:schemeClr val="tx2">
                  <a:lumMod val="50000"/>
                </a:schemeClr>
              </a:solidFill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  <a:p>
            <a:pPr lvl="0">
              <a:lnSpc>
                <a:spcPct val="150000"/>
              </a:lnSpc>
            </a:pPr>
            <a:r>
              <a:rPr lang="ko-KR" altLang="en-US" sz="900" baseline="300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 ● </a:t>
            </a:r>
            <a:r>
              <a:rPr lang="en-US" altLang="ko-KR" sz="13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(</a:t>
            </a:r>
            <a:r>
              <a:rPr lang="ko-KR" altLang="en-US" sz="13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실속</a:t>
            </a:r>
            <a:r>
              <a:rPr lang="en-US" altLang="ko-KR" sz="13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</a:t>
            </a:r>
            <a:r>
              <a:rPr lang="ko-KR" altLang="en-US" sz="13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여성</a:t>
            </a:r>
            <a:r>
              <a:rPr lang="en-US" altLang="ko-KR" sz="13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</a:t>
            </a:r>
            <a:r>
              <a:rPr lang="ko-KR" altLang="en-US" sz="13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간편</a:t>
            </a:r>
            <a:r>
              <a:rPr lang="en-US" altLang="ko-KR" sz="13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300" dirty="0" err="1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변액</a:t>
            </a:r>
            <a:r>
              <a:rPr lang="en-US" altLang="ko-KR" sz="13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) </a:t>
            </a:r>
            <a:r>
              <a:rPr lang="ko-KR" altLang="en-US" sz="13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건강종신보험 </a:t>
            </a:r>
            <a:r>
              <a:rPr lang="ko-KR" altLang="en-US" sz="1300" dirty="0" err="1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신계약</a:t>
            </a:r>
            <a:r>
              <a:rPr lang="ko-KR" altLang="en-US" sz="13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3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가입자</a:t>
            </a:r>
            <a:endParaRPr lang="en-US" altLang="ko-KR" sz="1300" dirty="0">
              <a:solidFill>
                <a:schemeClr val="tx1">
                  <a:lumMod val="75000"/>
                  <a:lumOff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 lvl="0">
              <a:lnSpc>
                <a:spcPct val="150000"/>
              </a:lnSpc>
            </a:pPr>
            <a:r>
              <a:rPr lang="ko-KR" altLang="en-US" sz="900" baseline="300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 ●  </a:t>
            </a:r>
            <a:r>
              <a:rPr lang="ko-KR" altLang="en-US" sz="1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주계약</a:t>
            </a:r>
            <a:r>
              <a:rPr lang="ko-KR" altLang="en-US" sz="13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300" dirty="0">
                <a:solidFill>
                  <a:srgbClr val="0069A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1</a:t>
            </a:r>
            <a:r>
              <a:rPr lang="ko-KR" altLang="en-US" sz="1300" dirty="0">
                <a:solidFill>
                  <a:srgbClr val="0069A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천만 </a:t>
            </a:r>
            <a:r>
              <a:rPr lang="ko-KR" altLang="en-US" sz="13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가입시 </a:t>
            </a:r>
            <a:r>
              <a:rPr lang="en-US" altLang="ko-KR" sz="13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15</a:t>
            </a:r>
            <a:r>
              <a:rPr lang="ko-KR" altLang="en-US" sz="13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년</a:t>
            </a:r>
            <a:r>
              <a:rPr lang="en-US" altLang="ko-KR" sz="13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en-US" altLang="ko-KR" sz="1300" dirty="0">
                <a:solidFill>
                  <a:srgbClr val="0069A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3</a:t>
            </a:r>
            <a:r>
              <a:rPr lang="ko-KR" altLang="en-US" sz="1300" dirty="0">
                <a:solidFill>
                  <a:srgbClr val="0069A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천만 </a:t>
            </a:r>
            <a:r>
              <a:rPr lang="ko-KR" altLang="en-US" sz="13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가입시 </a:t>
            </a:r>
            <a:r>
              <a:rPr lang="en-US" altLang="ko-KR" sz="13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70</a:t>
            </a:r>
            <a:r>
              <a:rPr lang="ko-KR" altLang="en-US" sz="13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세 </a:t>
            </a:r>
            <a:r>
              <a:rPr lang="en-US" altLang="ko-KR" sz="13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or 20</a:t>
            </a:r>
            <a:r>
              <a:rPr lang="ko-KR" altLang="en-US" sz="13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년 서비스 이용</a:t>
            </a:r>
          </a:p>
        </p:txBody>
      </p:sp>
      <p:sp>
        <p:nvSpPr>
          <p:cNvPr id="30" name="직사각형 29"/>
          <p:cNvSpPr/>
          <p:nvPr/>
        </p:nvSpPr>
        <p:spPr>
          <a:xfrm>
            <a:off x="2311599" y="3153075"/>
            <a:ext cx="5191125" cy="1361911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lnSpc>
                <a:spcPct val="150000"/>
              </a:lnSpc>
            </a:pPr>
            <a:r>
              <a:rPr lang="ko-KR" altLang="en-US" sz="16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2">
                    <a:lumMod val="50000"/>
                  </a:schemeClr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종신보험 </a:t>
            </a:r>
            <a:r>
              <a:rPr lang="ko-KR" altLang="en-US" sz="1600" b="1" dirty="0" err="1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2">
                    <a:lumMod val="50000"/>
                  </a:schemeClr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주계약</a:t>
            </a:r>
            <a:r>
              <a:rPr lang="ko-KR" altLang="en-US" sz="16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2">
                    <a:lumMod val="50000"/>
                  </a:schemeClr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16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2">
                    <a:lumMod val="50000"/>
                  </a:schemeClr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5</a:t>
            </a:r>
            <a:r>
              <a:rPr lang="ko-KR" altLang="en-US" sz="16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2">
                    <a:lumMod val="50000"/>
                  </a:schemeClr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억↓ </a:t>
            </a:r>
            <a:r>
              <a:rPr lang="ko-KR" altLang="en-US" sz="1600" b="1" dirty="0" err="1">
                <a:ln w="9525">
                  <a:solidFill>
                    <a:schemeClr val="bg1"/>
                  </a:solidFill>
                  <a:prstDash val="solid"/>
                </a:ln>
                <a:solidFill>
                  <a:srgbClr val="0069A3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무진단</a:t>
            </a:r>
            <a:r>
              <a:rPr lang="ko-KR" altLang="en-US" sz="16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2">
                    <a:lumMod val="50000"/>
                  </a:schemeClr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 가입 </a:t>
            </a:r>
            <a:r>
              <a:rPr lang="en-US" altLang="ko-KR" sz="16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2">
                    <a:lumMod val="50000"/>
                  </a:schemeClr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Event</a:t>
            </a:r>
          </a:p>
          <a:p>
            <a:pPr lvl="0">
              <a:lnSpc>
                <a:spcPct val="150000"/>
              </a:lnSpc>
            </a:pPr>
            <a:r>
              <a:rPr lang="ko-KR" altLang="en-US" sz="900" baseline="300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 ● </a:t>
            </a:r>
            <a:r>
              <a:rPr lang="ko-KR" altLang="en-US" sz="13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종신보험 </a:t>
            </a:r>
            <a:r>
              <a:rPr lang="ko-KR" altLang="en-US" sz="1300" dirty="0" err="1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신계약</a:t>
            </a:r>
            <a:r>
              <a:rPr lang="ko-KR" altLang="en-US" sz="13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가입시 </a:t>
            </a:r>
            <a:r>
              <a:rPr lang="en-US" altLang="ko-KR" sz="13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5</a:t>
            </a:r>
            <a:r>
              <a:rPr lang="ko-KR" altLang="en-US" sz="13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억까지 </a:t>
            </a:r>
            <a:r>
              <a:rPr lang="ko-KR" altLang="en-US" sz="1300" dirty="0" err="1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무진단</a:t>
            </a:r>
            <a:r>
              <a:rPr lang="ko-KR" altLang="en-US" sz="13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인수</a:t>
            </a:r>
            <a:r>
              <a:rPr lang="en-US" altLang="ko-KR" sz="13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(9~11</a:t>
            </a:r>
            <a:r>
              <a:rPr lang="ko-KR" altLang="en-US" sz="13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월</a:t>
            </a:r>
            <a:r>
              <a:rPr lang="en-US" altLang="ko-KR" sz="13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)</a:t>
            </a:r>
          </a:p>
          <a:p>
            <a:pPr lvl="0">
              <a:lnSpc>
                <a:spcPct val="150000"/>
              </a:lnSpc>
            </a:pPr>
            <a:r>
              <a:rPr lang="ko-KR" altLang="en-US" sz="900" baseline="300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 ●  </a:t>
            </a:r>
            <a:r>
              <a:rPr lang="ko-KR" altLang="en-US" sz="1300" dirty="0" err="1" smtClean="0">
                <a:solidFill>
                  <a:srgbClr val="0069A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사망보장</a:t>
            </a:r>
            <a:r>
              <a:rPr lang="ko-KR" altLang="en-US" sz="1300" dirty="0" err="1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만</a:t>
            </a:r>
            <a:r>
              <a:rPr lang="ko-KR" altLang="en-US" sz="13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있는 종신보험</a:t>
            </a:r>
            <a:r>
              <a:rPr lang="en-US" altLang="ko-KR" sz="13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(</a:t>
            </a:r>
            <a:r>
              <a:rPr lang="ko-KR" altLang="en-US" sz="13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단</a:t>
            </a:r>
            <a:r>
              <a:rPr lang="en-US" altLang="ko-KR" sz="13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300" dirty="0" err="1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주계약만</a:t>
            </a:r>
            <a:r>
              <a:rPr lang="ko-KR" altLang="en-US" sz="13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적용</a:t>
            </a:r>
            <a:r>
              <a:rPr lang="en-US" altLang="ko-KR" sz="13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300" dirty="0" smtClean="0">
                <a:solidFill>
                  <a:srgbClr val="0069A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모든 특약 제외</a:t>
            </a:r>
            <a:r>
              <a:rPr lang="en-US" altLang="ko-KR" sz="13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)</a:t>
            </a:r>
            <a:endParaRPr lang="en-US" altLang="ko-KR" sz="1300" dirty="0">
              <a:solidFill>
                <a:schemeClr val="tx1">
                  <a:lumMod val="75000"/>
                  <a:lumOff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 lvl="0">
              <a:lnSpc>
                <a:spcPct val="150000"/>
              </a:lnSpc>
            </a:pPr>
            <a:endParaRPr lang="ko-KR" altLang="en-US" sz="1300" dirty="0">
              <a:solidFill>
                <a:schemeClr val="tx1">
                  <a:lumMod val="75000"/>
                  <a:lumOff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31" name="직사각형 30"/>
          <p:cNvSpPr/>
          <p:nvPr/>
        </p:nvSpPr>
        <p:spPr>
          <a:xfrm>
            <a:off x="2311599" y="4692058"/>
            <a:ext cx="5191125" cy="1192634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lnSpc>
                <a:spcPct val="130000"/>
              </a:lnSpc>
            </a:pPr>
            <a:r>
              <a:rPr lang="ko-KR" altLang="en-US" sz="16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2">
                    <a:lumMod val="50000"/>
                  </a:schemeClr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업계 최고로 재탄생한 </a:t>
            </a:r>
            <a:r>
              <a:rPr lang="ko-KR" altLang="en-US" sz="16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0069A3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경영인정기보험</a:t>
            </a:r>
            <a:r>
              <a:rPr lang="en-US" altLang="ko-KR" sz="16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0069A3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1600" b="1" dirty="0" err="1">
                <a:ln w="9525">
                  <a:solidFill>
                    <a:schemeClr val="bg1"/>
                  </a:solidFill>
                  <a:prstDash val="solid"/>
                </a:ln>
                <a:solidFill>
                  <a:srgbClr val="0069A3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간편포함</a:t>
            </a:r>
            <a:r>
              <a:rPr lang="en-US" altLang="ko-KR" sz="16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0069A3"/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) </a:t>
            </a:r>
            <a:r>
              <a:rPr lang="ko-KR" altLang="en-US" sz="16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tx2">
                    <a:lumMod val="50000"/>
                  </a:schemeClr>
                </a:solidFill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출시</a:t>
            </a:r>
          </a:p>
          <a:p>
            <a:pPr lvl="0">
              <a:lnSpc>
                <a:spcPct val="130000"/>
              </a:lnSpc>
            </a:pPr>
            <a:r>
              <a:rPr lang="ko-KR" altLang="en-US" sz="900" baseline="300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 </a:t>
            </a:r>
            <a:r>
              <a:rPr lang="ko-KR" altLang="en-US" sz="900" baseline="3000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● </a:t>
            </a:r>
            <a:r>
              <a:rPr lang="ko-KR" altLang="en-US" sz="130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가입 </a:t>
            </a:r>
            <a:r>
              <a:rPr lang="en-US" altLang="ko-KR" sz="1300" dirty="0">
                <a:solidFill>
                  <a:srgbClr val="0069A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4</a:t>
            </a:r>
            <a:r>
              <a:rPr lang="ko-KR" altLang="en-US" sz="1300" dirty="0" err="1">
                <a:solidFill>
                  <a:srgbClr val="0069A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년이후</a:t>
            </a:r>
            <a:r>
              <a:rPr lang="ko-KR" altLang="en-US" sz="1300" dirty="0">
                <a:solidFill>
                  <a:srgbClr val="0069A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300" dirty="0" err="1">
                <a:solidFill>
                  <a:srgbClr val="0069A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환급률</a:t>
            </a:r>
            <a:r>
              <a:rPr lang="ko-KR" altLang="en-US" sz="1300" dirty="0">
                <a:solidFill>
                  <a:srgbClr val="0069A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3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업계 최고 </a:t>
            </a:r>
            <a:r>
              <a:rPr lang="ko-KR" altLang="en-US" sz="13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수준</a:t>
            </a:r>
            <a:endParaRPr lang="ko-KR" altLang="en-US" sz="1300" dirty="0">
              <a:solidFill>
                <a:schemeClr val="tx1">
                  <a:lumMod val="75000"/>
                  <a:lumOff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 lvl="0">
              <a:lnSpc>
                <a:spcPct val="130000"/>
              </a:lnSpc>
            </a:pPr>
            <a:r>
              <a:rPr lang="ko-KR" altLang="en-US" sz="900" baseline="300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 ● </a:t>
            </a:r>
            <a:r>
              <a:rPr lang="ko-KR" altLang="en-US" sz="13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일반형 </a:t>
            </a:r>
            <a:r>
              <a:rPr lang="ko-KR" altLang="en-US" sz="13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및 </a:t>
            </a:r>
            <a:r>
              <a:rPr lang="ko-KR" altLang="en-US" sz="1300" dirty="0" err="1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간편가입</a:t>
            </a:r>
            <a:r>
              <a:rPr lang="ko-KR" altLang="en-US" sz="13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300" dirty="0" err="1">
                <a:solidFill>
                  <a:srgbClr val="0069A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전연령</a:t>
            </a:r>
            <a:r>
              <a:rPr lang="ko-KR" altLang="en-US" sz="1300" dirty="0">
                <a:solidFill>
                  <a:srgbClr val="0069A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동일한 가입한도 </a:t>
            </a:r>
            <a:r>
              <a:rPr lang="ko-KR" altLang="en-US" sz="13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적용</a:t>
            </a:r>
            <a:r>
              <a:rPr lang="en-US" altLang="ko-KR" sz="13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(</a:t>
            </a:r>
            <a:r>
              <a:rPr lang="ko-KR" altLang="en-US" sz="13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연령별 차등 폐지</a:t>
            </a:r>
            <a:r>
              <a:rPr lang="en-US" altLang="ko-KR" sz="13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)</a:t>
            </a:r>
          </a:p>
          <a:p>
            <a:pPr>
              <a:lnSpc>
                <a:spcPct val="130000"/>
              </a:lnSpc>
            </a:pPr>
            <a:r>
              <a:rPr lang="ko-KR" altLang="en-US" sz="900" baseline="30000" dirty="0"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●  </a:t>
            </a:r>
            <a:r>
              <a:rPr lang="ko-KR" altLang="en-US" sz="1300" dirty="0" smtClean="0">
                <a:solidFill>
                  <a:srgbClr val="0069A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개인사업자</a:t>
            </a:r>
            <a:r>
              <a:rPr lang="ko-KR" altLang="en-US" sz="13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도 </a:t>
            </a:r>
            <a:r>
              <a:rPr lang="ko-KR" altLang="en-US" sz="1300" dirty="0" err="1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가입가능</a:t>
            </a:r>
            <a:r>
              <a:rPr lang="en-US" altLang="ko-KR" sz="13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300" dirty="0">
                <a:solidFill>
                  <a:srgbClr val="0069A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할증 특약 </a:t>
            </a:r>
            <a:r>
              <a:rPr lang="ko-KR" altLang="en-US" sz="13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추가로 </a:t>
            </a:r>
            <a:r>
              <a:rPr lang="ko-KR" altLang="en-US" sz="1300" dirty="0" err="1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인수률</a:t>
            </a:r>
            <a:r>
              <a:rPr lang="ko-KR" altLang="en-US" sz="13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완화</a:t>
            </a:r>
          </a:p>
        </p:txBody>
      </p:sp>
      <p:pic>
        <p:nvPicPr>
          <p:cNvPr id="18" name="그림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92907" y="1650541"/>
            <a:ext cx="940759" cy="983172"/>
          </a:xfrm>
          <a:prstGeom prst="rect">
            <a:avLst/>
          </a:prstGeom>
        </p:spPr>
      </p:pic>
      <p:pic>
        <p:nvPicPr>
          <p:cNvPr id="19" name="그림 18"/>
          <p:cNvPicPr>
            <a:picLocks noChangeAspect="1"/>
          </p:cNvPicPr>
          <p:nvPr/>
        </p:nvPicPr>
        <p:blipFill rotWithShape="1">
          <a:blip r:embed="rId3"/>
          <a:srcRect l="8548" t="8695" r="6110"/>
          <a:stretch/>
        </p:blipFill>
        <p:spPr>
          <a:xfrm>
            <a:off x="7492907" y="4879094"/>
            <a:ext cx="1080120" cy="818562"/>
          </a:xfrm>
          <a:prstGeom prst="rect">
            <a:avLst/>
          </a:prstGeom>
        </p:spPr>
      </p:pic>
      <p:pic>
        <p:nvPicPr>
          <p:cNvPr id="28" name="그림 27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859" b="100000" l="4523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521103" y="3110385"/>
            <a:ext cx="912563" cy="1048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40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그림 5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 contras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895513" y="2230957"/>
            <a:ext cx="1755385" cy="964430"/>
          </a:xfrm>
          <a:prstGeom prst="rect">
            <a:avLst/>
          </a:prstGeom>
        </p:spPr>
      </p:pic>
      <p:pic>
        <p:nvPicPr>
          <p:cNvPr id="23" name="그림 22" descr="arrow.png"/>
          <p:cNvPicPr/>
          <p:nvPr/>
        </p:nvPicPr>
        <p:blipFill>
          <a:blip r:embed="rId5" cstate="screen">
            <a:duotone>
              <a:prstClr val="black"/>
              <a:schemeClr val="bg1">
                <a:lumMod val="95000"/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 rot="10800000">
            <a:off x="2509130" y="3231667"/>
            <a:ext cx="5164832" cy="576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TextBox 14"/>
          <p:cNvSpPr txBox="1">
            <a:spLocks noChangeArrowheads="1"/>
          </p:cNvSpPr>
          <p:nvPr/>
        </p:nvSpPr>
        <p:spPr bwMode="auto">
          <a:xfrm>
            <a:off x="210143" y="191820"/>
            <a:ext cx="10173695" cy="4471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>
            <a:spAutoFit/>
          </a:bodyPr>
          <a:lstStyle/>
          <a:p>
            <a:pPr defTabSz="958255">
              <a:defRPr/>
            </a:pPr>
            <a:r>
              <a:rPr lang="ko-KR" altLang="en-US" sz="2306" dirty="0" smtClean="0">
                <a:solidFill>
                  <a:srgbClr val="1F497D"/>
                </a:solidFill>
                <a:latin typeface="나눔고딕 ExtraBold" pitchFamily="50" charset="-127"/>
                <a:ea typeface="나눔고딕 ExtraBold" pitchFamily="50" charset="-127"/>
              </a:rPr>
              <a:t>마지막 한달</a:t>
            </a:r>
            <a:r>
              <a:rPr lang="en-US" altLang="ko-KR" sz="2306" dirty="0" smtClean="0">
                <a:solidFill>
                  <a:srgbClr val="1F497D"/>
                </a:solidFill>
                <a:latin typeface="나눔고딕 ExtraBold" pitchFamily="50" charset="-127"/>
                <a:ea typeface="나눔고딕 ExtraBold" pitchFamily="50" charset="-127"/>
              </a:rPr>
              <a:t>~! </a:t>
            </a:r>
            <a:r>
              <a:rPr lang="ko-KR" altLang="en-US" sz="2306" dirty="0" err="1" smtClean="0">
                <a:solidFill>
                  <a:srgbClr val="1F497D"/>
                </a:solidFill>
                <a:latin typeface="나눔고딕 ExtraBold" pitchFamily="50" charset="-127"/>
                <a:ea typeface="나눔고딕 ExtraBold" pitchFamily="50" charset="-127"/>
              </a:rPr>
              <a:t>건강종신</a:t>
            </a:r>
            <a:r>
              <a:rPr lang="ko-KR" altLang="en-US" sz="2306" dirty="0" smtClean="0">
                <a:solidFill>
                  <a:srgbClr val="1F497D"/>
                </a:solidFill>
                <a:latin typeface="나눔고딕 ExtraBold" pitchFamily="50" charset="-127"/>
                <a:ea typeface="나눔고딕 ExtraBold" pitchFamily="50" charset="-127"/>
              </a:rPr>
              <a:t> 헬스케어서비스</a:t>
            </a:r>
            <a:r>
              <a:rPr lang="en-US" altLang="ko-KR" sz="2306" dirty="0" smtClean="0">
                <a:solidFill>
                  <a:srgbClr val="1F497D"/>
                </a:solidFill>
                <a:latin typeface="나눔고딕 ExtraBold" pitchFamily="50" charset="-127"/>
                <a:ea typeface="나눔고딕 ExtraBold" pitchFamily="50" charset="-127"/>
              </a:rPr>
              <a:t> </a:t>
            </a:r>
            <a:r>
              <a:rPr lang="ko-KR" altLang="en-US" sz="2306" dirty="0" smtClean="0">
                <a:solidFill>
                  <a:srgbClr val="1F497D"/>
                </a:solidFill>
                <a:latin typeface="나눔고딕 ExtraBold" pitchFamily="50" charset="-127"/>
                <a:ea typeface="나눔고딕 ExtraBold" pitchFamily="50" charset="-127"/>
              </a:rPr>
              <a:t>가입 </a:t>
            </a:r>
            <a:r>
              <a:rPr lang="en-US" altLang="ko-KR" sz="2306" dirty="0" smtClean="0">
                <a:solidFill>
                  <a:srgbClr val="1F497D"/>
                </a:solidFill>
                <a:latin typeface="나눔고딕 ExtraBold" pitchFamily="50" charset="-127"/>
                <a:ea typeface="나눔고딕 ExtraBold" pitchFamily="50" charset="-127"/>
              </a:rPr>
              <a:t>Event</a:t>
            </a:r>
            <a:endParaRPr lang="en-US" altLang="ko-KR" sz="1153" b="1" dirty="0">
              <a:solidFill>
                <a:srgbClr val="1F497D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20" name="AutoShape 297"/>
          <p:cNvSpPr>
            <a:spLocks noChangeArrowheads="1"/>
          </p:cNvSpPr>
          <p:nvPr/>
        </p:nvSpPr>
        <p:spPr bwMode="auto">
          <a:xfrm>
            <a:off x="8072239" y="1623789"/>
            <a:ext cx="1808659" cy="157159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  <a:headEnd/>
            <a:tailEnd/>
          </a:ln>
        </p:spPr>
        <p:txBody>
          <a:bodyPr wrap="none" tIns="72000" bIns="72000" anchor="ctr"/>
          <a:lstStyle>
            <a:defPPr>
              <a:defRPr lang="ko-KR"/>
            </a:defPPr>
            <a:lvl1pPr marL="0" algn="l" defTabSz="914191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1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1" algn="l" defTabSz="914191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89" algn="l" defTabSz="914191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83" algn="l" defTabSz="914191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79" algn="l" defTabSz="914191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73" algn="l" defTabSz="914191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71" algn="l" defTabSz="914191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67" algn="l" defTabSz="914191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4278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300" b="1" i="0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23.9~10</a:t>
            </a:r>
            <a:r>
              <a:rPr kumimoji="0" lang="ko-KR" altLang="en-US" sz="1300" b="1" i="0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월</a:t>
            </a:r>
            <a:r>
              <a:rPr kumimoji="0" lang="ko-KR" altLang="en-US" sz="1300" b="1" i="0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kumimoji="0" lang="en-US" altLang="ko-KR" sz="1300" b="1" i="0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2</a:t>
            </a:r>
            <a:r>
              <a:rPr kumimoji="0" lang="ko-KR" altLang="en-US" sz="1300" b="1" i="0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개월</a:t>
            </a:r>
            <a:endParaRPr kumimoji="0" lang="en-US" altLang="ko-KR" sz="1300" b="1" i="0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marR="0" lvl="0" indent="0" algn="ctr" defTabSz="74278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00" b="1" i="0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실속건강종신보험</a:t>
            </a:r>
            <a:endParaRPr kumimoji="0" lang="en-US" altLang="ko-KR" sz="1300" b="1" i="0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marR="0" lvl="0" indent="0" algn="ctr" defTabSz="74278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헬스케어서비스</a:t>
            </a:r>
            <a:endParaRPr kumimoji="0" lang="en-US" altLang="ko-KR" sz="1300" b="1" i="0" u="sng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0" marR="0" lvl="0" indent="0" algn="ctr" defTabSz="742780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3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부가 기준 </a:t>
            </a:r>
            <a:r>
              <a:rPr lang="ko-KR" altLang="en-US" sz="1300" b="1" noProof="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한시적 완화</a:t>
            </a:r>
            <a:endParaRPr lang="en-US" altLang="ko-KR" sz="1300" b="1" noProof="0" dirty="0" smtClea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1" name="AutoShape 85"/>
          <p:cNvSpPr>
            <a:spLocks noChangeArrowheads="1"/>
          </p:cNvSpPr>
          <p:nvPr/>
        </p:nvSpPr>
        <p:spPr bwMode="auto">
          <a:xfrm rot="5400000">
            <a:off x="4756955" y="2265573"/>
            <a:ext cx="1368102" cy="288032"/>
          </a:xfrm>
          <a:prstGeom prst="triangle">
            <a:avLst>
              <a:gd name="adj" fmla="val 50000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56078"/>
                  <a:invGamma/>
                </a:schemeClr>
              </a:gs>
            </a:gsLst>
            <a:lin ang="0" scaled="1"/>
          </a:gra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91419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graphicFrame>
        <p:nvGraphicFramePr>
          <p:cNvPr id="24" name="표 23"/>
          <p:cNvGraphicFramePr>
            <a:graphicFrameLocks noGrp="1"/>
          </p:cNvGraphicFramePr>
          <p:nvPr>
            <p:extLst/>
          </p:nvPr>
        </p:nvGraphicFramePr>
        <p:xfrm>
          <a:off x="556748" y="1623790"/>
          <a:ext cx="4534798" cy="157159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26859">
                  <a:extLst>
                    <a:ext uri="{9D8B030D-6E8A-4147-A177-3AD203B41FA5}">
                      <a16:colId xmlns:a16="http://schemas.microsoft.com/office/drawing/2014/main" val="4150034756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87089356"/>
                    </a:ext>
                  </a:extLst>
                </a:gridCol>
                <a:gridCol w="1339787">
                  <a:extLst>
                    <a:ext uri="{9D8B030D-6E8A-4147-A177-3AD203B41FA5}">
                      <a16:colId xmlns:a16="http://schemas.microsoft.com/office/drawing/2014/main" val="2803484556"/>
                    </a:ext>
                  </a:extLst>
                </a:gridCol>
              </a:tblGrid>
              <a:tr h="323261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서비스명</a:t>
                      </a:r>
                      <a:endParaRPr lang="ko-KR" altLang="en-US" sz="1200" b="1" i="0" u="none" strike="noStrike" dirty="0" smtClean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서비스 기간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현 </a:t>
                      </a:r>
                      <a:r>
                        <a:rPr lang="ko-KR" altLang="en-US" sz="12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부가기준</a:t>
                      </a:r>
                      <a:endParaRPr lang="ko-KR" altLang="en-US" sz="1200" b="1" i="0" u="none" strike="noStrike" dirty="0" smtClean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9473410"/>
                  </a:ext>
                </a:extLst>
              </a:tr>
              <a:tr h="62416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spc="-100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200" b="0" i="0" u="none" strike="noStrike" spc="-100" dirty="0" err="1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우먼</a:t>
                      </a:r>
                      <a:r>
                        <a:rPr lang="en-US" altLang="ko-KR" sz="1200" b="0" i="0" u="none" strike="noStrike" spc="-100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  <a:r>
                        <a:rPr lang="ko-KR" altLang="en-US" sz="1200" b="0" i="0" u="none" strike="noStrike" spc="-100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헬스케어서비스</a:t>
                      </a:r>
                      <a:r>
                        <a:rPr lang="en-US" altLang="ko-KR" sz="1200" b="0" i="0" u="none" strike="noStrike" spc="-100" dirty="0" err="1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ⅢPlus</a:t>
                      </a:r>
                      <a:endParaRPr lang="en-US" altLang="ko-KR" sz="1200" b="0" i="0" u="none" strike="noStrike" spc="-100" dirty="0" smtClean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kern="1200" spc="-100" dirty="0" err="1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가입후</a:t>
                      </a:r>
                      <a:r>
                        <a:rPr lang="ko-KR" altLang="en-US" sz="1200" b="0" i="0" u="none" strike="noStrike" kern="1200" spc="-100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 </a:t>
                      </a:r>
                      <a:r>
                        <a:rPr lang="en-US" altLang="ko-KR" sz="1200" b="1" i="0" u="none" strike="noStrike" kern="1200" spc="-100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5</a:t>
                      </a:r>
                      <a:r>
                        <a:rPr lang="ko-KR" altLang="en-US" sz="1200" b="1" i="0" u="none" strike="noStrike" kern="1200" spc="-100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</a:t>
                      </a:r>
                      <a:endParaRPr lang="en-US" altLang="ko-KR" sz="1200" b="1" i="0" u="none" strike="noStrike" kern="1200" spc="-100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kern="1200" spc="-100" dirty="0" err="1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주계약</a:t>
                      </a:r>
                      <a:r>
                        <a:rPr lang="ko-KR" altLang="en-US" sz="1200" b="0" i="0" u="none" strike="noStrike" kern="1200" spc="-100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 가입금액</a:t>
                      </a:r>
                      <a:endParaRPr lang="en-US" altLang="ko-KR" sz="1200" b="0" i="0" u="none" strike="noStrike" kern="1200" spc="-100" dirty="0" smtClean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  <a:p>
                      <a:pPr algn="ctr" fontAlgn="ctr"/>
                      <a:r>
                        <a:rPr lang="en-US" altLang="ko-KR" sz="1200" b="1" i="0" u="none" strike="noStrike" kern="1200" spc="-100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5</a:t>
                      </a:r>
                      <a:r>
                        <a:rPr lang="ko-KR" altLang="en-US" sz="1200" b="1" i="0" u="none" strike="noStrike" kern="1200" spc="-100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천만↑</a:t>
                      </a:r>
                      <a:endParaRPr lang="en-US" altLang="ko-KR" sz="1200" b="1" i="0" u="none" strike="noStrike" kern="1200" spc="-100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7036282"/>
                  </a:ext>
                </a:extLst>
              </a:tr>
              <a:tr h="624169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0" i="0" u="none" strike="noStrike" spc="-100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200" b="0" i="0" u="none" strike="noStrike" spc="-100" dirty="0" err="1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우먼</a:t>
                      </a:r>
                      <a:r>
                        <a:rPr lang="en-US" altLang="ko-KR" sz="1200" b="0" i="0" u="none" strike="noStrike" spc="-100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  <a:r>
                        <a:rPr lang="ko-KR" altLang="en-US" sz="1200" b="0" i="0" u="none" strike="noStrike" spc="-100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헬스케어서비스</a:t>
                      </a:r>
                      <a:r>
                        <a:rPr lang="en-US" altLang="ko-KR" sz="1200" b="0" i="0" u="none" strike="noStrike" spc="-100" dirty="0" err="1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ⅡPlus</a:t>
                      </a:r>
                      <a:endParaRPr lang="en-US" altLang="ko-KR" sz="1200" b="0" i="0" u="none" strike="noStrike" spc="-100" dirty="0" smtClean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kern="1200" spc="-100" dirty="0" err="1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가입후</a:t>
                      </a:r>
                      <a:r>
                        <a:rPr lang="ko-KR" altLang="en-US" sz="1200" b="0" i="0" u="none" strike="noStrike" kern="1200" spc="-100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 </a:t>
                      </a:r>
                      <a:endParaRPr lang="en-US" altLang="ko-KR" sz="1200" b="0" i="0" u="none" strike="noStrike" kern="1200" spc="-100" dirty="0" smtClean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  <a:p>
                      <a:pPr algn="ctr" fontAlgn="ctr"/>
                      <a:r>
                        <a:rPr lang="en-US" altLang="ko-KR" sz="1200" b="1" i="0" u="none" strike="noStrike" kern="1200" spc="-100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70</a:t>
                      </a:r>
                      <a:r>
                        <a:rPr lang="ko-KR" altLang="en-US" sz="1200" b="1" i="0" u="none" strike="noStrike" kern="1200" spc="-100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세 또는 </a:t>
                      </a:r>
                      <a:r>
                        <a:rPr lang="en-US" altLang="ko-KR" sz="1200" b="1" i="0" u="none" strike="noStrike" kern="1200" spc="-100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0</a:t>
                      </a:r>
                      <a:r>
                        <a:rPr lang="ko-KR" altLang="en-US" sz="1200" b="1" i="0" u="none" strike="noStrike" kern="1200" spc="-100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년</a:t>
                      </a:r>
                      <a:endParaRPr lang="en-US" altLang="ko-KR" sz="1200" b="1" i="0" u="none" strike="noStrike" kern="1200" spc="-100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kern="1200" spc="-100" dirty="0" err="1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주계약</a:t>
                      </a:r>
                      <a:r>
                        <a:rPr lang="ko-KR" altLang="en-US" sz="1200" b="0" i="0" u="none" strike="noStrike" kern="1200" spc="-100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 가입금액</a:t>
                      </a:r>
                      <a:endParaRPr lang="en-US" altLang="ko-KR" sz="1200" b="0" i="0" u="none" strike="noStrike" kern="1200" spc="-100" dirty="0" smtClean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  <a:p>
                      <a:pPr algn="ctr" fontAlgn="ctr"/>
                      <a:r>
                        <a:rPr lang="en-US" altLang="ko-KR" sz="1200" b="1" i="0" u="none" strike="noStrike" kern="1200" spc="-100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7</a:t>
                      </a:r>
                      <a:r>
                        <a:rPr lang="ko-KR" altLang="en-US" sz="1200" b="1" i="0" u="none" strike="noStrike" kern="1200" spc="-100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천만↑</a:t>
                      </a:r>
                      <a:endParaRPr lang="en-US" altLang="ko-KR" sz="1200" b="1" i="0" u="none" strike="noStrike" kern="1200" spc="-100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7116906"/>
                  </a:ext>
                </a:extLst>
              </a:tr>
            </a:tbl>
          </a:graphicData>
        </a:graphic>
      </p:graphicFrame>
      <p:sp>
        <p:nvSpPr>
          <p:cNvPr id="25" name="AutoShape 297"/>
          <p:cNvSpPr>
            <a:spLocks noChangeArrowheads="1"/>
          </p:cNvSpPr>
          <p:nvPr/>
        </p:nvSpPr>
        <p:spPr bwMode="auto">
          <a:xfrm>
            <a:off x="295375" y="1112524"/>
            <a:ext cx="5837725" cy="318655"/>
          </a:xfrm>
          <a:prstGeom prst="homePlate">
            <a:avLst>
              <a:gd name="adj" fmla="val 0"/>
            </a:avLst>
          </a:prstGeom>
          <a:noFill/>
          <a:ln w="6350">
            <a:noFill/>
            <a:miter lim="800000"/>
            <a:headEnd/>
            <a:tailEnd/>
          </a:ln>
        </p:spPr>
        <p:txBody>
          <a:bodyPr wrap="none" anchor="ctr"/>
          <a:lstStyle>
            <a:defPPr>
              <a:defRPr lang="ko-KR"/>
            </a:defPPr>
            <a:lvl1pPr marL="0" algn="l" defTabSz="914191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97" algn="l" defTabSz="914191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91" algn="l" defTabSz="914191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89" algn="l" defTabSz="914191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83" algn="l" defTabSz="914191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479" algn="l" defTabSz="914191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573" algn="l" defTabSz="914191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671" algn="l" defTabSz="914191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767" algn="l" defTabSz="914191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74278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ct val="20000"/>
              </a:spcAft>
              <a:buClrTx/>
              <a:buSzTx/>
              <a:buFontTx/>
              <a:buNone/>
              <a:tabLst/>
              <a:defRPr/>
            </a:pPr>
            <a:r>
              <a:rPr lang="ko-KR" altLang="en-US" b="1" noProof="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□ 실속건강종신보험 헬스케어서비스 가입 기준</a:t>
            </a:r>
            <a:endParaRPr kumimoji="0" lang="ko-KR" altLang="en-US" b="1" i="0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aphicFrame>
        <p:nvGraphicFramePr>
          <p:cNvPr id="2" name="표 1"/>
          <p:cNvGraphicFramePr>
            <a:graphicFrameLocks noGrp="1"/>
          </p:cNvGraphicFramePr>
          <p:nvPr>
            <p:extLst/>
          </p:nvPr>
        </p:nvGraphicFramePr>
        <p:xfrm>
          <a:off x="5895513" y="1623788"/>
          <a:ext cx="1755385" cy="157159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55385">
                  <a:extLst>
                    <a:ext uri="{9D8B030D-6E8A-4147-A177-3AD203B41FA5}">
                      <a16:colId xmlns:a16="http://schemas.microsoft.com/office/drawing/2014/main" val="2694239867"/>
                    </a:ext>
                  </a:extLst>
                </a:gridCol>
              </a:tblGrid>
              <a:tr h="323261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Event </a:t>
                      </a:r>
                      <a:r>
                        <a:rPr lang="ko-KR" altLang="en-US" sz="12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부가기준</a:t>
                      </a:r>
                      <a:endParaRPr lang="ko-KR" altLang="en-US" sz="1200" b="1" i="0" u="none" strike="noStrike" dirty="0" smtClean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177027"/>
                  </a:ext>
                </a:extLst>
              </a:tr>
              <a:tr h="62416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kern="1200" spc="-100" dirty="0" err="1" smtClean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주계약</a:t>
                      </a:r>
                      <a:r>
                        <a:rPr lang="ko-KR" altLang="en-US" sz="1200" b="0" i="0" u="none" strike="noStrike" kern="1200" spc="-100" dirty="0" smtClean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 가입금액</a:t>
                      </a:r>
                      <a:endParaRPr lang="en-US" altLang="ko-KR" sz="1200" b="0" i="0" u="none" strike="noStrike" kern="1200" spc="-100" dirty="0" smtClean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  <a:p>
                      <a:pPr algn="ctr" fontAlgn="ctr"/>
                      <a:r>
                        <a:rPr lang="en-US" altLang="ko-KR" sz="1600" b="1" i="0" u="none" strike="noStrike" kern="1200" spc="-100" dirty="0" smtClean="0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</a:t>
                      </a:r>
                      <a:r>
                        <a:rPr lang="ko-KR" altLang="en-US" sz="1600" b="1" i="0" u="none" strike="noStrike" kern="1200" spc="-100" dirty="0" smtClean="0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천만↑</a:t>
                      </a:r>
                      <a:endParaRPr lang="en-US" altLang="ko-KR" sz="1600" b="1" i="0" u="none" strike="noStrike" kern="1200" spc="-100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279107"/>
                  </a:ext>
                </a:extLst>
              </a:tr>
              <a:tr h="624169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0" i="0" u="none" strike="noStrike" kern="1200" spc="-100" dirty="0" err="1" smtClean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주계약</a:t>
                      </a:r>
                      <a:r>
                        <a:rPr lang="ko-KR" altLang="en-US" sz="1200" b="0" i="0" u="none" strike="noStrike" kern="1200" spc="-100" dirty="0" smtClean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 가입금액</a:t>
                      </a:r>
                      <a:endParaRPr lang="en-US" altLang="ko-KR" sz="1200" b="0" i="0" u="none" strike="noStrike" kern="1200" spc="-100" dirty="0" smtClean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  <a:p>
                      <a:pPr algn="ctr" fontAlgn="ctr"/>
                      <a:r>
                        <a:rPr lang="en-US" altLang="ko-KR" sz="1600" b="1" i="0" u="none" strike="noStrike" kern="1200" spc="-100" dirty="0" smtClean="0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3</a:t>
                      </a:r>
                      <a:r>
                        <a:rPr lang="ko-KR" altLang="en-US" sz="1600" b="1" i="0" u="none" strike="noStrike" kern="1200" spc="-100" dirty="0" smtClean="0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천만↑</a:t>
                      </a:r>
                      <a:endParaRPr lang="en-US" altLang="ko-KR" sz="1600" b="1" i="0" u="none" strike="noStrike" kern="1200" spc="-100" dirty="0">
                        <a:solidFill>
                          <a:srgbClr val="FF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4403020"/>
                  </a:ext>
                </a:extLst>
              </a:tr>
            </a:tbl>
          </a:graphicData>
        </a:graphic>
      </p:graphicFrame>
      <p:pic>
        <p:nvPicPr>
          <p:cNvPr id="26" name="그림 25"/>
          <p:cNvPicPr>
            <a:picLocks noChangeAspect="1"/>
          </p:cNvPicPr>
          <p:nvPr/>
        </p:nvPicPr>
        <p:blipFill rotWithShape="1">
          <a:blip r:embed="rId6"/>
          <a:srcRect b="1702"/>
          <a:stretch/>
        </p:blipFill>
        <p:spPr>
          <a:xfrm>
            <a:off x="568207" y="3965260"/>
            <a:ext cx="2394117" cy="2335783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1" name="그림 30"/>
          <p:cNvPicPr>
            <a:picLocks noChangeAspect="1"/>
          </p:cNvPicPr>
          <p:nvPr/>
        </p:nvPicPr>
        <p:blipFill rotWithShape="1">
          <a:blip r:embed="rId7"/>
          <a:srcRect b="1567"/>
          <a:stretch/>
        </p:blipFill>
        <p:spPr>
          <a:xfrm>
            <a:off x="3115306" y="3984763"/>
            <a:ext cx="2325700" cy="2335783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2" name="그림 31"/>
          <p:cNvPicPr>
            <a:picLocks noChangeAspect="1"/>
          </p:cNvPicPr>
          <p:nvPr/>
        </p:nvPicPr>
        <p:blipFill>
          <a:blip r:embed="rId8">
            <a:clrChange>
              <a:clrFrom>
                <a:srgbClr val="FEF4F2"/>
              </a:clrFrom>
              <a:clrTo>
                <a:srgbClr val="FEF4F2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144329" y="4607509"/>
            <a:ext cx="3236856" cy="2361102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5460087" y="3676030"/>
            <a:ext cx="5224303" cy="1754326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isometricRightUp"/>
              <a:lightRig rig="threePt" dir="t"/>
            </a:scene3d>
          </a:bodyPr>
          <a:lstStyle/>
          <a:p>
            <a:pPr>
              <a:lnSpc>
                <a:spcPct val="150000"/>
              </a:lnSpc>
            </a:pPr>
            <a:r>
              <a:rPr lang="ko-KR" altLang="en-US" sz="2400" b="1" dirty="0" smtClean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00"/>
                </a:solidFill>
                <a:effectLst>
                  <a:glow rad="139700">
                    <a:schemeClr val="accent2">
                      <a:satMod val="175000"/>
                      <a:alpha val="40000"/>
                    </a:schemeClr>
                  </a:glow>
                  <a:outerShdw dist="38100" dir="2700000" algn="tl" rotWithShape="0">
                    <a:schemeClr val="accent2"/>
                  </a:outerShdw>
                </a:effectLst>
              </a:rPr>
              <a:t>고객에게 헬스케어서비스를</a:t>
            </a:r>
            <a:endParaRPr lang="en-US" altLang="ko-KR" sz="2400" b="1" dirty="0" smtClean="0">
              <a:ln w="6600">
                <a:solidFill>
                  <a:schemeClr val="accent2"/>
                </a:solidFill>
                <a:prstDash val="solid"/>
              </a:ln>
              <a:solidFill>
                <a:srgbClr val="FFFF00"/>
              </a:solidFill>
              <a:effectLst>
                <a:glow rad="139700">
                  <a:schemeClr val="accent2">
                    <a:satMod val="175000"/>
                    <a:alpha val="40000"/>
                  </a:schemeClr>
                </a:glow>
                <a:outerShdw dist="38100" dir="2700000" algn="tl" rotWithShape="0">
                  <a:schemeClr val="accent2"/>
                </a:outerShdw>
              </a:effectLst>
            </a:endParaRPr>
          </a:p>
          <a:p>
            <a:pPr>
              <a:lnSpc>
                <a:spcPct val="150000"/>
              </a:lnSpc>
            </a:pPr>
            <a:r>
              <a:rPr lang="ko-KR" altLang="en-US" sz="2400" b="1" dirty="0" smtClean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00"/>
                </a:solidFill>
                <a:effectLst>
                  <a:glow rad="139700">
                    <a:schemeClr val="accent2">
                      <a:satMod val="175000"/>
                      <a:alpha val="40000"/>
                    </a:schemeClr>
                  </a:glow>
                  <a:outerShdw dist="38100" dir="2700000" algn="tl" rotWithShape="0">
                    <a:schemeClr val="accent2"/>
                  </a:outerShdw>
                </a:effectLst>
              </a:rPr>
              <a:t>제안할 수 있는 마지막 찬스</a:t>
            </a:r>
            <a:r>
              <a:rPr lang="en-US" altLang="ko-KR" sz="2400" b="1" dirty="0" smtClean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00"/>
                </a:solidFill>
                <a:effectLst>
                  <a:glow rad="139700">
                    <a:schemeClr val="accent2">
                      <a:satMod val="175000"/>
                      <a:alpha val="40000"/>
                    </a:schemeClr>
                  </a:glow>
                  <a:outerShdw dist="38100" dir="2700000" algn="tl" rotWithShape="0">
                    <a:schemeClr val="accent2"/>
                  </a:outerShdw>
                </a:effectLst>
              </a:rPr>
              <a:t>!</a:t>
            </a:r>
          </a:p>
          <a:p>
            <a:pPr>
              <a:lnSpc>
                <a:spcPct val="150000"/>
              </a:lnSpc>
            </a:pPr>
            <a:r>
              <a:rPr lang="ko-KR" altLang="en-US" sz="2400" b="1" dirty="0" smtClean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00"/>
                </a:solidFill>
                <a:effectLst>
                  <a:glow rad="139700">
                    <a:schemeClr val="accent2">
                      <a:satMod val="175000"/>
                      <a:alpha val="40000"/>
                    </a:schemeClr>
                  </a:glow>
                  <a:outerShdw dist="38100" dir="2700000" algn="tl" rotWithShape="0">
                    <a:schemeClr val="accent2"/>
                  </a:outerShdw>
                </a:effectLst>
              </a:rPr>
              <a:t>놓치면 다시 오지 않습니다</a:t>
            </a:r>
            <a:r>
              <a:rPr lang="en-US" altLang="ko-KR" sz="2400" b="1" dirty="0" smtClean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00"/>
                </a:solidFill>
                <a:effectLst>
                  <a:glow rad="139700">
                    <a:schemeClr val="accent2">
                      <a:satMod val="175000"/>
                      <a:alpha val="40000"/>
                    </a:schemeClr>
                  </a:glow>
                  <a:outerShdw dist="38100" dir="2700000" algn="tl" rotWithShape="0">
                    <a:schemeClr val="accent2"/>
                  </a:outerShdw>
                </a:effectLst>
              </a:rPr>
              <a:t>.</a:t>
            </a:r>
            <a:endParaRPr lang="ko-KR" altLang="en-US" sz="2400" b="1" dirty="0">
              <a:ln w="6600">
                <a:solidFill>
                  <a:schemeClr val="accent2"/>
                </a:solidFill>
                <a:prstDash val="solid"/>
              </a:ln>
              <a:solidFill>
                <a:srgbClr val="FFFF00"/>
              </a:solidFill>
              <a:effectLst>
                <a:glow rad="139700">
                  <a:schemeClr val="accent2">
                    <a:satMod val="175000"/>
                    <a:alpha val="40000"/>
                  </a:schemeClr>
                </a:glow>
                <a:outerShdw dist="38100" dir="2700000" algn="tl" rotWithShape="0">
                  <a:schemeClr val="accent2"/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215699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/>
          <p:cNvSpPr txBox="1">
            <a:spLocks noChangeArrowheads="1"/>
          </p:cNvSpPr>
          <p:nvPr/>
        </p:nvSpPr>
        <p:spPr bwMode="auto">
          <a:xfrm>
            <a:off x="210143" y="191820"/>
            <a:ext cx="10173695" cy="4471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>
            <a:spAutoFit/>
          </a:bodyPr>
          <a:lstStyle/>
          <a:p>
            <a:pPr defTabSz="958255">
              <a:defRPr/>
            </a:pPr>
            <a:r>
              <a:rPr lang="en-US" altLang="ko-KR" sz="2306" dirty="0" smtClean="0">
                <a:solidFill>
                  <a:srgbClr val="1F497D"/>
                </a:solidFill>
                <a:latin typeface="나눔고딕 ExtraBold" pitchFamily="50" charset="-127"/>
                <a:ea typeface="나눔고딕 ExtraBold" pitchFamily="50" charset="-127"/>
              </a:rPr>
              <a:t>GA</a:t>
            </a:r>
            <a:r>
              <a:rPr lang="ko-KR" altLang="en-US" sz="2306" dirty="0" smtClean="0">
                <a:solidFill>
                  <a:srgbClr val="1F497D"/>
                </a:solidFill>
                <a:latin typeface="나눔고딕 ExtraBold" pitchFamily="50" charset="-127"/>
                <a:ea typeface="나눔고딕 ExtraBold" pitchFamily="50" charset="-127"/>
              </a:rPr>
              <a:t>영업 활성화를 위하 한시적으로 종신보험 </a:t>
            </a:r>
            <a:r>
              <a:rPr lang="ko-KR" altLang="en-US" sz="2306" dirty="0" err="1" smtClean="0">
                <a:solidFill>
                  <a:srgbClr val="1F497D"/>
                </a:solidFill>
                <a:latin typeface="나눔고딕 ExtraBold" pitchFamily="50" charset="-127"/>
                <a:ea typeface="나눔고딕 ExtraBold" pitchFamily="50" charset="-127"/>
              </a:rPr>
              <a:t>무진단</a:t>
            </a:r>
            <a:r>
              <a:rPr lang="ko-KR" altLang="en-US" sz="2306" dirty="0">
                <a:solidFill>
                  <a:srgbClr val="1F497D"/>
                </a:solidFill>
                <a:latin typeface="나눔고딕 ExtraBold" pitchFamily="50" charset="-127"/>
                <a:ea typeface="나눔고딕 ExtraBold" pitchFamily="50" charset="-127"/>
              </a:rPr>
              <a:t> </a:t>
            </a:r>
            <a:r>
              <a:rPr lang="ko-KR" altLang="en-US" sz="2306" dirty="0" smtClean="0">
                <a:solidFill>
                  <a:srgbClr val="1F497D"/>
                </a:solidFill>
                <a:latin typeface="나눔고딕 ExtraBold" pitchFamily="50" charset="-127"/>
                <a:ea typeface="나눔고딕 ExtraBold" pitchFamily="50" charset="-127"/>
              </a:rPr>
              <a:t>운영</a:t>
            </a:r>
            <a:endParaRPr lang="en-US" altLang="ko-KR" sz="1153" b="1" dirty="0">
              <a:solidFill>
                <a:srgbClr val="1F497D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sp>
        <p:nvSpPr>
          <p:cNvPr id="16" name="모서리가 둥근 직사각형 15"/>
          <p:cNvSpPr/>
          <p:nvPr/>
        </p:nvSpPr>
        <p:spPr>
          <a:xfrm>
            <a:off x="511399" y="1198477"/>
            <a:ext cx="843905" cy="5669320"/>
          </a:xfrm>
          <a:prstGeom prst="roundRect">
            <a:avLst>
              <a:gd name="adj" fmla="val 2886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9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7" name="모서리가 둥근 직사각형 16"/>
          <p:cNvSpPr/>
          <p:nvPr/>
        </p:nvSpPr>
        <p:spPr>
          <a:xfrm>
            <a:off x="636243" y="1373406"/>
            <a:ext cx="1080000" cy="1008112"/>
          </a:xfrm>
          <a:prstGeom prst="roundRect">
            <a:avLst>
              <a:gd name="adj" fmla="val 4878"/>
            </a:avLst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9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적용 대상</a:t>
            </a:r>
            <a:endParaRPr kumimoji="0" lang="ko-KR" altLang="en-US" sz="15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18" name="모서리가 둥근 직사각형 17"/>
          <p:cNvSpPr/>
          <p:nvPr/>
        </p:nvSpPr>
        <p:spPr>
          <a:xfrm>
            <a:off x="636243" y="2594747"/>
            <a:ext cx="1080000" cy="1008112"/>
          </a:xfrm>
          <a:prstGeom prst="roundRect">
            <a:avLst>
              <a:gd name="adj" fmla="val 3116"/>
            </a:avLst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9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적용 기간</a:t>
            </a:r>
            <a:endParaRPr kumimoji="0" lang="ko-KR" altLang="en-US" sz="15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19" name="모서리가 둥근 직사각형 18"/>
          <p:cNvSpPr/>
          <p:nvPr/>
        </p:nvSpPr>
        <p:spPr>
          <a:xfrm>
            <a:off x="1681686" y="1314005"/>
            <a:ext cx="6750593" cy="860215"/>
          </a:xfrm>
          <a:prstGeom prst="roundRect">
            <a:avLst>
              <a:gd name="adj" fmla="val 8819"/>
            </a:avLst>
          </a:prstGeom>
          <a:noFill/>
          <a:ln w="317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975" marR="0" lvl="0" indent="-180975" algn="l" defTabSz="914191" rtl="0" eaLnBrk="1" fontAlgn="auto" latin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79646">
                  <a:lumMod val="75000"/>
                </a:srgbClr>
              </a:buClr>
              <a:buSzTx/>
              <a:buFont typeface="Wingdings" panose="05000000000000000000" pitchFamily="2" charset="2"/>
              <a:buChar char="l"/>
              <a:tabLst/>
              <a:defRPr/>
            </a:pPr>
            <a:r>
              <a:rPr kumimoji="0" lang="ko-KR" alt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종신보험 </a:t>
            </a:r>
            <a:r>
              <a:rPr kumimoji="0" lang="ko-KR" altLang="en-US" sz="13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주계약</a:t>
            </a:r>
            <a:r>
              <a:rPr kumimoji="0" lang="ko-KR" alt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0" lang="ko-KR" altLang="en-US" sz="14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가입금액 </a:t>
            </a:r>
            <a:r>
              <a:rPr kumimoji="0" lang="en-US" altLang="ko-KR" sz="1400" b="1" i="0" u="sng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5</a:t>
            </a:r>
            <a:r>
              <a:rPr kumimoji="0" lang="ko-KR" altLang="en-US" sz="1400" b="1" i="0" u="sng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억원</a:t>
            </a:r>
            <a:r>
              <a:rPr kumimoji="0" lang="ko-KR" altLang="en-US" sz="14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이하 </a:t>
            </a:r>
            <a:r>
              <a:rPr kumimoji="0" lang="ko-KR" altLang="en-US" sz="1400" b="1" i="0" u="sng" strike="noStrike" kern="1200" cap="none" spc="0" normalizeH="0" baseline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신계약은</a:t>
            </a:r>
            <a:r>
              <a:rPr kumimoji="0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0" lang="ko-KR" altLang="en-US" sz="1400" b="1" i="0" u="sng" strike="noStrike" kern="1200" cap="none" spc="0" normalizeH="0" baseline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무진단</a:t>
            </a:r>
            <a:r>
              <a:rPr kumimoji="0" lang="ko-KR" altLang="en-US" sz="14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적용</a:t>
            </a:r>
            <a:endParaRPr kumimoji="0" lang="en-US" altLang="ko-KR" sz="1400" b="1" i="0" u="sng" strike="noStrike" kern="1200" cap="none" spc="0" normalizeH="0" baseline="0" noProof="0" dirty="0" smtClean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22" name="모서리가 둥근 직사각형 21"/>
          <p:cNvSpPr/>
          <p:nvPr/>
        </p:nvSpPr>
        <p:spPr>
          <a:xfrm>
            <a:off x="1681686" y="2619325"/>
            <a:ext cx="4590353" cy="860215"/>
          </a:xfrm>
          <a:prstGeom prst="roundRect">
            <a:avLst>
              <a:gd name="adj" fmla="val 8819"/>
            </a:avLst>
          </a:prstGeom>
          <a:noFill/>
          <a:ln w="317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975" marR="0" lvl="0" indent="-180975" algn="l" defTabSz="91419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79646">
                  <a:lumMod val="75000"/>
                </a:srgbClr>
              </a:buClr>
              <a:buSzTx/>
              <a:buFont typeface="Wingdings" panose="05000000000000000000" pitchFamily="2" charset="2"/>
              <a:buChar char="l"/>
              <a:tabLst/>
              <a:defRPr/>
            </a:pPr>
            <a:r>
              <a:rPr kumimoji="0" lang="en-US" altLang="ko-KR" sz="14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‘23.9.1</a:t>
            </a:r>
            <a:r>
              <a:rPr kumimoji="0" lang="ko-KR" altLang="en-US" sz="14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일</a:t>
            </a:r>
            <a:r>
              <a:rPr kumimoji="0" lang="en-US" altLang="ko-KR" sz="14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~11.30</a:t>
            </a:r>
            <a:r>
              <a:rPr kumimoji="0" lang="ko-KR" altLang="en-US" sz="14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일 </a:t>
            </a:r>
            <a:r>
              <a:rPr kumimoji="0" lang="ko-KR" alt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가입한 </a:t>
            </a:r>
            <a:r>
              <a:rPr kumimoji="0" lang="ko-KR" altLang="en-US" sz="13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신계약</a:t>
            </a:r>
            <a:r>
              <a:rPr kumimoji="0" lang="ko-KR" alt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endParaRPr kumimoji="0" lang="en-US" altLang="ko-KR" sz="1300" b="1" i="0" u="sng" strike="noStrike" kern="1200" cap="none" spc="0" normalizeH="0" baseline="0" noProof="0" dirty="0" smtClean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27" name="모서리가 둥근 직사각형 26"/>
          <p:cNvSpPr/>
          <p:nvPr/>
        </p:nvSpPr>
        <p:spPr>
          <a:xfrm>
            <a:off x="636243" y="3816088"/>
            <a:ext cx="1080000" cy="1008112"/>
          </a:xfrm>
          <a:prstGeom prst="roundRect">
            <a:avLst>
              <a:gd name="adj" fmla="val 3116"/>
            </a:avLst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9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적용 상품</a:t>
            </a:r>
            <a:endParaRPr kumimoji="0" lang="ko-KR" altLang="en-US" sz="15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28" name="모서리가 둥근 직사각형 27"/>
          <p:cNvSpPr/>
          <p:nvPr/>
        </p:nvSpPr>
        <p:spPr>
          <a:xfrm>
            <a:off x="1681686" y="3771453"/>
            <a:ext cx="9054849" cy="860215"/>
          </a:xfrm>
          <a:prstGeom prst="roundRect">
            <a:avLst>
              <a:gd name="adj" fmla="val 8819"/>
            </a:avLst>
          </a:prstGeom>
          <a:noFill/>
          <a:ln w="317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975" marR="0" lvl="0" indent="-180975" algn="l" defTabSz="91419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79646">
                  <a:lumMod val="75000"/>
                </a:srgbClr>
              </a:buClr>
              <a:buSzTx/>
              <a:buFont typeface="Wingdings" panose="05000000000000000000" pitchFamily="2" charset="2"/>
              <a:buChar char="l"/>
              <a:tabLst/>
              <a:defRPr/>
            </a:pPr>
            <a:r>
              <a:rPr lang="ko-KR" altLang="en-US" sz="1400" b="1" noProof="0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① </a:t>
            </a:r>
            <a:r>
              <a:rPr kumimoji="0" lang="ko-KR" altLang="en-US" sz="1400" b="1" i="0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실속종신보험</a:t>
            </a:r>
            <a:r>
              <a:rPr kumimoji="0" lang="en-US" altLang="ko-KR" sz="1400" b="1" i="0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Plus   </a:t>
            </a:r>
            <a:r>
              <a:rPr kumimoji="0" lang="ko-KR" altLang="en-US" sz="1400" b="1" i="0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② 실속종신보험    ③교보종신보험</a:t>
            </a:r>
            <a:r>
              <a:rPr kumimoji="0" lang="en-US" altLang="ko-KR" sz="1400" b="1" i="0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23.08</a:t>
            </a:r>
            <a:r>
              <a:rPr kumimoji="0" lang="en-US" altLang="ko-KR" sz="1400" b="1" i="0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    </a:t>
            </a:r>
            <a:r>
              <a:rPr kumimoji="0" lang="ko-KR" altLang="en-US" sz="1400" b="1" i="0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④뉴프리미어종신보험</a:t>
            </a:r>
            <a:endParaRPr kumimoji="0" lang="en-US" altLang="ko-KR" sz="1400" b="1" i="0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R="0" lvl="0" algn="l" defTabSz="91419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79646">
                  <a:lumMod val="75000"/>
                </a:srgbClr>
              </a:buClr>
              <a:buSzTx/>
              <a:tabLst/>
              <a:defRPr/>
            </a:pPr>
            <a:r>
              <a:rPr lang="en-US" altLang="ko-KR" sz="1400" b="1" noProof="0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200" b="1" noProof="0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  </a:t>
            </a:r>
            <a:r>
              <a:rPr lang="ko-KR" altLang="en-US" sz="1400" b="1" noProof="0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⑤ </a:t>
            </a:r>
            <a:r>
              <a:rPr lang="ko-KR" altLang="en-US" sz="1400" b="1" noProof="0" dirty="0" err="1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하이브리드변액종신보험</a:t>
            </a:r>
            <a:r>
              <a:rPr lang="ko-KR" altLang="en-US" sz="1400" b="1" noProof="0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 </a:t>
            </a:r>
            <a:r>
              <a:rPr lang="ko-KR" altLang="en-US" sz="1400" noProof="0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이상 </a:t>
            </a:r>
            <a:r>
              <a:rPr lang="en-US" altLang="ko-KR" sz="1400" noProof="0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5</a:t>
            </a:r>
            <a:r>
              <a:rPr lang="ko-KR" altLang="en-US" sz="1400" noProof="0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종 종신보험</a:t>
            </a:r>
            <a:endParaRPr kumimoji="0" lang="en-US" altLang="ko-KR" sz="1300" i="0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9" name="모서리가 둥근 직사각형 28"/>
          <p:cNvSpPr/>
          <p:nvPr/>
        </p:nvSpPr>
        <p:spPr>
          <a:xfrm>
            <a:off x="636243" y="5058365"/>
            <a:ext cx="1080000" cy="1481652"/>
          </a:xfrm>
          <a:prstGeom prst="roundRect">
            <a:avLst>
              <a:gd name="adj" fmla="val 3116"/>
            </a:avLst>
          </a:prstGeom>
          <a:solidFill>
            <a:schemeClr val="accent6">
              <a:lumMod val="60000"/>
              <a:lumOff val="40000"/>
            </a:schemeClr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91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적용 기준</a:t>
            </a:r>
            <a:endParaRPr kumimoji="0" lang="ko-KR" altLang="en-US" sz="15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30" name="모서리가 둥근 직사각형 29"/>
          <p:cNvSpPr/>
          <p:nvPr/>
        </p:nvSpPr>
        <p:spPr>
          <a:xfrm>
            <a:off x="1681686" y="4821741"/>
            <a:ext cx="8406777" cy="1930321"/>
          </a:xfrm>
          <a:prstGeom prst="roundRect">
            <a:avLst>
              <a:gd name="adj" fmla="val 8819"/>
            </a:avLst>
          </a:prstGeom>
          <a:noFill/>
          <a:ln w="317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975" lvl="0" indent="-180975" defTabSz="914191">
              <a:lnSpc>
                <a:spcPct val="150000"/>
              </a:lnSpc>
              <a:buClr>
                <a:srgbClr val="F79646">
                  <a:lumMod val="75000"/>
                </a:srgbClr>
              </a:buClr>
              <a:buFont typeface="Wingdings" panose="05000000000000000000" pitchFamily="2" charset="2"/>
              <a:buChar char="l"/>
              <a:defRPr/>
            </a:pPr>
            <a:r>
              <a:rPr lang="en-US" altLang="ko-KR" sz="140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23.8</a:t>
            </a:r>
            <a:r>
              <a:rPr lang="ko-KR" altLang="en-US" sz="140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월까지 가입한 </a:t>
            </a:r>
            <a:r>
              <a:rPr lang="ko-KR" altLang="en-US" sz="1400" dirty="0" err="1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기계약</a:t>
            </a:r>
            <a:r>
              <a:rPr lang="ko-KR" altLang="en-US" sz="140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사망보험금 </a:t>
            </a:r>
            <a:r>
              <a:rPr lang="ko-KR" altLang="en-US" sz="14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누적과 </a:t>
            </a:r>
            <a:r>
              <a:rPr lang="ko-KR" altLang="en-US" sz="140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상관없이 </a:t>
            </a:r>
            <a:r>
              <a:rPr lang="en-US" altLang="ko-KR" sz="1400" b="1" u="sng" dirty="0">
                <a:solidFill>
                  <a:srgbClr val="0000FF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‘23.9.1~11.30</a:t>
            </a:r>
            <a:r>
              <a:rPr lang="ko-KR" altLang="en-US" sz="1400" b="1" u="sng" dirty="0">
                <a:solidFill>
                  <a:srgbClr val="0000FF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일 內 가입한 종신보험</a:t>
            </a:r>
            <a:r>
              <a:rPr lang="ko-KR" altLang="en-US" sz="1400" b="1" dirty="0">
                <a:solidFill>
                  <a:srgbClr val="0000FF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40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적용</a:t>
            </a:r>
            <a:endParaRPr lang="en-US" altLang="ko-KR" sz="1400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80975" lvl="0" indent="-180975" defTabSz="914191">
              <a:lnSpc>
                <a:spcPct val="150000"/>
              </a:lnSpc>
              <a:buClr>
                <a:srgbClr val="F79646">
                  <a:lumMod val="75000"/>
                </a:srgbClr>
              </a:buClr>
              <a:buFont typeface="Wingdings" panose="05000000000000000000" pitchFamily="2" charset="2"/>
              <a:buChar char="l"/>
              <a:defRPr/>
            </a:pPr>
            <a:r>
              <a:rPr lang="ko-KR" altLang="en-US" sz="1400" b="1" u="sng" dirty="0" err="1">
                <a:solidFill>
                  <a:srgbClr val="0000FF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주계약</a:t>
            </a:r>
            <a:r>
              <a:rPr lang="ko-KR" altLang="en-US" sz="1400" b="1" u="sng" dirty="0">
                <a:solidFill>
                  <a:srgbClr val="0000FF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400" b="1" u="sng" dirty="0" err="1">
                <a:solidFill>
                  <a:srgbClr val="0000FF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가입건만</a:t>
            </a:r>
            <a:r>
              <a:rPr lang="ko-KR" altLang="en-US" sz="1400" b="1" u="sng" dirty="0">
                <a:solidFill>
                  <a:srgbClr val="0000FF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40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적용</a:t>
            </a:r>
            <a:r>
              <a:rPr lang="en-US" altLang="ko-KR" sz="140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</a:t>
            </a:r>
            <a:r>
              <a:rPr lang="ko-KR" altLang="en-US" sz="140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400" dirty="0" err="1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특약부과시</a:t>
            </a:r>
            <a:r>
              <a:rPr lang="ko-KR" altLang="en-US" sz="140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제외</a:t>
            </a:r>
            <a:r>
              <a:rPr lang="en-US" altLang="ko-KR" sz="140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4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납입면제 특약도 </a:t>
            </a:r>
            <a:r>
              <a:rPr lang="ko-KR" altLang="en-US" sz="1400" dirty="0" err="1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부과시</a:t>
            </a:r>
            <a:r>
              <a:rPr lang="ko-KR" altLang="en-US" sz="14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제외</a:t>
            </a:r>
            <a:r>
              <a:rPr lang="en-US" altLang="ko-KR" sz="1400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  <a:endParaRPr lang="en-US" altLang="ko-KR" sz="1400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lvl="0" defTabSz="914191">
              <a:lnSpc>
                <a:spcPct val="150000"/>
              </a:lnSpc>
              <a:buClr>
                <a:srgbClr val="F79646">
                  <a:lumMod val="75000"/>
                </a:srgbClr>
              </a:buClr>
              <a:defRPr/>
            </a:pPr>
            <a:r>
              <a:rPr lang="en-US" altLang="ko-KR" sz="140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  </a:t>
            </a:r>
            <a:r>
              <a:rPr lang="ko-KR" altLang="en-US" sz="140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단</a:t>
            </a:r>
            <a:r>
              <a:rPr lang="en-US" altLang="ko-KR" sz="140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40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실속종신보험</a:t>
            </a:r>
            <a:r>
              <a:rPr lang="en-US" altLang="ko-KR" sz="140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Plus</a:t>
            </a:r>
            <a:r>
              <a:rPr lang="ko-KR" altLang="en-US" sz="140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는 </a:t>
            </a:r>
            <a:r>
              <a:rPr lang="ko-KR" altLang="en-US" sz="1400" dirty="0" err="1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주계약</a:t>
            </a:r>
            <a:r>
              <a:rPr lang="en-US" altLang="ko-KR" sz="140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+</a:t>
            </a:r>
            <a:r>
              <a:rPr lang="ko-KR" altLang="en-US" sz="1400" dirty="0" err="1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체증형특약</a:t>
            </a:r>
            <a:r>
              <a:rPr lang="ko-KR" altLang="en-US" sz="140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합산 적용</a:t>
            </a:r>
            <a:endParaRPr lang="en-US" altLang="ko-KR" sz="1400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80975" lvl="0" indent="-180975" defTabSz="914191">
              <a:lnSpc>
                <a:spcPct val="150000"/>
              </a:lnSpc>
              <a:buClr>
                <a:srgbClr val="F79646">
                  <a:lumMod val="75000"/>
                </a:srgbClr>
              </a:buClr>
              <a:buFont typeface="Wingdings" panose="05000000000000000000" pitchFamily="2" charset="2"/>
              <a:buChar char="l"/>
              <a:defRPr/>
            </a:pPr>
            <a:r>
              <a:rPr lang="ko-KR" altLang="en-US" sz="1400" b="1" u="sng" dirty="0" err="1">
                <a:solidFill>
                  <a:srgbClr val="0000FF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단건</a:t>
            </a:r>
            <a:r>
              <a:rPr lang="ko-KR" altLang="en-US" sz="1400" b="1" u="sng" dirty="0">
                <a:solidFill>
                  <a:srgbClr val="0000FF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400" b="1" u="sng" dirty="0">
                <a:solidFill>
                  <a:srgbClr val="0000FF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5</a:t>
            </a:r>
            <a:r>
              <a:rPr lang="ko-KR" altLang="en-US" sz="1400" b="1" u="sng" dirty="0">
                <a:solidFill>
                  <a:srgbClr val="0000FF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 초과 </a:t>
            </a:r>
            <a:r>
              <a:rPr lang="ko-KR" altLang="en-US" sz="140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또는 </a:t>
            </a:r>
            <a:r>
              <a:rPr lang="en-US" altLang="ko-KR" sz="140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9~11</a:t>
            </a:r>
            <a:r>
              <a:rPr lang="ko-KR" altLang="en-US" sz="140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월내 가입한 계약의 </a:t>
            </a:r>
            <a:r>
              <a:rPr lang="ko-KR" altLang="en-US" sz="1400" b="1" u="sng" dirty="0" smtClean="0">
                <a:solidFill>
                  <a:srgbClr val="0000FF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합산이 </a:t>
            </a:r>
            <a:r>
              <a:rPr lang="en-US" altLang="ko-KR" sz="1400" b="1" u="sng" dirty="0" smtClean="0">
                <a:solidFill>
                  <a:srgbClr val="0000FF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5</a:t>
            </a:r>
            <a:r>
              <a:rPr lang="ko-KR" altLang="en-US" sz="1400" b="1" u="sng" dirty="0">
                <a:solidFill>
                  <a:srgbClr val="0000FF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억을 </a:t>
            </a:r>
            <a:r>
              <a:rPr lang="ko-KR" altLang="en-US" sz="1400" u="sng" dirty="0">
                <a:solidFill>
                  <a:srgbClr val="0000FF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초과</a:t>
            </a:r>
            <a:r>
              <a:rPr lang="ko-KR" altLang="en-US" sz="140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시 기준에 따라 진단 적용</a:t>
            </a:r>
            <a:endParaRPr lang="en-US" altLang="ko-KR" sz="1400" dirty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180975" lvl="0" indent="-180975" defTabSz="914191">
              <a:lnSpc>
                <a:spcPct val="150000"/>
              </a:lnSpc>
              <a:buClr>
                <a:srgbClr val="F79646">
                  <a:lumMod val="75000"/>
                </a:srgbClr>
              </a:buClr>
              <a:buFont typeface="Wingdings" panose="05000000000000000000" pitchFamily="2" charset="2"/>
              <a:buChar char="l"/>
              <a:defRPr/>
            </a:pPr>
            <a:r>
              <a:rPr lang="ko-KR" altLang="en-US" sz="140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고객의 </a:t>
            </a:r>
            <a:r>
              <a:rPr lang="ko-KR" altLang="en-US" sz="1400" dirty="0" err="1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병력사항에</a:t>
            </a:r>
            <a:r>
              <a:rPr lang="ko-KR" altLang="en-US" sz="1400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따른 </a:t>
            </a:r>
            <a:r>
              <a:rPr lang="ko-KR" altLang="en-US" sz="1400" b="1" u="sng" dirty="0">
                <a:solidFill>
                  <a:srgbClr val="0000FF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건강진단은 </a:t>
            </a:r>
            <a:r>
              <a:rPr lang="ko-KR" altLang="en-US" sz="1400" b="1" u="sng" dirty="0" smtClean="0">
                <a:solidFill>
                  <a:srgbClr val="0000FF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제외</a:t>
            </a:r>
            <a:endParaRPr lang="en-US" altLang="ko-KR" sz="1400" b="1" noProof="0" dirty="0" smtClean="0">
              <a:solidFill>
                <a:schemeClr val="tx1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83902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직사각형 10"/>
          <p:cNvSpPr/>
          <p:nvPr/>
        </p:nvSpPr>
        <p:spPr>
          <a:xfrm>
            <a:off x="444789" y="1107157"/>
            <a:ext cx="9642608" cy="3400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41923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545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□ </a:t>
            </a:r>
            <a:r>
              <a:rPr kumimoji="1" lang="ko-KR" altLang="en-US" sz="1545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경영인정기보험 </a:t>
            </a:r>
            <a:r>
              <a:rPr kumimoji="1" lang="en-US" altLang="ko-KR" sz="1545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/ </a:t>
            </a:r>
            <a:r>
              <a:rPr kumimoji="1" lang="ko-KR" altLang="en-US" sz="1545" b="1" dirty="0" err="1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간편가입</a:t>
            </a:r>
            <a:r>
              <a:rPr kumimoji="1" lang="ko-KR" altLang="en-US" sz="1545" b="1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경영인정기보험 각각 출시</a:t>
            </a:r>
            <a:endParaRPr kumimoji="1" lang="en-US" altLang="ko-KR" sz="1545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444789" y="1440037"/>
            <a:ext cx="9642608" cy="3400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41923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545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□ 보너스 제도 및 사업비 변경을 통한 </a:t>
            </a:r>
            <a:r>
              <a:rPr kumimoji="1" lang="ko-KR" altLang="en-US" sz="1545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환급률</a:t>
            </a:r>
            <a:r>
              <a:rPr kumimoji="1" lang="ko-KR" altLang="en-US" sz="1545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경쟁력 </a:t>
            </a:r>
            <a:r>
              <a:rPr kumimoji="1" lang="ko-KR" altLang="en-US" sz="1545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강화</a:t>
            </a:r>
            <a:endParaRPr kumimoji="1" lang="en-US" altLang="ko-KR" sz="1545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444789" y="1810907"/>
            <a:ext cx="9642608" cy="3400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41923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545" b="1" i="0" u="none" strike="noStrike" kern="1200" cap="none" spc="0" normalizeH="0" baseline="0" noProof="0" dirty="0">
                <a:ln>
                  <a:noFill/>
                </a:ln>
                <a:solidFill>
                  <a:srgbClr val="0069A3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□ </a:t>
            </a:r>
            <a:r>
              <a:rPr kumimoji="1" lang="ko-KR" altLang="en-US" sz="1545" b="1" i="0" u="none" strike="noStrike" kern="1200" cap="none" spc="0" normalizeH="0" baseline="0" noProof="0" dirty="0" err="1">
                <a:ln>
                  <a:noFill/>
                </a:ln>
                <a:solidFill>
                  <a:srgbClr val="0069A3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출시예정일</a:t>
            </a:r>
            <a:r>
              <a:rPr kumimoji="1" lang="ko-KR" altLang="en-US" sz="1545" b="1" i="0" u="none" strike="noStrike" kern="1200" cap="none" spc="0" normalizeH="0" baseline="0" noProof="0" dirty="0">
                <a:ln>
                  <a:noFill/>
                </a:ln>
                <a:solidFill>
                  <a:srgbClr val="0069A3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1" lang="en-US" altLang="ko-KR" sz="1545" b="1" i="0" u="none" strike="noStrike" kern="1200" cap="none" spc="0" normalizeH="0" baseline="0" noProof="0" dirty="0">
                <a:ln>
                  <a:noFill/>
                </a:ln>
                <a:solidFill>
                  <a:srgbClr val="0069A3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: 10.4</a:t>
            </a:r>
            <a:r>
              <a:rPr kumimoji="1" lang="ko-KR" altLang="en-US" sz="1545" b="1" i="0" u="none" strike="noStrike" kern="1200" cap="none" spc="0" normalizeH="0" baseline="0" noProof="0" dirty="0">
                <a:ln>
                  <a:noFill/>
                </a:ln>
                <a:solidFill>
                  <a:srgbClr val="0069A3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일</a:t>
            </a:r>
            <a:r>
              <a:rPr kumimoji="1" lang="en-US" altLang="ko-KR" sz="1545" b="1" i="0" u="none" strike="noStrike" kern="1200" cap="none" spc="0" normalizeH="0" baseline="0" noProof="0" dirty="0">
                <a:ln>
                  <a:noFill/>
                </a:ln>
                <a:solidFill>
                  <a:srgbClr val="0069A3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</a:t>
            </a:r>
            <a:r>
              <a:rPr kumimoji="1" lang="ko-KR" altLang="en-US" sz="1545" b="1" i="0" u="none" strike="noStrike" kern="1200" cap="none" spc="0" normalizeH="0" baseline="0" noProof="0" dirty="0">
                <a:ln>
                  <a:noFill/>
                </a:ln>
                <a:solidFill>
                  <a:srgbClr val="0069A3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수</a:t>
            </a:r>
            <a:r>
              <a:rPr kumimoji="1" lang="en-US" altLang="ko-KR" sz="1545" b="1" i="0" u="none" strike="noStrike" kern="1200" cap="none" spc="0" normalizeH="0" baseline="0" noProof="0" dirty="0">
                <a:ln>
                  <a:noFill/>
                </a:ln>
                <a:solidFill>
                  <a:srgbClr val="0069A3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)</a:t>
            </a:r>
          </a:p>
        </p:txBody>
      </p:sp>
      <p:graphicFrame>
        <p:nvGraphicFramePr>
          <p:cNvPr id="17" name="표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5414498"/>
              </p:ext>
            </p:extLst>
          </p:nvPr>
        </p:nvGraphicFramePr>
        <p:xfrm>
          <a:off x="741485" y="2171311"/>
          <a:ext cx="9188512" cy="433869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83478">
                  <a:extLst>
                    <a:ext uri="{9D8B030D-6E8A-4147-A177-3AD203B41FA5}">
                      <a16:colId xmlns:a16="http://schemas.microsoft.com/office/drawing/2014/main" val="678048656"/>
                    </a:ext>
                  </a:extLst>
                </a:gridCol>
                <a:gridCol w="3852517">
                  <a:extLst>
                    <a:ext uri="{9D8B030D-6E8A-4147-A177-3AD203B41FA5}">
                      <a16:colId xmlns:a16="http://schemas.microsoft.com/office/drawing/2014/main" val="1169757339"/>
                    </a:ext>
                  </a:extLst>
                </a:gridCol>
                <a:gridCol w="3852517">
                  <a:extLst>
                    <a:ext uri="{9D8B030D-6E8A-4147-A177-3AD203B41FA5}">
                      <a16:colId xmlns:a16="http://schemas.microsoft.com/office/drawing/2014/main" val="1772108178"/>
                    </a:ext>
                  </a:extLst>
                </a:gridCol>
              </a:tblGrid>
              <a:tr h="37082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300" b="1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구분</a:t>
                      </a:r>
                      <a:endParaRPr lang="ko-KR" altLang="en-US" sz="1300" b="1" spc="-5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4190" marR="9419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300" b="1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현행</a:t>
                      </a:r>
                      <a:endParaRPr lang="ko-KR" altLang="en-US" sz="1300" b="1" spc="-5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4190" marR="9419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300" b="1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변경</a:t>
                      </a:r>
                      <a:endParaRPr lang="ko-KR" altLang="en-US" sz="1300" b="1" spc="-5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4190" marR="9419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1617612"/>
                  </a:ext>
                </a:extLst>
              </a:tr>
              <a:tr h="1186651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300" b="1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가입금액 확대</a:t>
                      </a:r>
                      <a:endParaRPr lang="en-US" altLang="ko-KR" sz="1300" b="1" spc="-50" baseline="0" dirty="0" smtClean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20000"/>
                        </a:lnSpc>
                      </a:pPr>
                      <a:endParaRPr lang="en-US" altLang="ko-KR" sz="1300" b="0" spc="-50" baseline="0" dirty="0" smtClean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en-US" altLang="ko-KR" sz="1300" b="0" u="none" spc="-50" baseline="0" dirty="0" smtClean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1115149"/>
                  </a:ext>
                </a:extLst>
              </a:tr>
              <a:tr h="927071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300" b="1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일반상품</a:t>
                      </a:r>
                      <a:endParaRPr lang="en-US" altLang="ko-KR" sz="1300" b="1" spc="-50" baseline="0" dirty="0" smtClean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en-US" altLang="ko-KR" sz="1300" b="1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Life</a:t>
                      </a:r>
                      <a:r>
                        <a:rPr lang="ko-KR" altLang="en-US" sz="1300" b="1" spc="-50" baseline="0" dirty="0" err="1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할증특약</a:t>
                      </a:r>
                      <a:r>
                        <a:rPr lang="ko-KR" altLang="en-US" sz="1300" b="1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운용</a:t>
                      </a:r>
                      <a:endParaRPr lang="en-US" altLang="ko-KR" sz="1300" b="1" spc="-50" baseline="0" dirty="0" smtClean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3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일반상품 </a:t>
                      </a:r>
                      <a:r>
                        <a:rPr lang="en-US" altLang="ko-KR" sz="13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Life</a:t>
                      </a:r>
                      <a:r>
                        <a:rPr lang="ko-KR" altLang="en-US" sz="13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할증 </a:t>
                      </a:r>
                      <a:r>
                        <a:rPr lang="ko-KR" altLang="en-US" sz="1300" b="0" spc="-50" baseline="0" dirty="0" err="1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미운용</a:t>
                      </a:r>
                      <a:endParaRPr lang="en-US" altLang="ko-KR" sz="1300" b="0" spc="-50" baseline="0" dirty="0" smtClean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300" b="1" u="sng" spc="-50" baseline="0" dirty="0" smtClean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일반상품 </a:t>
                      </a:r>
                      <a:r>
                        <a:rPr lang="en-US" altLang="ko-KR" sz="1300" b="1" u="sng" spc="-50" baseline="0" dirty="0" smtClean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Life</a:t>
                      </a:r>
                      <a:r>
                        <a:rPr lang="ko-KR" altLang="en-US" sz="1300" b="1" u="sng" spc="-50" baseline="0" dirty="0" err="1" smtClean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할증특약</a:t>
                      </a:r>
                      <a:r>
                        <a:rPr lang="ko-KR" altLang="en-US" sz="1300" b="1" u="sng" spc="-50" baseline="0" dirty="0" smtClean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운용</a:t>
                      </a:r>
                      <a:endParaRPr lang="en-US" altLang="ko-KR" sz="1300" b="1" u="sng" spc="-50" baseline="0" dirty="0" smtClean="0">
                        <a:solidFill>
                          <a:srgbClr val="0000FF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l" latinLnBrk="1">
                        <a:lnSpc>
                          <a:spcPct val="150000"/>
                        </a:lnSpc>
                      </a:pPr>
                      <a:r>
                        <a:rPr lang="en-US" altLang="ko-KR" sz="11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                        * </a:t>
                      </a:r>
                      <a:r>
                        <a:rPr lang="ko-KR" altLang="en-US" sz="11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단</a:t>
                      </a:r>
                      <a:r>
                        <a:rPr lang="en-US" altLang="ko-KR" sz="11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 </a:t>
                      </a:r>
                      <a:r>
                        <a:rPr lang="ko-KR" altLang="en-US" sz="11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납입면제 특약과 동시가입 불가</a:t>
                      </a:r>
                      <a:endParaRPr lang="en-US" altLang="ko-KR" sz="1100" b="0" spc="-50" baseline="0" dirty="0" smtClean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2758198"/>
                  </a:ext>
                </a:extLst>
              </a:tr>
              <a:tr h="444994">
                <a:tc rowSpan="2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r>
                        <a:rPr lang="ko-KR" altLang="en-US" sz="1300" b="1" spc="-50" baseline="0" dirty="0" err="1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가입대상자</a:t>
                      </a:r>
                      <a:r>
                        <a:rPr lang="en-US" altLang="ko-KR" sz="1300" b="1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ko-KR" altLang="en-US" sz="1300" b="1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확대</a:t>
                      </a:r>
                      <a:endParaRPr lang="en-US" altLang="ko-KR" sz="1300" b="1" spc="-50" baseline="0" dirty="0" smtClean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300" dirty="0" smtClean="0"/>
                        <a:t>-</a:t>
                      </a:r>
                      <a:endParaRPr lang="ko-KR" altLang="en-US" sz="1300" dirty="0"/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300" b="1" u="sng" kern="1200" spc="-50" baseline="0" dirty="0" smtClean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개인사업자 추가</a:t>
                      </a:r>
                      <a:endParaRPr lang="ko-KR" altLang="en-US" sz="1300" b="1" u="sng" kern="1200" spc="-50" baseline="0" dirty="0">
                        <a:solidFill>
                          <a:srgbClr val="0000FF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0791906"/>
                  </a:ext>
                </a:extLst>
              </a:tr>
              <a:tr h="1409148">
                <a:tc vMerge="1">
                  <a:txBody>
                    <a:bodyPr/>
                    <a:lstStyle/>
                    <a:p>
                      <a:pPr algn="ctr" latinLnBrk="1">
                        <a:lnSpc>
                          <a:spcPct val="100000"/>
                        </a:lnSpc>
                      </a:pPr>
                      <a:endParaRPr lang="en-US" altLang="ko-KR" sz="1300" b="1" spc="-50" baseline="0" dirty="0" smtClean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00000"/>
                        </a:lnSpc>
                      </a:pPr>
                      <a:r>
                        <a:rPr lang="en-US" altLang="ko-KR" sz="13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[</a:t>
                      </a:r>
                      <a:r>
                        <a:rPr lang="ko-KR" altLang="en-US" sz="1300" b="0" spc="-50" baseline="0" dirty="0" err="1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사업방법서</a:t>
                      </a:r>
                      <a:r>
                        <a:rPr lang="en-US" altLang="ko-KR" sz="13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]</a:t>
                      </a:r>
                    </a:p>
                    <a:p>
                      <a:pPr algn="l" latinLnBrk="1">
                        <a:lnSpc>
                          <a:spcPct val="100000"/>
                        </a:lnSpc>
                      </a:pPr>
                      <a:r>
                        <a:rPr lang="en-US" altLang="ko-KR" sz="12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9. </a:t>
                      </a:r>
                      <a:r>
                        <a:rPr lang="ko-KR" altLang="en-US" sz="12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기타</a:t>
                      </a:r>
                      <a:endParaRPr lang="en-US" altLang="ko-KR" sz="1200" b="0" spc="-50" baseline="0" dirty="0" smtClean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l" latinLnBrk="1">
                        <a:lnSpc>
                          <a:spcPct val="100000"/>
                        </a:lnSpc>
                      </a:pPr>
                      <a:r>
                        <a:rPr lang="en-US" altLang="ko-KR" sz="12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</a:t>
                      </a:r>
                      <a:r>
                        <a:rPr lang="ko-KR" altLang="en-US" sz="12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아</a:t>
                      </a:r>
                      <a:r>
                        <a:rPr lang="en-US" altLang="ko-KR" sz="12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. </a:t>
                      </a:r>
                      <a:r>
                        <a:rPr lang="ko-KR" altLang="en-US" sz="12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계약을 체결할 때 이 보험의 계약자는 법인으로</a:t>
                      </a:r>
                      <a:endParaRPr lang="en-US" altLang="ko-KR" sz="1200" b="0" spc="-50" baseline="0" dirty="0" smtClean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l" latinLnBrk="1">
                        <a:lnSpc>
                          <a:spcPct val="100000"/>
                        </a:lnSpc>
                      </a:pPr>
                      <a:r>
                        <a:rPr lang="en-US" altLang="ko-KR" sz="12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     </a:t>
                      </a:r>
                      <a:r>
                        <a:rPr lang="ko-KR" altLang="en-US" sz="12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하며</a:t>
                      </a:r>
                      <a:r>
                        <a:rPr lang="en-US" altLang="ko-KR" sz="12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 </a:t>
                      </a:r>
                      <a:r>
                        <a:rPr lang="ko-KR" altLang="en-US" sz="12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피보험자는 해당 법인에서 재직중인 </a:t>
                      </a:r>
                      <a:endParaRPr lang="en-US" altLang="ko-KR" sz="1200" b="0" spc="-50" baseline="0" dirty="0" smtClean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l" latinLnBrk="1">
                        <a:lnSpc>
                          <a:spcPct val="100000"/>
                        </a:lnSpc>
                      </a:pPr>
                      <a:r>
                        <a:rPr lang="en-US" altLang="ko-KR" sz="14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    “CEO(</a:t>
                      </a:r>
                      <a:r>
                        <a:rPr lang="ko-KR" altLang="en-US" sz="14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고경영자</a:t>
                      </a:r>
                      <a:r>
                        <a:rPr lang="en-US" altLang="ko-KR" sz="14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, </a:t>
                      </a:r>
                      <a:r>
                        <a:rPr lang="ko-KR" altLang="en-US" sz="14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등기임원</a:t>
                      </a:r>
                      <a:r>
                        <a:rPr lang="en-US" altLang="ko-KR" sz="14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ko-KR" altLang="en-US" sz="14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및 </a:t>
                      </a:r>
                      <a:r>
                        <a:rPr lang="ko-KR" altLang="en-US" sz="1400" b="0" spc="-50" baseline="0" dirty="0" err="1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일반임원</a:t>
                      </a:r>
                      <a:r>
                        <a:rPr lang="en-US" altLang="ko-KR" sz="14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’</a:t>
                      </a:r>
                      <a:r>
                        <a:rPr lang="ko-KR" altLang="en-US" sz="14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으로</a:t>
                      </a:r>
                      <a:endParaRPr lang="en-US" altLang="ko-KR" sz="1400" b="0" spc="-50" baseline="0" dirty="0" smtClean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l" latinLnBrk="1">
                        <a:lnSpc>
                          <a:spcPct val="100000"/>
                        </a:lnSpc>
                      </a:pPr>
                      <a:r>
                        <a:rPr lang="en-US" altLang="ko-KR" sz="14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     </a:t>
                      </a:r>
                      <a:r>
                        <a:rPr lang="ko-KR" altLang="en-US" sz="14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한다</a:t>
                      </a:r>
                      <a:r>
                        <a:rPr lang="en-US" altLang="ko-KR" sz="14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.</a:t>
                      </a:r>
                    </a:p>
                  </a:txBody>
                  <a:tcPr marL="74166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latinLnBrk="1">
                        <a:lnSpc>
                          <a:spcPct val="100000"/>
                        </a:lnSpc>
                      </a:pPr>
                      <a:r>
                        <a:rPr lang="en-US" altLang="ko-KR" sz="13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[</a:t>
                      </a:r>
                      <a:r>
                        <a:rPr lang="ko-KR" altLang="en-US" sz="1300" b="0" spc="-50" baseline="0" dirty="0" err="1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사업방법서</a:t>
                      </a:r>
                      <a:r>
                        <a:rPr lang="en-US" altLang="ko-KR" sz="13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]</a:t>
                      </a:r>
                    </a:p>
                    <a:p>
                      <a:pPr algn="l" latinLnBrk="1">
                        <a:lnSpc>
                          <a:spcPct val="100000"/>
                        </a:lnSpc>
                      </a:pPr>
                      <a:r>
                        <a:rPr lang="en-US" altLang="ko-KR" sz="12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9. </a:t>
                      </a:r>
                      <a:r>
                        <a:rPr lang="ko-KR" altLang="en-US" sz="12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기타</a:t>
                      </a:r>
                      <a:endParaRPr lang="en-US" altLang="ko-KR" sz="1200" b="0" spc="-50" baseline="0" dirty="0" smtClean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l" latinLnBrk="1">
                        <a:lnSpc>
                          <a:spcPct val="100000"/>
                        </a:lnSpc>
                      </a:pPr>
                      <a:r>
                        <a:rPr lang="en-US" altLang="ko-KR" sz="12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</a:t>
                      </a:r>
                      <a:r>
                        <a:rPr lang="ko-KR" altLang="en-US" sz="12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아</a:t>
                      </a:r>
                      <a:r>
                        <a:rPr lang="en-US" altLang="ko-KR" sz="12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. </a:t>
                      </a:r>
                      <a:r>
                        <a:rPr lang="ko-KR" altLang="en-US" sz="12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계약을 체결할 때 이 보험의 계약자는 법인으로</a:t>
                      </a:r>
                      <a:endParaRPr lang="en-US" altLang="ko-KR" sz="1200" b="0" spc="-50" baseline="0" dirty="0" smtClean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l" latinLnBrk="1">
                        <a:lnSpc>
                          <a:spcPct val="100000"/>
                        </a:lnSpc>
                      </a:pPr>
                      <a:r>
                        <a:rPr lang="en-US" altLang="ko-KR" sz="12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     </a:t>
                      </a:r>
                      <a:r>
                        <a:rPr lang="ko-KR" altLang="en-US" sz="12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하며</a:t>
                      </a:r>
                      <a:r>
                        <a:rPr lang="en-US" altLang="ko-KR" sz="12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 </a:t>
                      </a:r>
                      <a:r>
                        <a:rPr lang="ko-KR" altLang="en-US" sz="12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피보험자는 해당 법인에서 재직중인 </a:t>
                      </a:r>
                      <a:endParaRPr lang="en-US" altLang="ko-KR" sz="1200" b="0" spc="-50" baseline="0" dirty="0" smtClean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l" latinLnBrk="1">
                        <a:lnSpc>
                          <a:spcPct val="100000"/>
                        </a:lnSpc>
                      </a:pPr>
                      <a:r>
                        <a:rPr lang="en-US" altLang="ko-KR" sz="13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     “CEO(</a:t>
                      </a:r>
                      <a:r>
                        <a:rPr lang="ko-KR" altLang="en-US" sz="13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고경영자</a:t>
                      </a:r>
                      <a:r>
                        <a:rPr lang="en-US" altLang="ko-KR" sz="13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, </a:t>
                      </a:r>
                      <a:r>
                        <a:rPr lang="ko-KR" altLang="en-US" sz="13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등기임원</a:t>
                      </a:r>
                      <a:r>
                        <a:rPr lang="en-US" altLang="ko-KR" sz="13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ko-KR" altLang="en-US" sz="13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및 </a:t>
                      </a:r>
                      <a:r>
                        <a:rPr lang="ko-KR" altLang="en-US" sz="1300" b="0" spc="-50" baseline="0" dirty="0" err="1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일반임원</a:t>
                      </a:r>
                      <a:r>
                        <a:rPr lang="en-US" altLang="ko-KR" sz="13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’ </a:t>
                      </a:r>
                      <a:r>
                        <a:rPr lang="ko-KR" altLang="en-US" sz="13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또는</a:t>
                      </a:r>
                      <a:r>
                        <a:rPr lang="en-US" altLang="ko-KR" sz="13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     </a:t>
                      </a:r>
                    </a:p>
                    <a:p>
                      <a:pPr algn="l" latinLnBrk="1">
                        <a:lnSpc>
                          <a:spcPct val="100000"/>
                        </a:lnSpc>
                      </a:pPr>
                      <a:r>
                        <a:rPr lang="en-US" altLang="ko-KR" sz="13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     </a:t>
                      </a:r>
                      <a:r>
                        <a:rPr lang="ko-KR" altLang="en-US" sz="1300" b="1" u="sng" spc="-50" baseline="0" dirty="0" smtClean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개인사업자 등록증에 기재된 대표자</a:t>
                      </a:r>
                      <a:r>
                        <a:rPr lang="ko-KR" altLang="en-US" sz="13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로 한다</a:t>
                      </a:r>
                      <a:r>
                        <a:rPr lang="en-US" altLang="ko-KR" sz="1300" b="0" spc="-5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.</a:t>
                      </a:r>
                    </a:p>
                  </a:txBody>
                  <a:tcPr marL="74166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9104833"/>
                  </a:ext>
                </a:extLst>
              </a:tr>
            </a:tbl>
          </a:graphicData>
        </a:graphic>
      </p:graphicFrame>
      <p:graphicFrame>
        <p:nvGraphicFramePr>
          <p:cNvPr id="18" name="표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230766"/>
              </p:ext>
            </p:extLst>
          </p:nvPr>
        </p:nvGraphicFramePr>
        <p:xfrm>
          <a:off x="2447484" y="2668682"/>
          <a:ext cx="3337826" cy="9018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668913">
                  <a:extLst>
                    <a:ext uri="{9D8B030D-6E8A-4147-A177-3AD203B41FA5}">
                      <a16:colId xmlns:a16="http://schemas.microsoft.com/office/drawing/2014/main" val="2561989320"/>
                    </a:ext>
                  </a:extLst>
                </a:gridCol>
                <a:gridCol w="1668913">
                  <a:extLst>
                    <a:ext uri="{9D8B030D-6E8A-4147-A177-3AD203B41FA5}">
                      <a16:colId xmlns:a16="http://schemas.microsoft.com/office/drawing/2014/main" val="3926146868"/>
                    </a:ext>
                  </a:extLst>
                </a:gridCol>
              </a:tblGrid>
              <a:tr h="26254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일반가입</a:t>
                      </a:r>
                      <a:endParaRPr lang="ko-KR" altLang="en-US" sz="120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37083" marB="37083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간편가입</a:t>
                      </a:r>
                      <a:endParaRPr lang="ko-KR" altLang="en-US" sz="120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37083" marB="37083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744824"/>
                  </a:ext>
                </a:extLst>
              </a:tr>
              <a:tr h="6393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9</a:t>
                      </a:r>
                      <a:r>
                        <a:rPr lang="ko-KR" altLang="en-US" sz="12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↓ </a:t>
                      </a:r>
                      <a:r>
                        <a:rPr lang="en-US" altLang="ko-KR" sz="12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5</a:t>
                      </a:r>
                      <a:r>
                        <a:rPr lang="ko-KR" altLang="en-US" sz="12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억</a:t>
                      </a:r>
                      <a:endParaRPr lang="en-US" altLang="ko-KR" sz="1200" dirty="0" smtClean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 latinLnBrk="1"/>
                      <a:r>
                        <a:rPr lang="en-US" altLang="ko-KR" sz="12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9</a:t>
                      </a:r>
                      <a:r>
                        <a:rPr lang="ko-KR" altLang="en-US" sz="12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↓ </a:t>
                      </a:r>
                      <a:r>
                        <a:rPr lang="en-US" altLang="ko-KR" sz="12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</a:t>
                      </a:r>
                      <a:r>
                        <a:rPr lang="ko-KR" altLang="en-US" sz="12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억</a:t>
                      </a:r>
                      <a:endParaRPr lang="en-US" altLang="ko-KR" sz="1200" dirty="0" smtClean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 latinLnBrk="1"/>
                      <a:r>
                        <a:rPr lang="en-US" altLang="ko-KR" sz="12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0</a:t>
                      </a:r>
                      <a:r>
                        <a:rPr lang="ko-KR" altLang="en-US" sz="12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↑ </a:t>
                      </a:r>
                      <a:r>
                        <a:rPr lang="en-US" altLang="ko-KR" sz="12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0</a:t>
                      </a:r>
                      <a:r>
                        <a:rPr lang="ko-KR" altLang="en-US" sz="12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억</a:t>
                      </a:r>
                      <a:endParaRPr lang="ko-KR" altLang="en-US" sz="120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37083" marB="37083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9</a:t>
                      </a:r>
                      <a:r>
                        <a:rPr lang="ko-KR" altLang="en-US" sz="12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↓ </a:t>
                      </a:r>
                      <a:r>
                        <a:rPr lang="en-US" altLang="ko-KR" sz="12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5</a:t>
                      </a:r>
                      <a:r>
                        <a:rPr lang="ko-KR" altLang="en-US" sz="12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억</a:t>
                      </a:r>
                      <a:endParaRPr lang="en-US" altLang="ko-KR" sz="1200" dirty="0" smtClean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 latinLnBrk="1"/>
                      <a:r>
                        <a:rPr lang="en-US" altLang="ko-KR" sz="12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0</a:t>
                      </a:r>
                      <a:r>
                        <a:rPr lang="ko-KR" altLang="en-US" sz="12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↑ </a:t>
                      </a:r>
                      <a:r>
                        <a:rPr lang="en-US" altLang="ko-KR" sz="12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</a:t>
                      </a:r>
                      <a:r>
                        <a:rPr lang="ko-KR" altLang="en-US" sz="12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억</a:t>
                      </a:r>
                      <a:endParaRPr lang="ko-KR" altLang="en-US" sz="120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37083" marB="3708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7153120"/>
                  </a:ext>
                </a:extLst>
              </a:tr>
            </a:tbl>
          </a:graphicData>
        </a:graphic>
      </p:graphicFrame>
      <p:graphicFrame>
        <p:nvGraphicFramePr>
          <p:cNvPr id="19" name="표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2269566"/>
              </p:ext>
            </p:extLst>
          </p:nvPr>
        </p:nvGraphicFramePr>
        <p:xfrm>
          <a:off x="6378702" y="2637285"/>
          <a:ext cx="3337826" cy="95836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668913">
                  <a:extLst>
                    <a:ext uri="{9D8B030D-6E8A-4147-A177-3AD203B41FA5}">
                      <a16:colId xmlns:a16="http://schemas.microsoft.com/office/drawing/2014/main" val="2561989320"/>
                    </a:ext>
                  </a:extLst>
                </a:gridCol>
                <a:gridCol w="1668913">
                  <a:extLst>
                    <a:ext uri="{9D8B030D-6E8A-4147-A177-3AD203B41FA5}">
                      <a16:colId xmlns:a16="http://schemas.microsoft.com/office/drawing/2014/main" val="3926146868"/>
                    </a:ext>
                  </a:extLst>
                </a:gridCol>
              </a:tblGrid>
              <a:tr h="26254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일반가입</a:t>
                      </a:r>
                      <a:endParaRPr lang="ko-KR" altLang="en-US" sz="120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37083" marB="37083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간편가입</a:t>
                      </a:r>
                      <a:endParaRPr lang="ko-KR" altLang="en-US" sz="120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37083" marB="37083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744824"/>
                  </a:ext>
                </a:extLst>
              </a:tr>
              <a:tr h="69582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1" u="sng" dirty="0" smtClean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0</a:t>
                      </a:r>
                      <a:r>
                        <a:rPr lang="ko-KR" altLang="en-US" sz="1400" b="1" u="sng" dirty="0" smtClean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억</a:t>
                      </a:r>
                      <a:endParaRPr lang="en-US" altLang="ko-KR" sz="1400" b="1" u="sng" dirty="0" smtClean="0">
                        <a:solidFill>
                          <a:srgbClr val="0000FF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l" latinLnBrk="1">
                        <a:lnSpc>
                          <a:spcPct val="130000"/>
                        </a:lnSpc>
                      </a:pPr>
                      <a:r>
                        <a:rPr lang="en-US" altLang="ko-KR" sz="10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* 30</a:t>
                      </a:r>
                      <a:r>
                        <a:rPr lang="ko-KR" altLang="en-US" sz="10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억 초과시</a:t>
                      </a:r>
                      <a:r>
                        <a:rPr lang="en-US" altLang="ko-KR" sz="10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ko-KR" altLang="en-US" sz="1000" dirty="0" err="1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특별인수</a:t>
                      </a:r>
                      <a:r>
                        <a:rPr lang="ko-KR" altLang="en-US" sz="100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검토</a:t>
                      </a:r>
                      <a:endParaRPr lang="ko-KR" altLang="en-US" sz="100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37083" marB="3708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400" b="1" u="sng" dirty="0" smtClean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</a:t>
                      </a:r>
                      <a:r>
                        <a:rPr lang="ko-KR" altLang="en-US" sz="1400" b="1" u="sng" dirty="0" smtClean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억</a:t>
                      </a:r>
                      <a:endParaRPr lang="ko-KR" altLang="en-US" sz="1400" b="1" u="sng" dirty="0">
                        <a:solidFill>
                          <a:srgbClr val="0000FF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37083" marB="37083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7153120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>
            <a:spLocks noChangeArrowheads="1"/>
          </p:cNvSpPr>
          <p:nvPr/>
        </p:nvSpPr>
        <p:spPr bwMode="auto">
          <a:xfrm>
            <a:off x="210143" y="191820"/>
            <a:ext cx="10173695" cy="4471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>
            <a:spAutoFit/>
          </a:bodyPr>
          <a:lstStyle/>
          <a:p>
            <a:pPr defTabSz="958255">
              <a:defRPr/>
            </a:pPr>
            <a:r>
              <a:rPr lang="ko-KR" altLang="en-US" sz="2306" dirty="0">
                <a:solidFill>
                  <a:srgbClr val="1F497D"/>
                </a:solidFill>
                <a:latin typeface="나눔고딕 ExtraBold" pitchFamily="50" charset="-127"/>
                <a:ea typeface="나눔고딕 ExtraBold" pitchFamily="50" charset="-127"/>
              </a:rPr>
              <a:t>경영인정기보험 </a:t>
            </a:r>
            <a:r>
              <a:rPr lang="ko-KR" altLang="en-US" sz="2306" dirty="0" err="1" smtClean="0">
                <a:solidFill>
                  <a:srgbClr val="1F497D"/>
                </a:solidFill>
                <a:latin typeface="나눔고딕 ExtraBold" pitchFamily="50" charset="-127"/>
                <a:ea typeface="나눔고딕 ExtraBold" pitchFamily="50" charset="-127"/>
              </a:rPr>
              <a:t>상품개정</a:t>
            </a:r>
            <a:r>
              <a:rPr lang="en-US" altLang="ko-KR" sz="2306" dirty="0">
                <a:solidFill>
                  <a:srgbClr val="1F497D"/>
                </a:solidFill>
                <a:latin typeface="나눔고딕 ExtraBold" pitchFamily="50" charset="-127"/>
                <a:ea typeface="나눔고딕 ExtraBold" pitchFamily="50" charset="-127"/>
              </a:rPr>
              <a:t> </a:t>
            </a:r>
            <a:r>
              <a:rPr lang="ko-KR" altLang="en-US" sz="2306" dirty="0" smtClean="0">
                <a:solidFill>
                  <a:srgbClr val="1F497D"/>
                </a:solidFill>
                <a:latin typeface="나눔고딕 ExtraBold" pitchFamily="50" charset="-127"/>
                <a:ea typeface="나눔고딕 ExtraBold" pitchFamily="50" charset="-127"/>
              </a:rPr>
              <a:t>주요내용</a:t>
            </a:r>
            <a:endParaRPr lang="ko-KR" altLang="en-US" sz="2306" dirty="0">
              <a:solidFill>
                <a:srgbClr val="1F497D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21463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직사각형 12"/>
          <p:cNvSpPr/>
          <p:nvPr/>
        </p:nvSpPr>
        <p:spPr>
          <a:xfrm>
            <a:off x="444789" y="1069334"/>
            <a:ext cx="9642608" cy="3400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41923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545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□ 경쟁사 </a:t>
            </a:r>
            <a:r>
              <a:rPr kumimoji="1" lang="ko-KR" altLang="en-US" sz="1545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환급률</a:t>
            </a:r>
            <a:r>
              <a:rPr kumimoji="1" lang="ko-KR" altLang="en-US" sz="1545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1" lang="ko-KR" altLang="en-US" sz="1545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비교</a:t>
            </a:r>
            <a:r>
              <a:rPr kumimoji="1" lang="en-US" altLang="ko-KR" sz="1545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</a:t>
            </a:r>
            <a:r>
              <a:rPr kumimoji="1" lang="ko-KR" altLang="en-US" sz="1545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경쟁사는 </a:t>
            </a:r>
            <a:r>
              <a:rPr kumimoji="1" lang="ko-KR" altLang="en-US" sz="1545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환급률이</a:t>
            </a:r>
            <a:r>
              <a:rPr kumimoji="1" lang="ko-KR" altLang="en-US" sz="1545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가장 높은 </a:t>
            </a:r>
            <a:r>
              <a:rPr kumimoji="1" lang="ko-KR" altLang="en-US" sz="1545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상품종형</a:t>
            </a:r>
            <a:r>
              <a:rPr kumimoji="1" lang="ko-KR" altLang="en-US" sz="1545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선택</a:t>
            </a:r>
            <a:r>
              <a:rPr kumimoji="1" lang="en-US" altLang="ko-KR" sz="1545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)</a:t>
            </a:r>
            <a:endParaRPr kumimoji="1" lang="en-US" altLang="ko-KR" sz="1545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graphicFrame>
        <p:nvGraphicFramePr>
          <p:cNvPr id="3" name="표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110860"/>
              </p:ext>
            </p:extLst>
          </p:nvPr>
        </p:nvGraphicFramePr>
        <p:xfrm>
          <a:off x="741483" y="1698916"/>
          <a:ext cx="9058947" cy="203027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77115">
                  <a:extLst>
                    <a:ext uri="{9D8B030D-6E8A-4147-A177-3AD203B41FA5}">
                      <a16:colId xmlns:a16="http://schemas.microsoft.com/office/drawing/2014/main" val="80816057"/>
                    </a:ext>
                  </a:extLst>
                </a:gridCol>
                <a:gridCol w="1820458">
                  <a:extLst>
                    <a:ext uri="{9D8B030D-6E8A-4147-A177-3AD203B41FA5}">
                      <a16:colId xmlns:a16="http://schemas.microsoft.com/office/drawing/2014/main" val="3430135359"/>
                    </a:ext>
                  </a:extLst>
                </a:gridCol>
                <a:gridCol w="1820458">
                  <a:extLst>
                    <a:ext uri="{9D8B030D-6E8A-4147-A177-3AD203B41FA5}">
                      <a16:colId xmlns:a16="http://schemas.microsoft.com/office/drawing/2014/main" val="731533763"/>
                    </a:ext>
                  </a:extLst>
                </a:gridCol>
                <a:gridCol w="1820458">
                  <a:extLst>
                    <a:ext uri="{9D8B030D-6E8A-4147-A177-3AD203B41FA5}">
                      <a16:colId xmlns:a16="http://schemas.microsoft.com/office/drawing/2014/main" val="1497783826"/>
                    </a:ext>
                  </a:extLst>
                </a:gridCol>
                <a:gridCol w="1820458">
                  <a:extLst>
                    <a:ext uri="{9D8B030D-6E8A-4147-A177-3AD203B41FA5}">
                      <a16:colId xmlns:a16="http://schemas.microsoft.com/office/drawing/2014/main" val="3990398529"/>
                    </a:ext>
                  </a:extLst>
                </a:gridCol>
              </a:tblGrid>
              <a:tr h="43637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구분</a:t>
                      </a:r>
                      <a:endParaRPr lang="ko-KR" altLang="en-US" sz="1200" b="1" spc="-10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spc="-100" baseline="0" dirty="0" err="1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교보생명</a:t>
                      </a:r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_</a:t>
                      </a:r>
                      <a:r>
                        <a:rPr lang="ko-KR" altLang="en-US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금리변동</a:t>
                      </a:r>
                      <a:endParaRPr lang="ko-KR" altLang="en-US" sz="1200" b="1" spc="-10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A </a:t>
                      </a:r>
                      <a:r>
                        <a:rPr lang="ko-KR" altLang="en-US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사</a:t>
                      </a:r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_</a:t>
                      </a:r>
                      <a:r>
                        <a:rPr lang="ko-KR" altLang="en-US" sz="1200" b="1" spc="-100" baseline="0" dirty="0" err="1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금리확정</a:t>
                      </a:r>
                      <a:endParaRPr lang="en-US" altLang="ko-KR" sz="1200" b="1" spc="-100" baseline="0" dirty="0" smtClean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 latinLnBrk="1"/>
                      <a:r>
                        <a:rPr lang="en-US" altLang="ko-KR" sz="9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5</a:t>
                      </a:r>
                      <a:r>
                        <a:rPr lang="ko-KR" altLang="en-US" sz="9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 이하 </a:t>
                      </a:r>
                      <a:r>
                        <a:rPr lang="en-US" altLang="ko-KR" sz="9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.75%, 5</a:t>
                      </a:r>
                      <a:r>
                        <a:rPr lang="ko-KR" altLang="en-US" sz="9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 초과 </a:t>
                      </a:r>
                      <a:r>
                        <a:rPr lang="en-US" altLang="ko-KR" sz="9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.5%)</a:t>
                      </a:r>
                      <a:endParaRPr lang="ko-KR" altLang="en-US" sz="900" b="1" spc="-10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B</a:t>
                      </a:r>
                      <a:r>
                        <a:rPr lang="ko-KR" altLang="en-US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사</a:t>
                      </a:r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_</a:t>
                      </a:r>
                      <a:r>
                        <a:rPr lang="ko-KR" altLang="en-US" sz="1200" b="1" spc="-100" baseline="0" dirty="0" err="1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금리확정</a:t>
                      </a:r>
                      <a:endParaRPr lang="en-US" altLang="ko-KR" sz="1200" b="1" spc="-100" baseline="0" dirty="0" smtClean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 latinLnBrk="1"/>
                      <a:r>
                        <a:rPr lang="en-US" altLang="ko-KR" sz="10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1.75%)</a:t>
                      </a:r>
                      <a:endParaRPr lang="ko-KR" altLang="en-US" sz="1000" b="1" spc="-10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C</a:t>
                      </a:r>
                      <a:r>
                        <a:rPr lang="ko-KR" altLang="en-US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사</a:t>
                      </a:r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_</a:t>
                      </a:r>
                      <a:r>
                        <a:rPr lang="ko-KR" altLang="en-US" sz="1200" b="1" spc="-100" baseline="0" dirty="0" err="1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금리연동</a:t>
                      </a:r>
                      <a:endParaRPr lang="ko-KR" altLang="en-US" sz="1200" b="1" spc="-10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7428242"/>
                  </a:ext>
                </a:extLst>
              </a:tr>
              <a:tr h="26565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보험료</a:t>
                      </a:r>
                      <a:endParaRPr lang="ko-KR" altLang="en-US" sz="1200" b="1" spc="-10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19,000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67,900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234,000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99,000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1123067"/>
                  </a:ext>
                </a:extLst>
              </a:tr>
              <a:tr h="26565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</a:t>
                      </a:r>
                      <a:r>
                        <a:rPr lang="ko-KR" altLang="en-US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  <a:endParaRPr lang="ko-KR" altLang="en-US" sz="1200" b="1" spc="-10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1.7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7.9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5.2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8.5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58981189"/>
                  </a:ext>
                </a:extLst>
              </a:tr>
              <a:tr h="26565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</a:t>
                      </a:r>
                      <a:r>
                        <a:rPr lang="ko-KR" altLang="en-US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  <a:endParaRPr lang="ko-KR" altLang="en-US" sz="1200" b="1" spc="-10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0.3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6.7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1.2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7.8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4539903"/>
                  </a:ext>
                </a:extLst>
              </a:tr>
              <a:tr h="26565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</a:t>
                      </a:r>
                      <a:r>
                        <a:rPr lang="ko-KR" altLang="en-US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  <a:endParaRPr lang="ko-KR" altLang="en-US" sz="1200" b="1" spc="-10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spc="-100" baseline="0" dirty="0" smtClean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7.8</a:t>
                      </a:r>
                      <a:endParaRPr lang="ko-KR" altLang="en-US" sz="1200" b="1" spc="-100" baseline="0" dirty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u="sng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5.7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.1)</a:t>
                      </a:r>
                      <a:endParaRPr lang="ko-KR" altLang="en-US" sz="1200" b="0" u="sng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u="sng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5.6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.2)</a:t>
                      </a:r>
                      <a:endParaRPr lang="ko-KR" altLang="en-US" sz="1200" b="0" u="sng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u="sng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0.2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.6)</a:t>
                      </a:r>
                      <a:endParaRPr lang="ko-KR" altLang="en-US" sz="1200" b="0" u="sng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8144755"/>
                  </a:ext>
                </a:extLst>
              </a:tr>
              <a:tr h="26565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</a:t>
                      </a:r>
                      <a:r>
                        <a:rPr lang="ko-KR" altLang="en-US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  <a:endParaRPr lang="ko-KR" altLang="en-US" sz="1200" b="1" spc="-10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spc="-100" baseline="0" dirty="0" smtClean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7.3</a:t>
                      </a:r>
                      <a:endParaRPr lang="ko-KR" altLang="en-US" sz="1200" b="1" spc="-100" baseline="0" dirty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u="sng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5.5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.8)</a:t>
                      </a:r>
                      <a:endParaRPr lang="ko-KR" altLang="en-US" sz="1200" b="0" u="sng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u="sng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5.2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.1)</a:t>
                      </a:r>
                      <a:endParaRPr lang="ko-KR" altLang="en-US" sz="1200" b="0" u="sng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u="sng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3.2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4.2)</a:t>
                      </a:r>
                      <a:endParaRPr lang="ko-KR" altLang="en-US" sz="1200" b="0" u="sng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2633514"/>
                  </a:ext>
                </a:extLst>
              </a:tr>
              <a:tr h="26565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</a:t>
                      </a:r>
                      <a:r>
                        <a:rPr lang="ko-KR" altLang="en-US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  <a:endParaRPr lang="ko-KR" altLang="en-US" sz="1200" b="1" spc="-10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8.1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8.8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8.5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2.0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966462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005136" y="1476394"/>
            <a:ext cx="5933913" cy="258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41923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03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</a:t>
            </a:r>
            <a:r>
              <a:rPr kumimoji="1" lang="ko-KR" altLang="en-US" sz="103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기준 </a:t>
            </a:r>
            <a:r>
              <a:rPr kumimoji="1" lang="en-US" altLang="ko-KR" sz="103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: </a:t>
            </a:r>
            <a:r>
              <a:rPr kumimoji="1" lang="ko-KR" altLang="en-US" sz="103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남자 </a:t>
            </a:r>
            <a:r>
              <a:rPr kumimoji="1" lang="en-US" altLang="ko-KR" sz="103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40</a:t>
            </a:r>
            <a:r>
              <a:rPr kumimoji="1" lang="ko-KR" altLang="en-US" sz="103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세</a:t>
            </a:r>
            <a:r>
              <a:rPr kumimoji="1" lang="en-US" altLang="ko-KR" sz="103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, </a:t>
            </a:r>
            <a:r>
              <a:rPr kumimoji="1" lang="ko-KR" altLang="en-US" sz="103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가입금액 </a:t>
            </a:r>
            <a:r>
              <a:rPr kumimoji="1" lang="en-US" altLang="ko-KR" sz="103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1</a:t>
            </a:r>
            <a:r>
              <a:rPr kumimoji="1" lang="ko-KR" altLang="en-US" sz="103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억</a:t>
            </a:r>
            <a:r>
              <a:rPr kumimoji="1" lang="en-US" altLang="ko-KR" sz="103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, 90</a:t>
            </a:r>
            <a:r>
              <a:rPr kumimoji="1" lang="ko-KR" altLang="en-US" sz="103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세만기</a:t>
            </a:r>
            <a:r>
              <a:rPr kumimoji="1" lang="en-US" altLang="ko-KR" sz="103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, </a:t>
            </a:r>
            <a:r>
              <a:rPr kumimoji="1" lang="ko-KR" altLang="en-US" sz="103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전기납</a:t>
            </a:r>
            <a:r>
              <a:rPr kumimoji="1" lang="en-US" altLang="ko-KR" sz="103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, </a:t>
            </a:r>
            <a:r>
              <a:rPr kumimoji="1" lang="ko-KR" altLang="en-US" sz="103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최저보증이율 기준</a:t>
            </a:r>
            <a:r>
              <a:rPr kumimoji="1" lang="en-US" altLang="ko-KR" sz="103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)</a:t>
            </a:r>
            <a:endParaRPr kumimoji="1" lang="ko-KR" altLang="en-US" sz="103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005136" y="3915469"/>
            <a:ext cx="5933913" cy="258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 defTabSz="941923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3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</a:t>
            </a:r>
            <a:r>
              <a:rPr kumimoji="1" lang="ko-KR" altLang="en-US" sz="103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기준 </a:t>
            </a:r>
            <a:r>
              <a:rPr kumimoji="1" lang="en-US" altLang="ko-KR" sz="103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: </a:t>
            </a:r>
            <a:r>
              <a:rPr kumimoji="1" lang="ko-KR" altLang="en-US" sz="103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남자 </a:t>
            </a:r>
            <a:r>
              <a:rPr kumimoji="1" lang="en-US" altLang="ko-KR" sz="103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50</a:t>
            </a:r>
            <a:r>
              <a:rPr kumimoji="1" lang="ko-KR" altLang="en-US" sz="103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세</a:t>
            </a:r>
            <a:r>
              <a:rPr kumimoji="1" lang="en-US" altLang="ko-KR" sz="103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, </a:t>
            </a:r>
            <a:r>
              <a:rPr kumimoji="1" lang="ko-KR" altLang="en-US" sz="103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가입금액 </a:t>
            </a:r>
            <a:r>
              <a:rPr kumimoji="1" lang="en-US" altLang="ko-KR" sz="103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1</a:t>
            </a:r>
            <a:r>
              <a:rPr kumimoji="1" lang="ko-KR" altLang="en-US" sz="103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억</a:t>
            </a:r>
            <a:r>
              <a:rPr kumimoji="1" lang="en-US" altLang="ko-KR" sz="103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, 90</a:t>
            </a:r>
            <a:r>
              <a:rPr kumimoji="1" lang="ko-KR" altLang="en-US" sz="103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세만기</a:t>
            </a:r>
            <a:r>
              <a:rPr kumimoji="1" lang="en-US" altLang="ko-KR" sz="103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, </a:t>
            </a:r>
            <a:r>
              <a:rPr kumimoji="1" lang="ko-KR" altLang="en-US" sz="103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전기납</a:t>
            </a:r>
            <a:r>
              <a:rPr kumimoji="1" lang="en-US" altLang="ko-KR" sz="103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,</a:t>
            </a:r>
            <a:r>
              <a:rPr kumimoji="1" lang="ko-KR" altLang="en-US" sz="103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1" lang="ko-KR" altLang="en-US" sz="1030" b="1" u="sng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최저보증이율 기준</a:t>
            </a:r>
            <a:r>
              <a:rPr kumimoji="1" lang="en-US" altLang="ko-KR" sz="103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)</a:t>
            </a:r>
            <a:endParaRPr kumimoji="1" lang="ko-KR" altLang="en-US" sz="103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10" name="TextBox 9"/>
          <p:cNvSpPr txBox="1">
            <a:spLocks noChangeArrowheads="1"/>
          </p:cNvSpPr>
          <p:nvPr/>
        </p:nvSpPr>
        <p:spPr bwMode="auto">
          <a:xfrm>
            <a:off x="210143" y="191820"/>
            <a:ext cx="10173695" cy="4471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>
            <a:spAutoFit/>
          </a:bodyPr>
          <a:lstStyle/>
          <a:p>
            <a:pPr defTabSz="958255">
              <a:defRPr/>
            </a:pPr>
            <a:r>
              <a:rPr lang="ko-KR" altLang="en-US" sz="2306" dirty="0">
                <a:solidFill>
                  <a:srgbClr val="1F497D"/>
                </a:solidFill>
                <a:latin typeface="나눔고딕 ExtraBold" pitchFamily="50" charset="-127"/>
                <a:ea typeface="나눔고딕 ExtraBold" pitchFamily="50" charset="-127"/>
              </a:rPr>
              <a:t>경영인정기보험 </a:t>
            </a:r>
            <a:r>
              <a:rPr lang="ko-KR" altLang="en-US" sz="2306" dirty="0" err="1">
                <a:solidFill>
                  <a:srgbClr val="1F497D"/>
                </a:solidFill>
                <a:latin typeface="나눔고딕 ExtraBold" pitchFamily="50" charset="-127"/>
                <a:ea typeface="나눔고딕 ExtraBold" pitchFamily="50" charset="-127"/>
              </a:rPr>
              <a:t>상품개정</a:t>
            </a:r>
            <a:r>
              <a:rPr lang="en-US" altLang="ko-KR" sz="2306" dirty="0">
                <a:solidFill>
                  <a:srgbClr val="1F497D"/>
                </a:solidFill>
                <a:latin typeface="나눔고딕 ExtraBold" pitchFamily="50" charset="-127"/>
                <a:ea typeface="나눔고딕 ExtraBold" pitchFamily="50" charset="-127"/>
              </a:rPr>
              <a:t>_</a:t>
            </a:r>
            <a:r>
              <a:rPr lang="ko-KR" altLang="en-US" sz="2306" dirty="0" err="1">
                <a:solidFill>
                  <a:srgbClr val="1F497D"/>
                </a:solidFill>
                <a:latin typeface="나눔고딕 ExtraBold" pitchFamily="50" charset="-127"/>
                <a:ea typeface="나눔고딕 ExtraBold" pitchFamily="50" charset="-127"/>
              </a:rPr>
              <a:t>일반가입형</a:t>
            </a:r>
            <a:r>
              <a:rPr lang="ko-KR" altLang="en-US" sz="2306" dirty="0">
                <a:solidFill>
                  <a:srgbClr val="1F497D"/>
                </a:solidFill>
                <a:latin typeface="나눔고딕 ExtraBold" pitchFamily="50" charset="-127"/>
                <a:ea typeface="나눔고딕 ExtraBold" pitchFamily="50" charset="-127"/>
              </a:rPr>
              <a:t> </a:t>
            </a:r>
            <a:r>
              <a:rPr lang="ko-KR" altLang="en-US" sz="2306" dirty="0" err="1">
                <a:solidFill>
                  <a:srgbClr val="1F497D"/>
                </a:solidFill>
                <a:latin typeface="나눔고딕 ExtraBold" pitchFamily="50" charset="-127"/>
                <a:ea typeface="나눔고딕 ExtraBold" pitchFamily="50" charset="-127"/>
              </a:rPr>
              <a:t>환급률</a:t>
            </a:r>
            <a:endParaRPr lang="ko-KR" altLang="en-US" sz="2306" dirty="0">
              <a:solidFill>
                <a:srgbClr val="1F497D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graphicFrame>
        <p:nvGraphicFramePr>
          <p:cNvPr id="12" name="표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7148641"/>
              </p:ext>
            </p:extLst>
          </p:nvPr>
        </p:nvGraphicFramePr>
        <p:xfrm>
          <a:off x="741483" y="4184010"/>
          <a:ext cx="9058947" cy="203027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77115">
                  <a:extLst>
                    <a:ext uri="{9D8B030D-6E8A-4147-A177-3AD203B41FA5}">
                      <a16:colId xmlns:a16="http://schemas.microsoft.com/office/drawing/2014/main" val="80816057"/>
                    </a:ext>
                  </a:extLst>
                </a:gridCol>
                <a:gridCol w="1820458">
                  <a:extLst>
                    <a:ext uri="{9D8B030D-6E8A-4147-A177-3AD203B41FA5}">
                      <a16:colId xmlns:a16="http://schemas.microsoft.com/office/drawing/2014/main" val="3430135359"/>
                    </a:ext>
                  </a:extLst>
                </a:gridCol>
                <a:gridCol w="1820458">
                  <a:extLst>
                    <a:ext uri="{9D8B030D-6E8A-4147-A177-3AD203B41FA5}">
                      <a16:colId xmlns:a16="http://schemas.microsoft.com/office/drawing/2014/main" val="731533763"/>
                    </a:ext>
                  </a:extLst>
                </a:gridCol>
                <a:gridCol w="1820458">
                  <a:extLst>
                    <a:ext uri="{9D8B030D-6E8A-4147-A177-3AD203B41FA5}">
                      <a16:colId xmlns:a16="http://schemas.microsoft.com/office/drawing/2014/main" val="1497783826"/>
                    </a:ext>
                  </a:extLst>
                </a:gridCol>
                <a:gridCol w="1820458">
                  <a:extLst>
                    <a:ext uri="{9D8B030D-6E8A-4147-A177-3AD203B41FA5}">
                      <a16:colId xmlns:a16="http://schemas.microsoft.com/office/drawing/2014/main" val="3990398529"/>
                    </a:ext>
                  </a:extLst>
                </a:gridCol>
              </a:tblGrid>
              <a:tr h="43637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구분</a:t>
                      </a:r>
                      <a:endParaRPr lang="ko-KR" altLang="en-US" sz="1200" b="1" spc="-10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spc="-100" baseline="0" dirty="0" err="1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교보생명</a:t>
                      </a:r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_</a:t>
                      </a:r>
                      <a:r>
                        <a:rPr lang="ko-KR" altLang="en-US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금리변동</a:t>
                      </a:r>
                      <a:endParaRPr lang="ko-KR" altLang="en-US" sz="1200" b="1" spc="-10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A </a:t>
                      </a:r>
                      <a:r>
                        <a:rPr lang="ko-KR" altLang="en-US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사</a:t>
                      </a:r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_</a:t>
                      </a:r>
                      <a:r>
                        <a:rPr lang="ko-KR" altLang="en-US" sz="1200" b="1" spc="-100" baseline="0" dirty="0" err="1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금리확정</a:t>
                      </a:r>
                      <a:endParaRPr lang="en-US" altLang="ko-KR" sz="1200" b="1" spc="-100" baseline="0" dirty="0" smtClean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 latinLnBrk="1"/>
                      <a:r>
                        <a:rPr lang="en-US" altLang="ko-KR" sz="9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5</a:t>
                      </a:r>
                      <a:r>
                        <a:rPr lang="ko-KR" altLang="en-US" sz="9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 이하 </a:t>
                      </a:r>
                      <a:r>
                        <a:rPr lang="en-US" altLang="ko-KR" sz="9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.75%, 5</a:t>
                      </a:r>
                      <a:r>
                        <a:rPr lang="ko-KR" altLang="en-US" sz="9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 초과 </a:t>
                      </a:r>
                      <a:r>
                        <a:rPr lang="en-US" altLang="ko-KR" sz="9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.5%)</a:t>
                      </a:r>
                      <a:endParaRPr lang="ko-KR" altLang="en-US" sz="900" b="1" spc="-10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B</a:t>
                      </a:r>
                      <a:r>
                        <a:rPr lang="ko-KR" altLang="en-US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사</a:t>
                      </a:r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_</a:t>
                      </a:r>
                      <a:r>
                        <a:rPr lang="ko-KR" altLang="en-US" sz="1200" b="1" spc="-100" baseline="0" dirty="0" err="1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금리확정</a:t>
                      </a:r>
                      <a:endParaRPr lang="en-US" altLang="ko-KR" sz="1200" b="1" spc="-100" baseline="0" dirty="0" smtClean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 latinLnBrk="1"/>
                      <a:r>
                        <a:rPr lang="en-US" altLang="ko-KR" sz="10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1.75%)</a:t>
                      </a:r>
                      <a:endParaRPr lang="ko-KR" altLang="en-US" sz="1000" b="1" spc="-10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C</a:t>
                      </a:r>
                      <a:r>
                        <a:rPr lang="ko-KR" altLang="en-US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사</a:t>
                      </a:r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_</a:t>
                      </a:r>
                      <a:r>
                        <a:rPr lang="ko-KR" altLang="en-US" sz="1200" b="1" spc="-100" baseline="0" dirty="0" err="1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금리연동</a:t>
                      </a:r>
                      <a:endParaRPr lang="ko-KR" altLang="en-US" sz="1200" b="1" spc="-10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7428242"/>
                  </a:ext>
                </a:extLst>
              </a:tr>
              <a:tr h="26565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보험료</a:t>
                      </a:r>
                      <a:endParaRPr lang="ko-KR" altLang="en-US" sz="1200" b="1" spc="-10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94,000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39,800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317,000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21,000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1123067"/>
                  </a:ext>
                </a:extLst>
              </a:tr>
              <a:tr h="26565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</a:t>
                      </a:r>
                      <a:r>
                        <a:rPr lang="ko-KR" altLang="en-US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  <a:endParaRPr lang="ko-KR" altLang="en-US" sz="1200" b="1" spc="-10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3.7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0.6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7.2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8.2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58981189"/>
                  </a:ext>
                </a:extLst>
              </a:tr>
              <a:tr h="26565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</a:t>
                      </a:r>
                      <a:r>
                        <a:rPr lang="ko-KR" altLang="en-US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  <a:endParaRPr lang="ko-KR" altLang="en-US" sz="1200" b="1" spc="-10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0.8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8.1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2.4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6.6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4539903"/>
                  </a:ext>
                </a:extLst>
              </a:tr>
              <a:tr h="26565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</a:t>
                      </a:r>
                      <a:r>
                        <a:rPr lang="ko-KR" altLang="en-US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  <a:endParaRPr lang="ko-KR" altLang="en-US" sz="1200" b="1" spc="-10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spc="-100" baseline="0" dirty="0" smtClean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7.4</a:t>
                      </a:r>
                      <a:endParaRPr lang="ko-KR" altLang="en-US" sz="1200" b="1" spc="-100" baseline="0" dirty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u="sng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6.5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.9)</a:t>
                      </a:r>
                      <a:endParaRPr lang="ko-KR" altLang="en-US" sz="1200" b="0" u="sng" spc="-100" baseline="0" dirty="0">
                        <a:solidFill>
                          <a:srgbClr val="C00000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u="sng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7.0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.4)</a:t>
                      </a:r>
                      <a:endParaRPr lang="ko-KR" altLang="en-US" sz="1200" b="0" u="sng" spc="-100" baseline="0" dirty="0">
                        <a:solidFill>
                          <a:srgbClr val="C00000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u="none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8.6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.8)</a:t>
                      </a:r>
                      <a:endParaRPr lang="ko-KR" altLang="en-US" sz="1200" b="0" u="none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8144755"/>
                  </a:ext>
                </a:extLst>
              </a:tr>
              <a:tr h="26565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</a:t>
                      </a:r>
                      <a:r>
                        <a:rPr lang="ko-KR" altLang="en-US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  <a:endParaRPr lang="ko-KR" altLang="en-US" sz="1200" b="1" spc="-10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spc="-100" baseline="0" dirty="0" smtClean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5.9</a:t>
                      </a:r>
                      <a:endParaRPr lang="ko-KR" altLang="en-US" sz="1200" b="1" spc="-100" baseline="0" dirty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u="sng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5.1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.8)</a:t>
                      </a:r>
                      <a:endParaRPr lang="ko-KR" altLang="en-US" sz="1200" b="0" u="sng" spc="-100" baseline="0" dirty="0">
                        <a:solidFill>
                          <a:srgbClr val="C00000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u="sng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5.6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.3)</a:t>
                      </a:r>
                      <a:endParaRPr lang="ko-KR" altLang="en-US" sz="1200" b="0" u="sng" spc="-100" baseline="0" dirty="0">
                        <a:solidFill>
                          <a:srgbClr val="C00000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u="none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1.0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4.9)</a:t>
                      </a:r>
                      <a:endParaRPr lang="ko-KR" altLang="en-US" sz="1200" b="0" u="none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2633514"/>
                  </a:ext>
                </a:extLst>
              </a:tr>
              <a:tr h="26565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</a:t>
                      </a:r>
                      <a:r>
                        <a:rPr lang="ko-KR" altLang="en-US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  <a:endParaRPr lang="ko-KR" altLang="en-US" sz="1200" b="1" spc="-10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8.5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8.5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8.8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u="none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9.8</a:t>
                      </a:r>
                      <a:endParaRPr lang="ko-KR" altLang="en-US" sz="1200" b="0" u="none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966462"/>
                  </a:ext>
                </a:extLst>
              </a:tr>
            </a:tbl>
          </a:graphicData>
        </a:graphic>
      </p:graphicFrame>
      <p:pic>
        <p:nvPicPr>
          <p:cNvPr id="15" name="그림 14"/>
          <p:cNvPicPr>
            <a:picLocks noChangeAspect="1"/>
          </p:cNvPicPr>
          <p:nvPr/>
        </p:nvPicPr>
        <p:blipFill rotWithShape="1">
          <a:blip r:embed="rId3"/>
          <a:srcRect l="5605" t="19204" r="4715" b="3980"/>
          <a:stretch/>
        </p:blipFill>
        <p:spPr>
          <a:xfrm>
            <a:off x="741483" y="6303529"/>
            <a:ext cx="916435" cy="859381"/>
          </a:xfrm>
          <a:prstGeom prst="rect">
            <a:avLst/>
          </a:prstGeom>
        </p:spPr>
      </p:pic>
      <p:sp>
        <p:nvSpPr>
          <p:cNvPr id="16" name="사각형 설명선 15"/>
          <p:cNvSpPr/>
          <p:nvPr/>
        </p:nvSpPr>
        <p:spPr>
          <a:xfrm>
            <a:off x="1786946" y="6382621"/>
            <a:ext cx="8013484" cy="701199"/>
          </a:xfrm>
          <a:prstGeom prst="wedgeRectCallout">
            <a:avLst>
              <a:gd name="adj1" fmla="val -51771"/>
              <a:gd name="adj2" fmla="val -30262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ko-KR" altLang="en-US" sz="1400" dirty="0" err="1" smtClean="0">
                <a:solidFill>
                  <a:srgbClr val="0069A3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교보생명의</a:t>
            </a:r>
            <a:r>
              <a:rPr lang="ko-KR" altLang="en-US" sz="1400" dirty="0" smtClean="0">
                <a:solidFill>
                  <a:srgbClr val="0069A3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최저보증이율은 </a:t>
            </a:r>
            <a:r>
              <a:rPr lang="en-US" altLang="ko-KR" sz="1400" dirty="0" smtClean="0">
                <a:solidFill>
                  <a:srgbClr val="0069A3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0.75%</a:t>
            </a:r>
            <a:r>
              <a:rPr lang="ko-KR" altLang="en-US" sz="1400" dirty="0" smtClean="0">
                <a:solidFill>
                  <a:srgbClr val="0069A3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임에도 </a:t>
            </a:r>
            <a:r>
              <a:rPr lang="en-US" altLang="ko-KR" sz="14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1.75%</a:t>
            </a:r>
            <a:r>
              <a:rPr lang="ko-KR" altLang="en-US" sz="14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를 </a:t>
            </a:r>
            <a:r>
              <a:rPr lang="ko-KR" altLang="en-US" sz="1400" dirty="0" err="1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확정금리로</a:t>
            </a:r>
            <a:r>
              <a:rPr lang="ko-KR" altLang="en-US" sz="14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보증하는 경쟁사보다 </a:t>
            </a:r>
            <a:r>
              <a:rPr lang="ko-KR" altLang="en-US" sz="1400" dirty="0" err="1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환급률이</a:t>
            </a:r>
            <a:r>
              <a:rPr lang="ko-KR" altLang="en-US" sz="14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더 높음</a:t>
            </a:r>
            <a:endParaRPr lang="en-US" altLang="ko-KR" sz="14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r>
              <a:rPr lang="ko-KR" altLang="en-US" sz="14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최저보증이율보다 </a:t>
            </a:r>
            <a:r>
              <a:rPr lang="ko-KR" altLang="en-US" sz="1400" dirty="0" smtClean="0">
                <a:solidFill>
                  <a:srgbClr val="FF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높은 공시이율 </a:t>
            </a:r>
            <a:r>
              <a:rPr lang="ko-KR" altLang="en-US" sz="1400" dirty="0" err="1" smtClean="0">
                <a:solidFill>
                  <a:srgbClr val="FF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반영시</a:t>
            </a:r>
            <a:r>
              <a:rPr lang="ko-KR" altLang="en-US" sz="1400" dirty="0" smtClean="0">
                <a:solidFill>
                  <a:srgbClr val="FF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400" dirty="0" err="1" smtClean="0">
                <a:solidFill>
                  <a:srgbClr val="FF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환급률은</a:t>
            </a:r>
            <a:r>
              <a:rPr lang="ko-KR" altLang="en-US" sz="1400" dirty="0" smtClean="0">
                <a:solidFill>
                  <a:srgbClr val="FF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더 큰 차이를 보임</a:t>
            </a:r>
            <a:r>
              <a:rPr lang="en-US" altLang="ko-KR" sz="14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(※ </a:t>
            </a:r>
            <a:r>
              <a:rPr lang="ko-KR" altLang="en-US" sz="1400" dirty="0" err="1" smtClean="0">
                <a:solidFill>
                  <a:srgbClr val="0070C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교보</a:t>
            </a:r>
            <a:r>
              <a:rPr lang="ko-KR" altLang="en-US" sz="1400" dirty="0" smtClean="0">
                <a:solidFill>
                  <a:srgbClr val="0070C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현재 공시이율 </a:t>
            </a:r>
            <a:r>
              <a:rPr lang="en-US" altLang="ko-KR" sz="1400" dirty="0" smtClean="0">
                <a:solidFill>
                  <a:srgbClr val="0070C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2.4%)</a:t>
            </a:r>
            <a:endParaRPr lang="ko-KR" altLang="en-US" sz="1400" dirty="0">
              <a:solidFill>
                <a:srgbClr val="0070C0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52608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표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7742016"/>
              </p:ext>
            </p:extLst>
          </p:nvPr>
        </p:nvGraphicFramePr>
        <p:xfrm>
          <a:off x="741483" y="1698916"/>
          <a:ext cx="9058947" cy="203027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77115">
                  <a:extLst>
                    <a:ext uri="{9D8B030D-6E8A-4147-A177-3AD203B41FA5}">
                      <a16:colId xmlns:a16="http://schemas.microsoft.com/office/drawing/2014/main" val="80816057"/>
                    </a:ext>
                  </a:extLst>
                </a:gridCol>
                <a:gridCol w="1820458">
                  <a:extLst>
                    <a:ext uri="{9D8B030D-6E8A-4147-A177-3AD203B41FA5}">
                      <a16:colId xmlns:a16="http://schemas.microsoft.com/office/drawing/2014/main" val="3430135359"/>
                    </a:ext>
                  </a:extLst>
                </a:gridCol>
                <a:gridCol w="1820458">
                  <a:extLst>
                    <a:ext uri="{9D8B030D-6E8A-4147-A177-3AD203B41FA5}">
                      <a16:colId xmlns:a16="http://schemas.microsoft.com/office/drawing/2014/main" val="731533763"/>
                    </a:ext>
                  </a:extLst>
                </a:gridCol>
                <a:gridCol w="1820458">
                  <a:extLst>
                    <a:ext uri="{9D8B030D-6E8A-4147-A177-3AD203B41FA5}">
                      <a16:colId xmlns:a16="http://schemas.microsoft.com/office/drawing/2014/main" val="1497783826"/>
                    </a:ext>
                  </a:extLst>
                </a:gridCol>
                <a:gridCol w="1820458">
                  <a:extLst>
                    <a:ext uri="{9D8B030D-6E8A-4147-A177-3AD203B41FA5}">
                      <a16:colId xmlns:a16="http://schemas.microsoft.com/office/drawing/2014/main" val="3990398529"/>
                    </a:ext>
                  </a:extLst>
                </a:gridCol>
              </a:tblGrid>
              <a:tr h="43637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구분</a:t>
                      </a:r>
                      <a:endParaRPr lang="ko-KR" altLang="en-US" sz="1200" b="1" spc="-10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spc="-100" baseline="0" dirty="0" err="1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교보생명</a:t>
                      </a:r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_</a:t>
                      </a:r>
                      <a:r>
                        <a:rPr lang="ko-KR" altLang="en-US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금리변동</a:t>
                      </a:r>
                      <a:endParaRPr lang="ko-KR" altLang="en-US" sz="1200" b="1" spc="-10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A </a:t>
                      </a:r>
                      <a:r>
                        <a:rPr lang="ko-KR" altLang="en-US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사</a:t>
                      </a:r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_</a:t>
                      </a:r>
                      <a:r>
                        <a:rPr lang="ko-KR" altLang="en-US" sz="1200" b="1" spc="-100" baseline="0" dirty="0" err="1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금리확정</a:t>
                      </a:r>
                      <a:endParaRPr lang="en-US" altLang="ko-KR" sz="1200" b="1" spc="-100" baseline="0" dirty="0" smtClean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 latinLnBrk="1"/>
                      <a:r>
                        <a:rPr lang="en-US" altLang="ko-KR" sz="9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5</a:t>
                      </a:r>
                      <a:r>
                        <a:rPr lang="ko-KR" altLang="en-US" sz="9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 이하 </a:t>
                      </a:r>
                      <a:r>
                        <a:rPr lang="en-US" altLang="ko-KR" sz="9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.75%, 5</a:t>
                      </a:r>
                      <a:r>
                        <a:rPr lang="ko-KR" altLang="en-US" sz="9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 초과 </a:t>
                      </a:r>
                      <a:r>
                        <a:rPr lang="en-US" altLang="ko-KR" sz="9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.5%)</a:t>
                      </a:r>
                      <a:endParaRPr lang="ko-KR" altLang="en-US" sz="900" b="1" spc="-10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B</a:t>
                      </a:r>
                      <a:r>
                        <a:rPr lang="ko-KR" altLang="en-US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사</a:t>
                      </a:r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_</a:t>
                      </a:r>
                      <a:r>
                        <a:rPr lang="ko-KR" altLang="en-US" sz="1200" b="1" spc="-100" baseline="0" dirty="0" err="1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금리확정</a:t>
                      </a:r>
                      <a:endParaRPr lang="en-US" altLang="ko-KR" sz="1200" b="1" spc="-100" baseline="0" dirty="0" smtClean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 latinLnBrk="1"/>
                      <a:r>
                        <a:rPr lang="en-US" altLang="ko-KR" sz="10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1.75%)</a:t>
                      </a:r>
                      <a:endParaRPr lang="ko-KR" altLang="en-US" sz="1000" b="1" spc="-10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C</a:t>
                      </a:r>
                      <a:r>
                        <a:rPr lang="ko-KR" altLang="en-US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사</a:t>
                      </a:r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_</a:t>
                      </a:r>
                      <a:r>
                        <a:rPr lang="ko-KR" altLang="en-US" sz="1200" b="1" spc="-100" baseline="0" dirty="0" err="1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금리연동</a:t>
                      </a:r>
                      <a:endParaRPr lang="ko-KR" altLang="en-US" sz="1200" b="1" spc="-10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7428242"/>
                  </a:ext>
                </a:extLst>
              </a:tr>
              <a:tr h="26565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보험료</a:t>
                      </a:r>
                      <a:endParaRPr lang="ko-KR" altLang="en-US" sz="1200" b="1" spc="-10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048,000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85,500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392,000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22,000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1123067"/>
                  </a:ext>
                </a:extLst>
              </a:tr>
              <a:tr h="26565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</a:t>
                      </a:r>
                      <a:r>
                        <a:rPr lang="ko-KR" altLang="en-US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  <a:endParaRPr lang="ko-KR" altLang="en-US" sz="1200" b="1" spc="-10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2.8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8.5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5.4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0.5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58981189"/>
                  </a:ext>
                </a:extLst>
              </a:tr>
              <a:tr h="26565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</a:t>
                      </a:r>
                      <a:r>
                        <a:rPr lang="ko-KR" altLang="en-US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  <a:endParaRPr lang="ko-KR" altLang="en-US" sz="1200" b="1" spc="-10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0.9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7.1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1.2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8.8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4539903"/>
                  </a:ext>
                </a:extLst>
              </a:tr>
              <a:tr h="26565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</a:t>
                      </a:r>
                      <a:r>
                        <a:rPr lang="ko-KR" altLang="en-US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  <a:endParaRPr lang="ko-KR" altLang="en-US" sz="1200" b="1" spc="-10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spc="-100" baseline="0" dirty="0" smtClean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8.1</a:t>
                      </a:r>
                      <a:endParaRPr lang="ko-KR" altLang="en-US" sz="1200" b="1" spc="-100" baseline="0" dirty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u="sng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5.9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.2)</a:t>
                      </a:r>
                      <a:endParaRPr lang="ko-KR" altLang="en-US" sz="1200" b="0" u="sng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u="sng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5.4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.7)</a:t>
                      </a:r>
                      <a:endParaRPr lang="ko-KR" altLang="en-US" sz="1200" b="0" u="sng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24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u="sng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0.6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.5)</a:t>
                      </a:r>
                      <a:endParaRPr lang="ko-KR" altLang="en-US" sz="1200" b="0" u="sng" spc="-100" baseline="0" dirty="0" smtClean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8144755"/>
                  </a:ext>
                </a:extLst>
              </a:tr>
              <a:tr h="26565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</a:t>
                      </a:r>
                      <a:r>
                        <a:rPr lang="ko-KR" altLang="en-US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  <a:endParaRPr lang="ko-KR" altLang="en-US" sz="1200" b="1" spc="-10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spc="-100" baseline="0" dirty="0" smtClean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7.4</a:t>
                      </a:r>
                      <a:endParaRPr lang="ko-KR" altLang="en-US" sz="1200" b="1" spc="-100" baseline="0" dirty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u="sng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5.5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.9)</a:t>
                      </a:r>
                      <a:endParaRPr lang="ko-KR" altLang="en-US" sz="1200" b="0" u="sng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u="sng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4.7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.7)</a:t>
                      </a:r>
                      <a:endParaRPr lang="ko-KR" altLang="en-US" sz="1200" b="0" u="sng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24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u="sng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2.9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4.5)</a:t>
                      </a:r>
                      <a:endParaRPr lang="ko-KR" altLang="en-US" sz="1200" b="0" u="sng" spc="-100" baseline="0" dirty="0" smtClean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2633514"/>
                  </a:ext>
                </a:extLst>
              </a:tr>
              <a:tr h="26565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</a:t>
                      </a:r>
                      <a:r>
                        <a:rPr lang="ko-KR" altLang="en-US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  <a:endParaRPr lang="ko-KR" altLang="en-US" sz="1200" b="1" spc="-10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8.1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8.7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7.9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1.7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966462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005136" y="1476394"/>
            <a:ext cx="5933913" cy="258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 defTabSz="941923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3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</a:t>
            </a:r>
            <a:r>
              <a:rPr kumimoji="1" lang="ko-KR" altLang="en-US" sz="103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기준 </a:t>
            </a:r>
            <a:r>
              <a:rPr kumimoji="1" lang="en-US" altLang="ko-KR" sz="103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: </a:t>
            </a:r>
            <a:r>
              <a:rPr kumimoji="1" lang="ko-KR" altLang="en-US" sz="103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남자 </a:t>
            </a:r>
            <a:r>
              <a:rPr kumimoji="1" lang="en-US" altLang="ko-KR" sz="103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40</a:t>
            </a:r>
            <a:r>
              <a:rPr kumimoji="1" lang="ko-KR" altLang="en-US" sz="103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세</a:t>
            </a:r>
            <a:r>
              <a:rPr kumimoji="1" lang="en-US" altLang="ko-KR" sz="103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, </a:t>
            </a:r>
            <a:r>
              <a:rPr kumimoji="1" lang="ko-KR" altLang="en-US" sz="103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가입금액 </a:t>
            </a:r>
            <a:r>
              <a:rPr kumimoji="1" lang="en-US" altLang="ko-KR" sz="103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1</a:t>
            </a:r>
            <a:r>
              <a:rPr kumimoji="1" lang="ko-KR" altLang="en-US" sz="103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억</a:t>
            </a:r>
            <a:r>
              <a:rPr kumimoji="1" lang="en-US" altLang="ko-KR" sz="103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, 90</a:t>
            </a:r>
            <a:r>
              <a:rPr kumimoji="1" lang="ko-KR" altLang="en-US" sz="103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세만기</a:t>
            </a:r>
            <a:r>
              <a:rPr kumimoji="1" lang="en-US" altLang="ko-KR" sz="103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, </a:t>
            </a:r>
            <a:r>
              <a:rPr kumimoji="1" lang="ko-KR" altLang="en-US" sz="103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전기납</a:t>
            </a:r>
            <a:r>
              <a:rPr kumimoji="1" lang="en-US" altLang="ko-KR" sz="103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, </a:t>
            </a:r>
            <a:r>
              <a:rPr kumimoji="1" lang="ko-KR" altLang="en-US" sz="1030" b="1" u="sng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최저보증이율 </a:t>
            </a:r>
            <a:r>
              <a:rPr kumimoji="1" lang="ko-KR" altLang="en-US" sz="1030" b="1" u="sng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기준</a:t>
            </a:r>
            <a:r>
              <a:rPr kumimoji="1" lang="en-US" altLang="ko-KR" sz="103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)</a:t>
            </a:r>
            <a:endParaRPr kumimoji="1" lang="ko-KR" altLang="en-US" sz="103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005136" y="3915469"/>
            <a:ext cx="5933913" cy="258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 defTabSz="941923" fontAlgn="base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03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</a:t>
            </a:r>
            <a:r>
              <a:rPr kumimoji="1" lang="ko-KR" altLang="en-US" sz="103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기준 </a:t>
            </a:r>
            <a:r>
              <a:rPr kumimoji="1" lang="en-US" altLang="ko-KR" sz="103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: </a:t>
            </a:r>
            <a:r>
              <a:rPr kumimoji="1" lang="ko-KR" altLang="en-US" sz="103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남자 </a:t>
            </a:r>
            <a:r>
              <a:rPr kumimoji="1" lang="en-US" altLang="ko-KR" sz="103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50</a:t>
            </a:r>
            <a:r>
              <a:rPr kumimoji="1" lang="ko-KR" altLang="en-US" sz="103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세</a:t>
            </a:r>
            <a:r>
              <a:rPr kumimoji="1" lang="en-US" altLang="ko-KR" sz="103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, </a:t>
            </a:r>
            <a:r>
              <a:rPr kumimoji="1" lang="ko-KR" altLang="en-US" sz="103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가입금액 </a:t>
            </a:r>
            <a:r>
              <a:rPr kumimoji="1" lang="en-US" altLang="ko-KR" sz="103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1</a:t>
            </a:r>
            <a:r>
              <a:rPr kumimoji="1" lang="ko-KR" altLang="en-US" sz="103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억</a:t>
            </a:r>
            <a:r>
              <a:rPr kumimoji="1" lang="en-US" altLang="ko-KR" sz="103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, 90</a:t>
            </a:r>
            <a:r>
              <a:rPr kumimoji="1" lang="ko-KR" altLang="en-US" sz="103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세만기</a:t>
            </a:r>
            <a:r>
              <a:rPr kumimoji="1" lang="en-US" altLang="ko-KR" sz="103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, </a:t>
            </a:r>
            <a:r>
              <a:rPr kumimoji="1" lang="ko-KR" altLang="en-US" sz="103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전기납</a:t>
            </a:r>
            <a:r>
              <a:rPr kumimoji="1" lang="en-US" altLang="ko-KR" sz="103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, </a:t>
            </a:r>
            <a:r>
              <a:rPr kumimoji="1" lang="ko-KR" altLang="en-US" sz="1030" b="1" u="sng" dirty="0" smtClean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최저보증이율 </a:t>
            </a:r>
            <a:r>
              <a:rPr kumimoji="1" lang="ko-KR" altLang="en-US" sz="1030" b="1" u="sng" dirty="0">
                <a:solidFill>
                  <a:prstClr val="black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기준</a:t>
            </a:r>
            <a:r>
              <a:rPr kumimoji="1" lang="en-US" altLang="ko-KR" sz="1030" b="1" i="0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)</a:t>
            </a:r>
            <a:endParaRPr kumimoji="1" lang="ko-KR" altLang="en-US" sz="103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10" name="TextBox 9"/>
          <p:cNvSpPr txBox="1">
            <a:spLocks noChangeArrowheads="1"/>
          </p:cNvSpPr>
          <p:nvPr/>
        </p:nvSpPr>
        <p:spPr bwMode="auto">
          <a:xfrm>
            <a:off x="210143" y="191820"/>
            <a:ext cx="10173695" cy="4471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>
            <a:spAutoFit/>
          </a:bodyPr>
          <a:lstStyle/>
          <a:p>
            <a:pPr defTabSz="958255">
              <a:defRPr/>
            </a:pPr>
            <a:r>
              <a:rPr lang="ko-KR" altLang="en-US" sz="2306" dirty="0">
                <a:solidFill>
                  <a:srgbClr val="1F497D"/>
                </a:solidFill>
                <a:latin typeface="나눔고딕 ExtraBold" pitchFamily="50" charset="-127"/>
                <a:ea typeface="나눔고딕 ExtraBold" pitchFamily="50" charset="-127"/>
              </a:rPr>
              <a:t>경영인정기보험 </a:t>
            </a:r>
            <a:r>
              <a:rPr lang="ko-KR" altLang="en-US" sz="2306" dirty="0" err="1">
                <a:solidFill>
                  <a:srgbClr val="1F497D"/>
                </a:solidFill>
                <a:latin typeface="나눔고딕 ExtraBold" pitchFamily="50" charset="-127"/>
                <a:ea typeface="나눔고딕 ExtraBold" pitchFamily="50" charset="-127"/>
              </a:rPr>
              <a:t>상품개정</a:t>
            </a:r>
            <a:r>
              <a:rPr lang="en-US" altLang="ko-KR" sz="2306" dirty="0" smtClean="0">
                <a:solidFill>
                  <a:srgbClr val="1F497D"/>
                </a:solidFill>
                <a:latin typeface="나눔고딕 ExtraBold" pitchFamily="50" charset="-127"/>
                <a:ea typeface="나눔고딕 ExtraBold" pitchFamily="50" charset="-127"/>
              </a:rPr>
              <a:t>_</a:t>
            </a:r>
            <a:r>
              <a:rPr lang="ko-KR" altLang="en-US" sz="2306" dirty="0" err="1" smtClean="0">
                <a:solidFill>
                  <a:srgbClr val="1F497D"/>
                </a:solidFill>
                <a:latin typeface="나눔고딕 ExtraBold" pitchFamily="50" charset="-127"/>
                <a:ea typeface="나눔고딕 ExtraBold" pitchFamily="50" charset="-127"/>
              </a:rPr>
              <a:t>간편가입형</a:t>
            </a:r>
            <a:r>
              <a:rPr lang="ko-KR" altLang="en-US" sz="2306" dirty="0" smtClean="0">
                <a:solidFill>
                  <a:srgbClr val="1F497D"/>
                </a:solidFill>
                <a:latin typeface="나눔고딕 ExtraBold" pitchFamily="50" charset="-127"/>
                <a:ea typeface="나눔고딕 ExtraBold" pitchFamily="50" charset="-127"/>
              </a:rPr>
              <a:t> </a:t>
            </a:r>
            <a:r>
              <a:rPr lang="ko-KR" altLang="en-US" sz="2306" dirty="0" err="1">
                <a:solidFill>
                  <a:srgbClr val="1F497D"/>
                </a:solidFill>
                <a:latin typeface="나눔고딕 ExtraBold" pitchFamily="50" charset="-127"/>
                <a:ea typeface="나눔고딕 ExtraBold" pitchFamily="50" charset="-127"/>
              </a:rPr>
              <a:t>환급률</a:t>
            </a:r>
            <a:endParaRPr lang="ko-KR" altLang="en-US" sz="2306" dirty="0">
              <a:solidFill>
                <a:srgbClr val="1F497D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graphicFrame>
        <p:nvGraphicFramePr>
          <p:cNvPr id="12" name="표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9204942"/>
              </p:ext>
            </p:extLst>
          </p:nvPr>
        </p:nvGraphicFramePr>
        <p:xfrm>
          <a:off x="741483" y="4184010"/>
          <a:ext cx="9058947" cy="203027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77115">
                  <a:extLst>
                    <a:ext uri="{9D8B030D-6E8A-4147-A177-3AD203B41FA5}">
                      <a16:colId xmlns:a16="http://schemas.microsoft.com/office/drawing/2014/main" val="80816057"/>
                    </a:ext>
                  </a:extLst>
                </a:gridCol>
                <a:gridCol w="1820458">
                  <a:extLst>
                    <a:ext uri="{9D8B030D-6E8A-4147-A177-3AD203B41FA5}">
                      <a16:colId xmlns:a16="http://schemas.microsoft.com/office/drawing/2014/main" val="3430135359"/>
                    </a:ext>
                  </a:extLst>
                </a:gridCol>
                <a:gridCol w="1820458">
                  <a:extLst>
                    <a:ext uri="{9D8B030D-6E8A-4147-A177-3AD203B41FA5}">
                      <a16:colId xmlns:a16="http://schemas.microsoft.com/office/drawing/2014/main" val="731533763"/>
                    </a:ext>
                  </a:extLst>
                </a:gridCol>
                <a:gridCol w="1820458">
                  <a:extLst>
                    <a:ext uri="{9D8B030D-6E8A-4147-A177-3AD203B41FA5}">
                      <a16:colId xmlns:a16="http://schemas.microsoft.com/office/drawing/2014/main" val="1497783826"/>
                    </a:ext>
                  </a:extLst>
                </a:gridCol>
                <a:gridCol w="1820458">
                  <a:extLst>
                    <a:ext uri="{9D8B030D-6E8A-4147-A177-3AD203B41FA5}">
                      <a16:colId xmlns:a16="http://schemas.microsoft.com/office/drawing/2014/main" val="3990398529"/>
                    </a:ext>
                  </a:extLst>
                </a:gridCol>
              </a:tblGrid>
              <a:tr h="436371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구분</a:t>
                      </a:r>
                      <a:endParaRPr lang="ko-KR" altLang="en-US" sz="1200" b="1" spc="-10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spc="-100" baseline="0" dirty="0" err="1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교보생명</a:t>
                      </a:r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_</a:t>
                      </a:r>
                      <a:r>
                        <a:rPr lang="ko-KR" altLang="en-US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금리변동</a:t>
                      </a:r>
                      <a:endParaRPr lang="ko-KR" altLang="en-US" sz="1200" b="1" spc="-10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A </a:t>
                      </a:r>
                      <a:r>
                        <a:rPr lang="ko-KR" altLang="en-US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사</a:t>
                      </a:r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_</a:t>
                      </a:r>
                      <a:r>
                        <a:rPr lang="ko-KR" altLang="en-US" sz="1200" b="1" spc="-100" baseline="0" dirty="0" err="1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금리확정</a:t>
                      </a:r>
                      <a:endParaRPr lang="en-US" altLang="ko-KR" sz="1200" b="1" spc="-100" baseline="0" dirty="0" smtClean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 latinLnBrk="1"/>
                      <a:r>
                        <a:rPr lang="en-US" altLang="ko-KR" sz="9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5</a:t>
                      </a:r>
                      <a:r>
                        <a:rPr lang="ko-KR" altLang="en-US" sz="9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 이하 </a:t>
                      </a:r>
                      <a:r>
                        <a:rPr lang="en-US" altLang="ko-KR" sz="9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.75%, 5</a:t>
                      </a:r>
                      <a:r>
                        <a:rPr lang="ko-KR" altLang="en-US" sz="9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 초과 </a:t>
                      </a:r>
                      <a:r>
                        <a:rPr lang="en-US" altLang="ko-KR" sz="9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.5%)</a:t>
                      </a:r>
                      <a:endParaRPr lang="ko-KR" altLang="en-US" sz="900" b="1" spc="-10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B</a:t>
                      </a:r>
                      <a:r>
                        <a:rPr lang="ko-KR" altLang="en-US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사</a:t>
                      </a:r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_</a:t>
                      </a:r>
                      <a:r>
                        <a:rPr lang="ko-KR" altLang="en-US" sz="1200" b="1" spc="-100" baseline="0" dirty="0" err="1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금리확정</a:t>
                      </a:r>
                      <a:endParaRPr lang="en-US" altLang="ko-KR" sz="1200" b="1" spc="-100" baseline="0" dirty="0" smtClean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 latinLnBrk="1"/>
                      <a:r>
                        <a:rPr lang="en-US" altLang="ko-KR" sz="10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1.75%)</a:t>
                      </a:r>
                      <a:endParaRPr lang="ko-KR" altLang="en-US" sz="1000" b="1" spc="-10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C</a:t>
                      </a:r>
                      <a:r>
                        <a:rPr lang="ko-KR" altLang="en-US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사</a:t>
                      </a:r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_</a:t>
                      </a:r>
                      <a:r>
                        <a:rPr lang="ko-KR" altLang="en-US" sz="1200" b="1" spc="-100" baseline="0" dirty="0" err="1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금리연동</a:t>
                      </a:r>
                      <a:endParaRPr lang="ko-KR" altLang="en-US" sz="1200" b="1" spc="-10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7428242"/>
                  </a:ext>
                </a:extLst>
              </a:tr>
              <a:tr h="26565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보험료</a:t>
                      </a:r>
                      <a:endParaRPr lang="ko-KR" altLang="en-US" sz="1200" b="1" spc="-10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020,000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38,100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469,000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48,000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1123067"/>
                  </a:ext>
                </a:extLst>
              </a:tr>
              <a:tr h="26565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</a:t>
                      </a:r>
                      <a:r>
                        <a:rPr lang="ko-KR" altLang="en-US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  <a:endParaRPr lang="ko-KR" altLang="en-US" sz="1200" b="1" spc="-10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5.1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0.8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7.4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8.7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58981189"/>
                  </a:ext>
                </a:extLst>
              </a:tr>
              <a:tr h="26565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</a:t>
                      </a:r>
                      <a:r>
                        <a:rPr lang="ko-KR" altLang="en-US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  <a:endParaRPr lang="ko-KR" altLang="en-US" sz="1200" b="1" spc="-10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1.7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8.1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2.4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6.7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4539903"/>
                  </a:ext>
                </a:extLst>
              </a:tr>
              <a:tr h="26565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</a:t>
                      </a:r>
                      <a:r>
                        <a:rPr lang="ko-KR" altLang="en-US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  <a:endParaRPr lang="ko-KR" altLang="en-US" sz="1200" b="1" spc="-10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spc="-100" baseline="0" dirty="0" smtClean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7.9</a:t>
                      </a:r>
                      <a:endParaRPr lang="ko-KR" altLang="en-US" sz="1200" b="1" spc="-100" baseline="0" dirty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u="sng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6.2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.7)</a:t>
                      </a:r>
                      <a:endParaRPr lang="ko-KR" altLang="en-US" sz="1200" b="0" u="sng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u="sng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7.0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.9)</a:t>
                      </a:r>
                      <a:endParaRPr lang="ko-KR" altLang="en-US" sz="1200" b="0" u="sng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24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u="sng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8.4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.5)</a:t>
                      </a:r>
                      <a:endParaRPr lang="ko-KR" altLang="en-US" sz="1200" b="0" u="sng" spc="-100" baseline="0" dirty="0" smtClean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8144755"/>
                  </a:ext>
                </a:extLst>
              </a:tr>
              <a:tr h="26565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</a:t>
                      </a:r>
                      <a:r>
                        <a:rPr lang="ko-KR" altLang="en-US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  <a:endParaRPr lang="ko-KR" altLang="en-US" sz="1200" b="1" spc="-10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spc="-100" baseline="0" dirty="0" smtClean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6.0</a:t>
                      </a:r>
                      <a:endParaRPr lang="ko-KR" altLang="en-US" sz="1200" b="1" spc="-100" baseline="0" dirty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u="sng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4.6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.4)</a:t>
                      </a:r>
                      <a:endParaRPr lang="ko-KR" altLang="en-US" sz="1200" b="0" u="sng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u="sng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5.3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.7)</a:t>
                      </a:r>
                      <a:endParaRPr lang="ko-KR" altLang="en-US" sz="1200" b="0" u="sng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u="sng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0.5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△</a:t>
                      </a:r>
                      <a:r>
                        <a:rPr lang="en-US" altLang="ko-KR" sz="1200" b="0" u="sng" spc="-100" baseline="0" dirty="0" smtClean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5.5)</a:t>
                      </a:r>
                      <a:endParaRPr lang="ko-KR" altLang="en-US" sz="1200" b="0" u="sng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2633514"/>
                  </a:ext>
                </a:extLst>
              </a:tr>
              <a:tr h="26565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</a:t>
                      </a:r>
                      <a:r>
                        <a:rPr lang="ko-KR" altLang="en-US" sz="1200" b="1" spc="-100" baseline="0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  <a:endParaRPr lang="ko-KR" altLang="en-US" sz="1200" b="1" spc="-100" baseline="0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6.7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8.0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8.4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spc="-10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9.0</a:t>
                      </a:r>
                      <a:endParaRPr lang="ko-KR" altLang="en-US" sz="1200" b="0" spc="-100" baseline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7083" marR="37083" marT="0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966462"/>
                  </a:ext>
                </a:extLst>
              </a:tr>
            </a:tbl>
          </a:graphicData>
        </a:graphic>
      </p:graphicFrame>
      <p:sp>
        <p:nvSpPr>
          <p:cNvPr id="8" name="직사각형 7"/>
          <p:cNvSpPr/>
          <p:nvPr/>
        </p:nvSpPr>
        <p:spPr>
          <a:xfrm>
            <a:off x="444789" y="1069334"/>
            <a:ext cx="9642608" cy="3400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41923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ko-KR" altLang="en-US" sz="1545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□ 경쟁사 </a:t>
            </a:r>
            <a:r>
              <a:rPr kumimoji="1" lang="ko-KR" altLang="en-US" sz="1545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환급률</a:t>
            </a:r>
            <a:r>
              <a:rPr kumimoji="1" lang="ko-KR" altLang="en-US" sz="1545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1" lang="ko-KR" altLang="en-US" sz="1545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비교</a:t>
            </a:r>
            <a:r>
              <a:rPr kumimoji="1" lang="en-US" altLang="ko-KR" sz="1545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</a:t>
            </a:r>
            <a:r>
              <a:rPr kumimoji="1" lang="ko-KR" altLang="en-US" sz="1545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경쟁사는 </a:t>
            </a:r>
            <a:r>
              <a:rPr kumimoji="1" lang="ko-KR" altLang="en-US" sz="1545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환급률이</a:t>
            </a:r>
            <a:r>
              <a:rPr kumimoji="1" lang="ko-KR" altLang="en-US" sz="1545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가장 높은 </a:t>
            </a:r>
            <a:r>
              <a:rPr kumimoji="1" lang="ko-KR" altLang="en-US" sz="1545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상품종형</a:t>
            </a:r>
            <a:r>
              <a:rPr kumimoji="1" lang="ko-KR" altLang="en-US" sz="1545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선택</a:t>
            </a:r>
            <a:r>
              <a:rPr kumimoji="1" lang="en-US" altLang="ko-KR" sz="1545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)</a:t>
            </a:r>
            <a:endParaRPr kumimoji="1" lang="en-US" altLang="ko-KR" sz="1545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pic>
        <p:nvPicPr>
          <p:cNvPr id="11" name="그림 10"/>
          <p:cNvPicPr>
            <a:picLocks noChangeAspect="1"/>
          </p:cNvPicPr>
          <p:nvPr/>
        </p:nvPicPr>
        <p:blipFill rotWithShape="1">
          <a:blip r:embed="rId3"/>
          <a:srcRect l="5605" t="19204" r="4715" b="3980"/>
          <a:stretch/>
        </p:blipFill>
        <p:spPr>
          <a:xfrm>
            <a:off x="741483" y="6303529"/>
            <a:ext cx="916435" cy="859381"/>
          </a:xfrm>
          <a:prstGeom prst="rect">
            <a:avLst/>
          </a:prstGeom>
        </p:spPr>
      </p:pic>
      <p:sp>
        <p:nvSpPr>
          <p:cNvPr id="15" name="사각형 설명선 14"/>
          <p:cNvSpPr/>
          <p:nvPr/>
        </p:nvSpPr>
        <p:spPr>
          <a:xfrm>
            <a:off x="1786946" y="6382621"/>
            <a:ext cx="8013484" cy="701199"/>
          </a:xfrm>
          <a:prstGeom prst="wedgeRectCallout">
            <a:avLst>
              <a:gd name="adj1" fmla="val -51771"/>
              <a:gd name="adj2" fmla="val -30262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ko-KR" altLang="en-US" sz="1400" dirty="0" err="1" smtClean="0">
                <a:solidFill>
                  <a:srgbClr val="0069A3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교보생명의</a:t>
            </a:r>
            <a:r>
              <a:rPr lang="ko-KR" altLang="en-US" sz="1400" dirty="0" smtClean="0">
                <a:solidFill>
                  <a:srgbClr val="0069A3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최저보증이율은 </a:t>
            </a:r>
            <a:r>
              <a:rPr lang="en-US" altLang="ko-KR" sz="1400" dirty="0" smtClean="0">
                <a:solidFill>
                  <a:srgbClr val="0069A3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0.75%</a:t>
            </a:r>
            <a:r>
              <a:rPr lang="ko-KR" altLang="en-US" sz="1400" dirty="0" smtClean="0">
                <a:solidFill>
                  <a:srgbClr val="0069A3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임에도 </a:t>
            </a:r>
            <a:r>
              <a:rPr lang="en-US" altLang="ko-KR" sz="14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1.75%</a:t>
            </a:r>
            <a:r>
              <a:rPr lang="ko-KR" altLang="en-US" sz="14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를 </a:t>
            </a:r>
            <a:r>
              <a:rPr lang="ko-KR" altLang="en-US" sz="1400" dirty="0" err="1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확정금리로</a:t>
            </a:r>
            <a:r>
              <a:rPr lang="ko-KR" altLang="en-US" sz="14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보증하는 경쟁사보다 </a:t>
            </a:r>
            <a:r>
              <a:rPr lang="ko-KR" altLang="en-US" sz="1400" dirty="0" err="1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환급률이</a:t>
            </a:r>
            <a:r>
              <a:rPr lang="ko-KR" altLang="en-US" sz="14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더 높음</a:t>
            </a:r>
            <a:endParaRPr lang="en-US" altLang="ko-KR" sz="14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r>
              <a:rPr lang="ko-KR" altLang="en-US" sz="14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최저보증이율보다 </a:t>
            </a:r>
            <a:r>
              <a:rPr lang="ko-KR" altLang="en-US" sz="1400" dirty="0" smtClean="0">
                <a:solidFill>
                  <a:srgbClr val="FF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높은 공시이율 </a:t>
            </a:r>
            <a:r>
              <a:rPr lang="ko-KR" altLang="en-US" sz="1400" dirty="0" err="1" smtClean="0">
                <a:solidFill>
                  <a:srgbClr val="FF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반영시</a:t>
            </a:r>
            <a:r>
              <a:rPr lang="ko-KR" altLang="en-US" sz="1400" dirty="0" smtClean="0">
                <a:solidFill>
                  <a:srgbClr val="FF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400" dirty="0" err="1" smtClean="0">
                <a:solidFill>
                  <a:srgbClr val="FF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환급률은</a:t>
            </a:r>
            <a:r>
              <a:rPr lang="ko-KR" altLang="en-US" sz="1400" dirty="0" smtClean="0">
                <a:solidFill>
                  <a:srgbClr val="FF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더 큰 차이를 보임</a:t>
            </a:r>
            <a:r>
              <a:rPr lang="en-US" altLang="ko-KR" sz="14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(※ </a:t>
            </a:r>
            <a:r>
              <a:rPr lang="ko-KR" altLang="en-US" sz="1400" dirty="0" err="1" smtClean="0">
                <a:solidFill>
                  <a:srgbClr val="0070C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교보</a:t>
            </a:r>
            <a:r>
              <a:rPr lang="ko-KR" altLang="en-US" sz="1400" dirty="0" smtClean="0">
                <a:solidFill>
                  <a:srgbClr val="0070C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현재 공시이율 </a:t>
            </a:r>
            <a:r>
              <a:rPr lang="en-US" altLang="ko-KR" sz="1400" dirty="0" smtClean="0">
                <a:solidFill>
                  <a:srgbClr val="0070C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2.4%)</a:t>
            </a:r>
            <a:endParaRPr lang="ko-KR" altLang="en-US" sz="1400" dirty="0">
              <a:solidFill>
                <a:srgbClr val="0070C0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70451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타원 3"/>
          <p:cNvSpPr/>
          <p:nvPr/>
        </p:nvSpPr>
        <p:spPr>
          <a:xfrm>
            <a:off x="2861714" y="3051375"/>
            <a:ext cx="1034063" cy="1034063"/>
          </a:xfrm>
          <a:prstGeom prst="ellipse">
            <a:avLst/>
          </a:prstGeom>
          <a:solidFill>
            <a:srgbClr val="4DB8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3273"/>
            <a:r>
              <a:rPr lang="en-US" altLang="ko-KR" sz="6400" dirty="0" smtClean="0">
                <a:solidFill>
                  <a:prstClr val="white"/>
                </a:solidFill>
                <a:latin typeface="나눔고딕 ExtraBold" pitchFamily="50" charset="-127"/>
                <a:ea typeface="나눔고딕 ExtraBold" pitchFamily="50" charset="-127"/>
              </a:rPr>
              <a:t>3</a:t>
            </a:r>
            <a:endParaRPr lang="ko-KR" altLang="en-US" sz="6400" dirty="0">
              <a:solidFill>
                <a:prstClr val="white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6" name="Rectangle 91"/>
          <p:cNvSpPr>
            <a:spLocks noChangeArrowheads="1"/>
          </p:cNvSpPr>
          <p:nvPr/>
        </p:nvSpPr>
        <p:spPr bwMode="gray">
          <a:xfrm>
            <a:off x="4255815" y="3123383"/>
            <a:ext cx="6048672" cy="7821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45892" tIns="21545" rIns="45892" bIns="21545">
            <a:spAutoFit/>
          </a:bodyPr>
          <a:lstStyle/>
          <a:p>
            <a:pPr defTabSz="911920"/>
            <a:r>
              <a:rPr lang="en-US" altLang="ko-KR" sz="4800" kern="0" dirty="0" smtClean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latin typeface="나눔고딕 ExtraBold" pitchFamily="50" charset="-127"/>
                <a:ea typeface="나눔고딕 ExtraBold" pitchFamily="50" charset="-127"/>
                <a:cs typeface="Verdana" panose="020B0604030504040204" pitchFamily="34" charset="0"/>
              </a:rPr>
              <a:t>10</a:t>
            </a:r>
            <a:r>
              <a:rPr lang="ko-KR" altLang="en-US" sz="4800" kern="0" dirty="0" smtClean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latin typeface="나눔고딕 ExtraBold" pitchFamily="50" charset="-127"/>
                <a:ea typeface="나눔고딕 ExtraBold" pitchFamily="50" charset="-127"/>
                <a:cs typeface="Verdana" panose="020B0604030504040204" pitchFamily="34" charset="0"/>
              </a:rPr>
              <a:t>월 추천 상품</a:t>
            </a:r>
            <a:endParaRPr lang="en-US" altLang="ko-KR" sz="4800" kern="0" dirty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solidFill>
                <a:srgbClr val="1408FE"/>
              </a:solidFill>
              <a:latin typeface="나눔고딕 ExtraBold" pitchFamily="50" charset="-127"/>
              <a:ea typeface="나눔고딕 ExtraBold" pitchFamily="50" charset="-127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265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888786" y="1148341"/>
            <a:ext cx="2246720" cy="51180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defTabSz="958657"/>
            <a:r>
              <a:rPr lang="en-US" altLang="ko-KR" sz="2726" spc="-52" dirty="0">
                <a:solidFill>
                  <a:srgbClr val="003874"/>
                </a:solidFill>
                <a:latin typeface="나눔고딕 ExtraBold" pitchFamily="50" charset="-127"/>
                <a:ea typeface="나눔고딕 ExtraBold" pitchFamily="50" charset="-127"/>
              </a:rPr>
              <a:t>CONTENTS</a:t>
            </a:r>
          </a:p>
        </p:txBody>
      </p:sp>
      <p:pic>
        <p:nvPicPr>
          <p:cNvPr id="7" name="그림 6" descr="B_대외용_일반간지라인.png"/>
          <p:cNvPicPr>
            <a:picLocks noChangeAspect="1"/>
          </p:cNvPicPr>
          <p:nvPr/>
        </p:nvPicPr>
        <p:blipFill>
          <a:blip r:embed="rId2" cstate="print"/>
          <a:srcRect t="43753" r="44230" b="41671"/>
          <a:stretch>
            <a:fillRect/>
          </a:stretch>
        </p:blipFill>
        <p:spPr>
          <a:xfrm>
            <a:off x="1" y="1605246"/>
            <a:ext cx="5791026" cy="524272"/>
          </a:xfrm>
          <a:prstGeom prst="rect">
            <a:avLst/>
          </a:prstGeom>
        </p:spPr>
      </p:pic>
      <p:sp>
        <p:nvSpPr>
          <p:cNvPr id="6" name="타원 5"/>
          <p:cNvSpPr/>
          <p:nvPr/>
        </p:nvSpPr>
        <p:spPr>
          <a:xfrm>
            <a:off x="727425" y="2214390"/>
            <a:ext cx="448521" cy="450000"/>
          </a:xfrm>
          <a:prstGeom prst="ellipse">
            <a:avLst/>
          </a:prstGeom>
          <a:solidFill>
            <a:srgbClr val="4DB8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1920"/>
            <a:r>
              <a:rPr lang="en-US" altLang="ko-KR" sz="2000" b="1" dirty="0">
                <a:solidFill>
                  <a:prstClr val="whit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1</a:t>
            </a:r>
            <a:endParaRPr lang="ko-KR" altLang="en-US" sz="2000" b="1" dirty="0">
              <a:solidFill>
                <a:prstClr val="white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8" name="Rectangle 91"/>
          <p:cNvSpPr>
            <a:spLocks noChangeArrowheads="1"/>
          </p:cNvSpPr>
          <p:nvPr/>
        </p:nvSpPr>
        <p:spPr bwMode="gray">
          <a:xfrm>
            <a:off x="1304167" y="2187277"/>
            <a:ext cx="8352248" cy="4743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45892" tIns="21545" rIns="45892" bIns="21545">
            <a:spAutoFit/>
          </a:bodyPr>
          <a:lstStyle/>
          <a:p>
            <a:pPr defTabSz="911920"/>
            <a:r>
              <a:rPr lang="ko-KR" altLang="en-US" sz="2800" b="1" kern="0" dirty="0" smtClean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latin typeface="나눔고딕" panose="020D0604000000000000" pitchFamily="50" charset="-127"/>
                <a:ea typeface="나눔고딕" panose="020D0604000000000000" pitchFamily="50" charset="-127"/>
                <a:cs typeface="Verdana" panose="020B0604030504040204" pitchFamily="34" charset="0"/>
              </a:rPr>
              <a:t>상품판매 준수사항</a:t>
            </a:r>
          </a:p>
        </p:txBody>
      </p:sp>
      <p:sp>
        <p:nvSpPr>
          <p:cNvPr id="9" name="타원 8">
            <a:extLst>
              <a:ext uri="{FF2B5EF4-FFF2-40B4-BE49-F238E27FC236}">
                <a16:creationId xmlns:a16="http://schemas.microsoft.com/office/drawing/2014/main" id="{9BFE4E4D-4703-4A67-A2C6-440745802068}"/>
              </a:ext>
            </a:extLst>
          </p:cNvPr>
          <p:cNvSpPr/>
          <p:nvPr/>
        </p:nvSpPr>
        <p:spPr>
          <a:xfrm>
            <a:off x="727425" y="3590111"/>
            <a:ext cx="448521" cy="450000"/>
          </a:xfrm>
          <a:prstGeom prst="ellipse">
            <a:avLst/>
          </a:prstGeom>
          <a:solidFill>
            <a:srgbClr val="4DB8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1920"/>
            <a:r>
              <a:rPr lang="en-US" altLang="ko-KR" sz="2000" b="1" dirty="0">
                <a:solidFill>
                  <a:prstClr val="whit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3</a:t>
            </a:r>
            <a:endParaRPr lang="ko-KR" altLang="en-US" sz="2000" b="1" dirty="0">
              <a:solidFill>
                <a:prstClr val="white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0" name="Rectangle 91">
            <a:extLst>
              <a:ext uri="{FF2B5EF4-FFF2-40B4-BE49-F238E27FC236}">
                <a16:creationId xmlns:a16="http://schemas.microsoft.com/office/drawing/2014/main" id="{3EE2DFCE-965A-4AA4-99FC-577F88C10493}"/>
              </a:ext>
            </a:extLst>
          </p:cNvPr>
          <p:cNvSpPr>
            <a:spLocks noChangeArrowheads="1"/>
          </p:cNvSpPr>
          <p:nvPr/>
        </p:nvSpPr>
        <p:spPr bwMode="gray">
          <a:xfrm>
            <a:off x="1304167" y="3590111"/>
            <a:ext cx="8352248" cy="18286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45892" tIns="21545" rIns="45892" bIns="21545">
            <a:spAutoFit/>
          </a:bodyPr>
          <a:lstStyle/>
          <a:p>
            <a:pPr defTabSz="911920"/>
            <a:r>
              <a:rPr lang="ko-KR" altLang="en-US" sz="2800" b="1" kern="0" dirty="0" err="1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latin typeface="나눔고딕" panose="020D0604000000000000" pitchFamily="50" charset="-127"/>
                <a:ea typeface="나눔고딕" panose="020D0604000000000000" pitchFamily="50" charset="-127"/>
                <a:cs typeface="Verdana" panose="020B0604030504040204" pitchFamily="34" charset="0"/>
              </a:rPr>
              <a:t>교보생명</a:t>
            </a:r>
            <a:r>
              <a:rPr lang="ko-KR" altLang="en-US" sz="2800" b="1" kern="0" dirty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latin typeface="나눔고딕" panose="020D0604000000000000" pitchFamily="50" charset="-127"/>
                <a:ea typeface="나눔고딕" panose="020D0604000000000000" pitchFamily="50" charset="-127"/>
                <a:cs typeface="Verdana" panose="020B0604030504040204" pitchFamily="34" charset="0"/>
              </a:rPr>
              <a:t> </a:t>
            </a:r>
            <a:r>
              <a:rPr lang="en-US" altLang="ko-KR" sz="2800" b="1" kern="0" dirty="0" smtClean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latin typeface="나눔고딕" panose="020D0604000000000000" pitchFamily="50" charset="-127"/>
                <a:ea typeface="나눔고딕" panose="020D0604000000000000" pitchFamily="50" charset="-127"/>
                <a:cs typeface="Verdana" panose="020B0604030504040204" pitchFamily="34" charset="0"/>
              </a:rPr>
              <a:t>10</a:t>
            </a:r>
            <a:r>
              <a:rPr lang="ko-KR" altLang="en-US" sz="2800" b="1" kern="0" dirty="0" smtClean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latin typeface="나눔고딕" panose="020D0604000000000000" pitchFamily="50" charset="-127"/>
                <a:ea typeface="나눔고딕" panose="020D0604000000000000" pitchFamily="50" charset="-127"/>
                <a:cs typeface="Verdana" panose="020B0604030504040204" pitchFamily="34" charset="0"/>
              </a:rPr>
              <a:t>월 추천상품 안내</a:t>
            </a:r>
            <a:endParaRPr lang="en-US" altLang="ko-KR" sz="2800" b="1" kern="0" dirty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latin typeface="나눔고딕" panose="020D0604000000000000" pitchFamily="50" charset="-127"/>
              <a:ea typeface="나눔고딕" panose="020D0604000000000000" pitchFamily="50" charset="-127"/>
              <a:cs typeface="Verdana" panose="020B0604030504040204" pitchFamily="34" charset="0"/>
            </a:endParaRPr>
          </a:p>
          <a:p>
            <a:pPr defTabSz="911920"/>
            <a:endParaRPr lang="en-US" altLang="ko-KR" sz="800" b="1" kern="0" dirty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solidFill>
                <a:schemeClr val="tx2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  <a:cs typeface="Verdana" panose="020B0604030504040204" pitchFamily="34" charset="0"/>
            </a:endParaRPr>
          </a:p>
          <a:p>
            <a:pPr marL="342900" indent="-342900" defTabSz="914400">
              <a:buFontTx/>
              <a:buChar char="-"/>
              <a:defRPr/>
            </a:pPr>
            <a:r>
              <a:rPr lang="ko-KR" altLang="en-US" sz="20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교보</a:t>
            </a:r>
            <a:r>
              <a:rPr lang="ko-KR" altLang="en-US" sz="2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20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실속종신보험</a:t>
            </a:r>
            <a:r>
              <a:rPr lang="en-US" altLang="ko-KR" sz="2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Plus</a:t>
            </a:r>
          </a:p>
          <a:p>
            <a:pPr marL="342900" indent="-342900" defTabSz="914400">
              <a:buFontTx/>
              <a:buChar char="-"/>
              <a:defRPr/>
            </a:pPr>
            <a:r>
              <a:rPr lang="ko-KR" altLang="en-US" sz="20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교보</a:t>
            </a:r>
            <a:r>
              <a:rPr lang="ko-KR" altLang="en-US" sz="2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실속건강종신보험</a:t>
            </a:r>
            <a:endParaRPr lang="en-US" altLang="ko-KR" sz="20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42900" indent="-342900" defTabSz="914400">
              <a:buFontTx/>
              <a:buChar char="-"/>
              <a:defRPr/>
            </a:pPr>
            <a:r>
              <a:rPr lang="ko-KR" altLang="en-US" sz="2000" dirty="0" err="1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교보</a:t>
            </a:r>
            <a:r>
              <a:rPr lang="ko-KR" altLang="en-US" sz="20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 경영인정기보험</a:t>
            </a:r>
            <a:endParaRPr lang="en-US" altLang="ko-KR" sz="2000" dirty="0" smtClean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 marL="342900" indent="-342900" defTabSz="914400">
              <a:buFontTx/>
              <a:buChar char="-"/>
              <a:defRPr/>
            </a:pPr>
            <a:r>
              <a:rPr lang="ko-KR" altLang="en-US" sz="2000" kern="0" dirty="0" err="1" smtClean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latin typeface="나눔고딕" panose="020D0604000000000000" pitchFamily="50" charset="-127"/>
                <a:ea typeface="나눔고딕" panose="020D0604000000000000" pitchFamily="50" charset="-127"/>
                <a:cs typeface="Verdana" panose="020B0604030504040204" pitchFamily="34" charset="0"/>
              </a:rPr>
              <a:t>교보</a:t>
            </a:r>
            <a:r>
              <a:rPr lang="en-US" altLang="ko-KR" sz="2000" kern="0" dirty="0" smtClean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latin typeface="나눔고딕" panose="020D0604000000000000" pitchFamily="50" charset="-127"/>
                <a:ea typeface="나눔고딕" panose="020D0604000000000000" pitchFamily="50" charset="-127"/>
                <a:cs typeface="Verdana" panose="020B0604030504040204" pitchFamily="34" charset="0"/>
              </a:rPr>
              <a:t>(</a:t>
            </a:r>
            <a:r>
              <a:rPr lang="ko-KR" altLang="en-US" sz="2000" kern="0" dirty="0" err="1" smtClean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latin typeface="나눔고딕" panose="020D0604000000000000" pitchFamily="50" charset="-127"/>
                <a:ea typeface="나눔고딕" panose="020D0604000000000000" pitchFamily="50" charset="-127"/>
                <a:cs typeface="Verdana" panose="020B0604030504040204" pitchFamily="34" charset="0"/>
              </a:rPr>
              <a:t>간편가입</a:t>
            </a:r>
            <a:r>
              <a:rPr lang="en-US" altLang="ko-KR" sz="2000" kern="0" dirty="0" smtClean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latin typeface="나눔고딕" panose="020D0604000000000000" pitchFamily="50" charset="-127"/>
                <a:ea typeface="나눔고딕" panose="020D0604000000000000" pitchFamily="50" charset="-127"/>
                <a:cs typeface="Verdana" panose="020B0604030504040204" pitchFamily="34" charset="0"/>
              </a:rPr>
              <a:t>)</a:t>
            </a:r>
            <a:r>
              <a:rPr lang="ko-KR" altLang="en-US" sz="2000" kern="0" dirty="0" err="1" smtClean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latin typeface="나눔고딕" panose="020D0604000000000000" pitchFamily="50" charset="-127"/>
                <a:ea typeface="나눔고딕" panose="020D0604000000000000" pitchFamily="50" charset="-127"/>
                <a:cs typeface="Verdana" panose="020B0604030504040204" pitchFamily="34" charset="0"/>
              </a:rPr>
              <a:t>암보험</a:t>
            </a:r>
            <a:r>
              <a:rPr lang="en-US" altLang="ko-KR" sz="2000" kern="0" dirty="0" smtClean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latin typeface="나눔고딕" panose="020D0604000000000000" pitchFamily="50" charset="-127"/>
                <a:ea typeface="나눔고딕" panose="020D0604000000000000" pitchFamily="50" charset="-127"/>
                <a:cs typeface="Verdana" panose="020B0604030504040204" pitchFamily="34" charset="0"/>
              </a:rPr>
              <a:t>23.09</a:t>
            </a:r>
            <a:endParaRPr lang="en-US" altLang="ko-KR" sz="2000" kern="0" dirty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latin typeface="나눔고딕" panose="020D0604000000000000" pitchFamily="50" charset="-127"/>
              <a:ea typeface="나눔고딕" panose="020D0604000000000000" pitchFamily="50" charset="-127"/>
              <a:cs typeface="Verdana" panose="020B0604030504040204" pitchFamily="34" charset="0"/>
            </a:endParaRPr>
          </a:p>
        </p:txBody>
      </p:sp>
      <p:sp>
        <p:nvSpPr>
          <p:cNvPr id="11" name="타원 10"/>
          <p:cNvSpPr/>
          <p:nvPr/>
        </p:nvSpPr>
        <p:spPr>
          <a:xfrm>
            <a:off x="727425" y="2862462"/>
            <a:ext cx="448521" cy="450000"/>
          </a:xfrm>
          <a:prstGeom prst="ellipse">
            <a:avLst/>
          </a:prstGeom>
          <a:solidFill>
            <a:srgbClr val="4DB8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1920"/>
            <a:r>
              <a:rPr lang="en-US" altLang="ko-KR" sz="2000" b="1" dirty="0">
                <a:solidFill>
                  <a:prstClr val="whit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2</a:t>
            </a:r>
            <a:endParaRPr lang="ko-KR" altLang="en-US" sz="2000" b="1" dirty="0">
              <a:solidFill>
                <a:prstClr val="white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2" name="Rectangle 91"/>
          <p:cNvSpPr>
            <a:spLocks noChangeArrowheads="1"/>
          </p:cNvSpPr>
          <p:nvPr/>
        </p:nvSpPr>
        <p:spPr bwMode="gray">
          <a:xfrm>
            <a:off x="1304167" y="2835349"/>
            <a:ext cx="8352248" cy="4743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45892" tIns="21545" rIns="45892" bIns="21545">
            <a:spAutoFit/>
          </a:bodyPr>
          <a:lstStyle/>
          <a:p>
            <a:pPr defTabSz="911920"/>
            <a:r>
              <a:rPr lang="ko-KR" altLang="en-US" sz="2800" b="1" kern="0" dirty="0" smtClean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latin typeface="나눔고딕" panose="020D0604000000000000" pitchFamily="50" charset="-127"/>
                <a:ea typeface="나눔고딕" panose="020D0604000000000000" pitchFamily="50" charset="-127"/>
                <a:cs typeface="Verdana" panose="020B0604030504040204" pitchFamily="34" charset="0"/>
              </a:rPr>
              <a:t>공지사항</a:t>
            </a:r>
            <a:endParaRPr lang="en-US" altLang="ko-KR" sz="1400" b="1" kern="0" dirty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solidFill>
                <a:srgbClr val="1408FE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Verdana" panose="020B0604030504040204" pitchFamily="34" charset="0"/>
            </a:endParaRPr>
          </a:p>
        </p:txBody>
      </p:sp>
      <p:sp>
        <p:nvSpPr>
          <p:cNvPr id="13" name="타원 12"/>
          <p:cNvSpPr/>
          <p:nvPr/>
        </p:nvSpPr>
        <p:spPr>
          <a:xfrm>
            <a:off x="727425" y="5606335"/>
            <a:ext cx="448521" cy="450000"/>
          </a:xfrm>
          <a:prstGeom prst="ellipse">
            <a:avLst/>
          </a:prstGeom>
          <a:solidFill>
            <a:srgbClr val="4DB8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1920"/>
            <a:r>
              <a:rPr lang="en-US" altLang="ko-KR" sz="2000" b="1" dirty="0">
                <a:solidFill>
                  <a:prstClr val="whit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4</a:t>
            </a:r>
            <a:endParaRPr lang="ko-KR" altLang="en-US" sz="2000" b="1" dirty="0">
              <a:solidFill>
                <a:prstClr val="white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4" name="Rectangle 91"/>
          <p:cNvSpPr>
            <a:spLocks noChangeArrowheads="1"/>
          </p:cNvSpPr>
          <p:nvPr/>
        </p:nvSpPr>
        <p:spPr bwMode="gray">
          <a:xfrm>
            <a:off x="1304167" y="5606335"/>
            <a:ext cx="8352248" cy="4743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45892" tIns="21545" rIns="45892" bIns="21545">
            <a:spAutoFit/>
          </a:bodyPr>
          <a:lstStyle/>
          <a:p>
            <a:pPr defTabSz="911920"/>
            <a:r>
              <a:rPr lang="ko-KR" altLang="en-US" sz="2800" b="1" kern="0" dirty="0" err="1" smtClean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latin typeface="나눔고딕" panose="020D0604000000000000" pitchFamily="50" charset="-127"/>
                <a:ea typeface="나눔고딕" panose="020D0604000000000000" pitchFamily="50" charset="-127"/>
                <a:cs typeface="Verdana" panose="020B0604030504040204" pitchFamily="34" charset="0"/>
              </a:rPr>
              <a:t>교보</a:t>
            </a:r>
            <a:r>
              <a:rPr lang="ko-KR" altLang="en-US" sz="2800" b="1" kern="0" dirty="0" smtClean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latin typeface="나눔고딕" panose="020D0604000000000000" pitchFamily="50" charset="-127"/>
                <a:ea typeface="나눔고딕" panose="020D0604000000000000" pitchFamily="50" charset="-127"/>
                <a:cs typeface="Verdana" panose="020B0604030504040204" pitchFamily="34" charset="0"/>
              </a:rPr>
              <a:t> 헬스케어서비스 </a:t>
            </a:r>
            <a:r>
              <a:rPr lang="ko-KR" altLang="en-US" sz="2800" b="1" kern="0" dirty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latin typeface="나눔고딕" panose="020D0604000000000000" pitchFamily="50" charset="-127"/>
                <a:ea typeface="나눔고딕" panose="020D0604000000000000" pitchFamily="50" charset="-127"/>
                <a:cs typeface="Verdana" panose="020B0604030504040204" pitchFamily="34" charset="0"/>
              </a:rPr>
              <a:t>안내</a:t>
            </a:r>
            <a:endParaRPr lang="en-US" altLang="ko-KR" sz="1400" b="1" kern="0" dirty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solidFill>
                <a:srgbClr val="1408FE"/>
              </a:solidFill>
              <a:latin typeface="나눔고딕" panose="020D0604000000000000" pitchFamily="50" charset="-127"/>
              <a:ea typeface="나눔고딕" panose="020D0604000000000000" pitchFamily="50" charset="-127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1097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457" y="2916122"/>
            <a:ext cx="8640961" cy="1287381"/>
          </a:xfrm>
          <a:prstGeom prst="rect">
            <a:avLst/>
          </a:prstGeom>
        </p:spPr>
      </p:pic>
      <p:sp>
        <p:nvSpPr>
          <p:cNvPr id="6" name="Rectangle 91"/>
          <p:cNvSpPr>
            <a:spLocks noChangeArrowheads="1"/>
          </p:cNvSpPr>
          <p:nvPr/>
        </p:nvSpPr>
        <p:spPr bwMode="gray">
          <a:xfrm>
            <a:off x="1852885" y="3168724"/>
            <a:ext cx="6665342" cy="7821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45892" tIns="21545" rIns="45892" bIns="21545">
            <a:spAutoFit/>
          </a:bodyPr>
          <a:lstStyle/>
          <a:p>
            <a:pPr marL="0" marR="0" lvl="0" indent="0" algn="ctr" defTabSz="91192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4800" kern="0" noProof="0" dirty="0" smtClean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black"/>
                </a:solidFill>
                <a:latin typeface="나눔고딕 ExtraBold" pitchFamily="50" charset="-127"/>
                <a:ea typeface="나눔고딕 ExtraBold" pitchFamily="50" charset="-127"/>
                <a:cs typeface="Verdana" panose="020B0604030504040204" pitchFamily="34" charset="0"/>
              </a:rPr>
              <a:t>경영인정기보험</a:t>
            </a:r>
            <a:r>
              <a:rPr lang="en-US" altLang="ko-KR" sz="2800" kern="0" noProof="0" dirty="0" smtClean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black"/>
                </a:solidFill>
                <a:latin typeface="나눔고딕 ExtraBold" pitchFamily="50" charset="-127"/>
                <a:ea typeface="나눔고딕 ExtraBold" pitchFamily="50" charset="-127"/>
                <a:cs typeface="Verdana" panose="020B0604030504040204" pitchFamily="34" charset="0"/>
              </a:rPr>
              <a:t>(</a:t>
            </a:r>
            <a:r>
              <a:rPr lang="ko-KR" altLang="en-US" sz="2800" kern="0" noProof="0" dirty="0" err="1" smtClean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black"/>
                </a:solidFill>
                <a:latin typeface="나눔고딕 ExtraBold" pitchFamily="50" charset="-127"/>
                <a:ea typeface="나눔고딕 ExtraBold" pitchFamily="50" charset="-127"/>
                <a:cs typeface="Verdana" panose="020B0604030504040204" pitchFamily="34" charset="0"/>
              </a:rPr>
              <a:t>간편포함</a:t>
            </a:r>
            <a:r>
              <a:rPr lang="en-US" altLang="ko-KR" sz="2800" kern="0" noProof="0" dirty="0" smtClean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black"/>
                </a:solidFill>
                <a:latin typeface="나눔고딕 ExtraBold" pitchFamily="50" charset="-127"/>
                <a:ea typeface="나눔고딕 ExtraBold" pitchFamily="50" charset="-127"/>
                <a:cs typeface="Verdana" panose="020B0604030504040204" pitchFamily="34" charset="0"/>
              </a:rPr>
              <a:t>)</a:t>
            </a:r>
            <a:endParaRPr kumimoji="0" lang="en-US" altLang="ko-KR" sz="2400" b="0" i="0" u="none" strike="noStrike" kern="0" cap="none" spc="0" normalizeH="0" baseline="0" noProof="0" dirty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solidFill>
                <a:srgbClr val="1408FE"/>
              </a:solidFill>
              <a:effectLst/>
              <a:uLnTx/>
              <a:uFillTx/>
              <a:latin typeface="나눔고딕 ExtraBold" pitchFamily="50" charset="-127"/>
              <a:ea typeface="나눔고딕 ExtraBold" pitchFamily="50" charset="-127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6710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 marL="0" marR="0" lvl="0" indent="0" algn="r" defTabSz="77873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47D207-944B-4363-884F-A02296F6E654}" type="slidenum">
              <a:rPr kumimoji="0" lang="ko-KR" altLang="en-US" sz="1022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778733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ko-KR" altLang="en-US" sz="1022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40757" y="128492"/>
            <a:ext cx="7354035" cy="483960"/>
          </a:xfrm>
          <a:prstGeom prst="rect">
            <a:avLst/>
          </a:prstGeom>
          <a:noFill/>
        </p:spPr>
        <p:txBody>
          <a:bodyPr wrap="square" lIns="108000" tIns="108000" bIns="36000" rtlCol="0" anchor="ctr" anchorCtr="0">
            <a:spAutoFit/>
          </a:bodyPr>
          <a:lstStyle/>
          <a:p>
            <a:pPr marL="0" marR="0" lvl="0" indent="0" algn="l" defTabSz="91458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2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CEO</a:t>
            </a:r>
            <a:r>
              <a:rPr kumimoji="0" lang="ko-KR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플랜은 </a:t>
            </a:r>
            <a:r>
              <a:rPr kumimoji="0" lang="ko-KR" altLang="en-US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법인 대표의 </a:t>
            </a:r>
            <a:r>
              <a:rPr kumimoji="0" lang="ko-KR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퇴직과 </a:t>
            </a:r>
            <a:r>
              <a:rPr kumimoji="0" lang="ko-KR" altLang="en-US" sz="22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상속대비</a:t>
            </a:r>
            <a:r>
              <a:rPr kumimoji="0" lang="ko-KR" altLang="en-US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 플랜</a:t>
            </a:r>
            <a:endParaRPr kumimoji="0" lang="ko-KR" altLang="en-US" sz="2200" b="1" i="0" u="none" strike="noStrike" kern="1200" cap="none" spc="0" normalizeH="0" baseline="0" noProof="0" dirty="0">
              <a:ln>
                <a:noFill/>
              </a:ln>
              <a:gradFill>
                <a:gsLst>
                  <a:gs pos="25000">
                    <a:srgbClr val="28B432"/>
                  </a:gs>
                  <a:gs pos="75000">
                    <a:srgbClr val="141450"/>
                  </a:gs>
                </a:gsLst>
                <a:lin ang="0" scaled="1"/>
              </a:gradFill>
              <a:effectLst/>
              <a:uLnTx/>
              <a:uFillTx/>
              <a:latin typeface="나눔고딕 ExtraBold" panose="020D0904000000000000" pitchFamily="50" charset="-127"/>
              <a:ea typeface="나눔고딕 ExtraBold" panose="020D0904000000000000" pitchFamily="50" charset="-127"/>
              <a:cs typeface="+mn-cs"/>
            </a:endParaRPr>
          </a:p>
        </p:txBody>
      </p:sp>
      <p:sp>
        <p:nvSpPr>
          <p:cNvPr id="14" name="AutoShape 3"/>
          <p:cNvSpPr>
            <a:spLocks noChangeArrowheads="1"/>
          </p:cNvSpPr>
          <p:nvPr/>
        </p:nvSpPr>
        <p:spPr bwMode="gray">
          <a:xfrm>
            <a:off x="2183880" y="3972274"/>
            <a:ext cx="1733973" cy="599440"/>
          </a:xfrm>
          <a:prstGeom prst="roundRect">
            <a:avLst>
              <a:gd name="adj" fmla="val 10347"/>
            </a:avLst>
          </a:prstGeom>
          <a:gradFill rotWithShape="1">
            <a:gsLst>
              <a:gs pos="0">
                <a:srgbClr val="CCECFF"/>
              </a:gs>
              <a:gs pos="100000">
                <a:srgbClr val="FFFFFF"/>
              </a:gs>
            </a:gsLst>
            <a:lin ang="18900000" scaled="1"/>
          </a:gradFill>
          <a:ln w="50800">
            <a:solidFill>
              <a:srgbClr val="7099E2"/>
            </a:solidFill>
            <a:round/>
            <a:headEnd/>
            <a:tailEnd/>
          </a:ln>
          <a:effectLst>
            <a:outerShdw dist="107763" dir="2700000" algn="ctr" rotWithShape="0">
              <a:srgbClr val="C0C0C0">
                <a:alpha val="50000"/>
              </a:srgbClr>
            </a:outerShdw>
          </a:effectLst>
        </p:spPr>
        <p:txBody>
          <a:bodyPr wrap="none" tIns="36000" bIns="0" anchor="ctr"/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984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연금보험</a:t>
            </a:r>
            <a:endParaRPr kumimoji="0" lang="ko-KR" altLang="en-US" sz="1984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15" name="AutoShape 3"/>
          <p:cNvSpPr>
            <a:spLocks noChangeArrowheads="1"/>
          </p:cNvSpPr>
          <p:nvPr/>
        </p:nvSpPr>
        <p:spPr bwMode="gray">
          <a:xfrm>
            <a:off x="4080688" y="3972274"/>
            <a:ext cx="1733973" cy="599440"/>
          </a:xfrm>
          <a:prstGeom prst="roundRect">
            <a:avLst>
              <a:gd name="adj" fmla="val 10347"/>
            </a:avLst>
          </a:prstGeom>
          <a:gradFill rotWithShape="1">
            <a:gsLst>
              <a:gs pos="0">
                <a:srgbClr val="CCECFF"/>
              </a:gs>
              <a:gs pos="100000">
                <a:srgbClr val="FFFFFF"/>
              </a:gs>
            </a:gsLst>
            <a:lin ang="18900000" scaled="1"/>
          </a:gradFill>
          <a:ln w="50800">
            <a:solidFill>
              <a:schemeClr val="accent6">
                <a:lumMod val="60000"/>
                <a:lumOff val="40000"/>
              </a:schemeClr>
            </a:solidFill>
            <a:round/>
            <a:headEnd/>
            <a:tailEnd/>
          </a:ln>
          <a:effectLst>
            <a:outerShdw dist="107763" dir="2700000" algn="ctr" rotWithShape="0">
              <a:srgbClr val="C0C0C0">
                <a:alpha val="50000"/>
              </a:srgbClr>
            </a:outerShdw>
          </a:effectLst>
        </p:spPr>
        <p:txBody>
          <a:bodyPr wrap="none" tIns="36000" bIns="0" anchor="ctr"/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984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종신보험</a:t>
            </a:r>
            <a:endParaRPr kumimoji="0" lang="ko-KR" altLang="en-US" sz="1984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16" name="AutoShape 3"/>
          <p:cNvSpPr>
            <a:spLocks noChangeArrowheads="1"/>
          </p:cNvSpPr>
          <p:nvPr/>
        </p:nvSpPr>
        <p:spPr bwMode="gray">
          <a:xfrm>
            <a:off x="5977496" y="3972274"/>
            <a:ext cx="1770598" cy="599440"/>
          </a:xfrm>
          <a:prstGeom prst="roundRect">
            <a:avLst>
              <a:gd name="adj" fmla="val 10347"/>
            </a:avLst>
          </a:prstGeom>
          <a:gradFill rotWithShape="1">
            <a:gsLst>
              <a:gs pos="0">
                <a:srgbClr val="CCECFF"/>
              </a:gs>
              <a:gs pos="100000">
                <a:srgbClr val="FFFFFF"/>
              </a:gs>
            </a:gsLst>
            <a:lin ang="18900000" scaled="1"/>
          </a:gradFill>
          <a:ln w="50800">
            <a:solidFill>
              <a:schemeClr val="accent2">
                <a:lumMod val="60000"/>
                <a:lumOff val="40000"/>
              </a:schemeClr>
            </a:solidFill>
            <a:round/>
            <a:headEnd/>
            <a:tailEnd/>
          </a:ln>
          <a:effectLst>
            <a:outerShdw dist="107763" dir="2700000" algn="ctr" rotWithShape="0">
              <a:srgbClr val="C0C0C0">
                <a:alpha val="50000"/>
              </a:srgbClr>
            </a:outerShdw>
          </a:effectLst>
        </p:spPr>
        <p:txBody>
          <a:bodyPr wrap="none" tIns="36000" bIns="0" anchor="ctr"/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984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경영인정기보험</a:t>
            </a:r>
            <a:endParaRPr kumimoji="0" lang="ko-KR" altLang="en-US" sz="1984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grpSp>
        <p:nvGrpSpPr>
          <p:cNvPr id="17" name="그룹 16"/>
          <p:cNvGrpSpPr/>
          <p:nvPr/>
        </p:nvGrpSpPr>
        <p:grpSpPr>
          <a:xfrm>
            <a:off x="3470516" y="1251173"/>
            <a:ext cx="2954313" cy="678992"/>
            <a:chOff x="3429981" y="5389916"/>
            <a:chExt cx="1750375" cy="1891747"/>
          </a:xfrm>
        </p:grpSpPr>
        <p:sp>
          <p:nvSpPr>
            <p:cNvPr id="18" name="Freeform 14"/>
            <p:cNvSpPr>
              <a:spLocks/>
            </p:cNvSpPr>
            <p:nvPr/>
          </p:nvSpPr>
          <p:spPr bwMode="auto">
            <a:xfrm>
              <a:off x="3429981" y="5389916"/>
              <a:ext cx="1750375" cy="1891747"/>
            </a:xfrm>
            <a:prstGeom prst="roundRect">
              <a:avLst/>
            </a:prstGeom>
            <a:solidFill>
              <a:schemeClr val="accent1">
                <a:lumMod val="75000"/>
                <a:alpha val="50000"/>
              </a:schemeClr>
            </a:solidFill>
            <a:ln w="3175">
              <a:gradFill>
                <a:gsLst>
                  <a:gs pos="0">
                    <a:schemeClr val="bg1"/>
                  </a:gs>
                  <a:gs pos="100000">
                    <a:srgbClr val="81882C"/>
                  </a:gs>
                </a:gsLst>
                <a:lin ang="5400000" scaled="0"/>
              </a:gradFill>
              <a:round/>
              <a:headEnd/>
              <a:tailEnd/>
            </a:ln>
            <a:effectLst/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0523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endParaRPr>
            </a:p>
          </p:txBody>
        </p:sp>
        <p:sp>
          <p:nvSpPr>
            <p:cNvPr id="19" name="Oval 3"/>
            <p:cNvSpPr/>
            <p:nvPr/>
          </p:nvSpPr>
          <p:spPr>
            <a:xfrm>
              <a:off x="3546501" y="5625452"/>
              <a:ext cx="1531056" cy="1459348"/>
            </a:xfrm>
            <a:prstGeom prst="roundRect">
              <a:avLst/>
            </a:prstGeom>
            <a:solidFill>
              <a:schemeClr val="accent1">
                <a:lumMod val="75000"/>
                <a:alpha val="50000"/>
              </a:schemeClr>
            </a:solidFill>
            <a:ln>
              <a:solidFill>
                <a:schemeClr val="bg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0523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endParaRPr>
            </a:p>
          </p:txBody>
        </p:sp>
      </p:grpSp>
      <p:sp>
        <p:nvSpPr>
          <p:cNvPr id="20" name="AutoShape 3"/>
          <p:cNvSpPr>
            <a:spLocks noChangeArrowheads="1"/>
          </p:cNvSpPr>
          <p:nvPr/>
        </p:nvSpPr>
        <p:spPr bwMode="gray">
          <a:xfrm>
            <a:off x="3111826" y="2869025"/>
            <a:ext cx="1733973" cy="887665"/>
          </a:xfrm>
          <a:prstGeom prst="roundRect">
            <a:avLst>
              <a:gd name="adj" fmla="val 10347"/>
            </a:avLst>
          </a:prstGeom>
          <a:gradFill rotWithShape="1">
            <a:gsLst>
              <a:gs pos="0">
                <a:srgbClr val="CCECFF"/>
              </a:gs>
              <a:gs pos="100000">
                <a:srgbClr val="FFFFFF"/>
              </a:gs>
            </a:gsLst>
            <a:lin ang="18900000" scaled="1"/>
          </a:gradFill>
          <a:ln w="50800">
            <a:solidFill>
              <a:schemeClr val="accent1">
                <a:lumMod val="60000"/>
                <a:lumOff val="40000"/>
              </a:schemeClr>
            </a:solidFill>
            <a:round/>
            <a:headEnd/>
            <a:tailEnd/>
          </a:ln>
          <a:effectLst>
            <a:outerShdw dist="107763" dir="2700000" algn="ctr" rotWithShape="0">
              <a:srgbClr val="C0C0C0">
                <a:alpha val="50000"/>
              </a:srgbClr>
            </a:outerShdw>
          </a:effectLst>
        </p:spPr>
        <p:txBody>
          <a:bodyPr wrap="none" tIns="36000" bIns="0" anchor="ctr"/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984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퇴직금</a:t>
            </a:r>
            <a:endParaRPr kumimoji="0" lang="ko-KR" altLang="en-US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21" name="AutoShape 3"/>
          <p:cNvSpPr>
            <a:spLocks noChangeArrowheads="1"/>
          </p:cNvSpPr>
          <p:nvPr/>
        </p:nvSpPr>
        <p:spPr bwMode="gray">
          <a:xfrm>
            <a:off x="5245836" y="2879955"/>
            <a:ext cx="1733973" cy="887665"/>
          </a:xfrm>
          <a:prstGeom prst="roundRect">
            <a:avLst>
              <a:gd name="adj" fmla="val 10347"/>
            </a:avLst>
          </a:prstGeom>
          <a:gradFill rotWithShape="1">
            <a:gsLst>
              <a:gs pos="0">
                <a:srgbClr val="CCECFF"/>
              </a:gs>
              <a:gs pos="100000">
                <a:srgbClr val="FFFFFF"/>
              </a:gs>
            </a:gsLst>
            <a:lin ang="18900000" scaled="1"/>
          </a:gradFill>
          <a:ln w="50800">
            <a:solidFill>
              <a:schemeClr val="accent2">
                <a:lumMod val="40000"/>
                <a:lumOff val="60000"/>
              </a:schemeClr>
            </a:solidFill>
            <a:round/>
            <a:headEnd/>
            <a:tailEnd/>
          </a:ln>
          <a:effectLst>
            <a:outerShdw dist="107763" dir="2700000" algn="ctr" rotWithShape="0">
              <a:srgbClr val="C0C0C0">
                <a:alpha val="50000"/>
              </a:srgbClr>
            </a:outerShdw>
          </a:effectLst>
        </p:spPr>
        <p:txBody>
          <a:bodyPr wrap="none" tIns="36000" bIns="0" anchor="ctr"/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984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유족보상금</a:t>
            </a:r>
            <a:endParaRPr kumimoji="0" lang="ko-KR" altLang="en-US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22" name="AutoShape 3"/>
          <p:cNvSpPr>
            <a:spLocks noChangeArrowheads="1"/>
          </p:cNvSpPr>
          <p:nvPr/>
        </p:nvSpPr>
        <p:spPr bwMode="gray">
          <a:xfrm>
            <a:off x="3679751" y="2079400"/>
            <a:ext cx="2595083" cy="599440"/>
          </a:xfrm>
          <a:prstGeom prst="roundRect">
            <a:avLst>
              <a:gd name="adj" fmla="val 10347"/>
            </a:avLst>
          </a:prstGeom>
          <a:gradFill rotWithShape="1">
            <a:gsLst>
              <a:gs pos="0">
                <a:srgbClr val="CCECFF"/>
              </a:gs>
              <a:gs pos="100000">
                <a:srgbClr val="FFFFFF"/>
              </a:gs>
            </a:gsLst>
            <a:lin ang="18900000" scaled="1"/>
          </a:gradFill>
          <a:ln w="50800">
            <a:solidFill>
              <a:schemeClr val="bg1">
                <a:lumMod val="75000"/>
              </a:schemeClr>
            </a:solidFill>
            <a:round/>
            <a:headEnd/>
            <a:tailEnd/>
          </a:ln>
          <a:effectLst>
            <a:outerShdw dist="107763" dir="2700000" algn="ctr" rotWithShape="0">
              <a:srgbClr val="C0C0C0">
                <a:alpha val="50000"/>
              </a:srgbClr>
            </a:outerShdw>
          </a:effectLst>
        </p:spPr>
        <p:txBody>
          <a:bodyPr wrap="none" tIns="36000" bIns="0" anchor="ctr"/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(</a:t>
            </a:r>
            <a:r>
              <a:rPr kumimoji="0" lang="ko-KR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법인</a:t>
            </a:r>
            <a:r>
              <a:rPr kumimoji="0" lang="en-US" altLang="ko-KR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) </a:t>
            </a:r>
            <a:r>
              <a:rPr kumimoji="0" lang="ko-KR" altLang="en-US" sz="1984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대표이사 및 임원</a:t>
            </a:r>
            <a:endParaRPr kumimoji="0" lang="ko-KR" altLang="en-US" sz="1984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080688" y="1372858"/>
            <a:ext cx="183614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CEO </a:t>
            </a:r>
            <a:r>
              <a:rPr kumimoji="0" lang="ko-KR" altLang="en-US" sz="2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플랜</a:t>
            </a:r>
            <a:endParaRPr kumimoji="0" lang="ko-KR" altLang="en-US" sz="2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나눔고딕 ExtraBold" panose="020D0904000000000000" pitchFamily="50" charset="-127"/>
              <a:ea typeface="나눔고딕 ExtraBold" panose="020D0904000000000000" pitchFamily="50" charset="-127"/>
              <a:cs typeface="+mn-cs"/>
            </a:endParaRPr>
          </a:p>
        </p:txBody>
      </p:sp>
      <p:grpSp>
        <p:nvGrpSpPr>
          <p:cNvPr id="24" name="Group 3"/>
          <p:cNvGrpSpPr>
            <a:grpSpLocks/>
          </p:cNvGrpSpPr>
          <p:nvPr/>
        </p:nvGrpSpPr>
        <p:grpSpPr bwMode="auto">
          <a:xfrm>
            <a:off x="1537873" y="4795772"/>
            <a:ext cx="6990080" cy="701675"/>
            <a:chOff x="1152" y="1248"/>
            <a:chExt cx="3696" cy="442"/>
          </a:xfrm>
        </p:grpSpPr>
        <p:sp>
          <p:nvSpPr>
            <p:cNvPr id="25" name="Freeform 4"/>
            <p:cNvSpPr>
              <a:spLocks/>
            </p:cNvSpPr>
            <p:nvPr/>
          </p:nvSpPr>
          <p:spPr bwMode="gray">
            <a:xfrm>
              <a:off x="1152" y="1248"/>
              <a:ext cx="3696" cy="442"/>
            </a:xfrm>
            <a:custGeom>
              <a:avLst/>
              <a:gdLst>
                <a:gd name="T0" fmla="*/ 266 w 4864"/>
                <a:gd name="T1" fmla="*/ 42 h 769"/>
                <a:gd name="T2" fmla="*/ 107 w 4864"/>
                <a:gd name="T3" fmla="*/ 103 h 769"/>
                <a:gd name="T4" fmla="*/ 69 w 4864"/>
                <a:gd name="T5" fmla="*/ 200 h 769"/>
                <a:gd name="T6" fmla="*/ 38 w 4864"/>
                <a:gd name="T7" fmla="*/ 235 h 769"/>
                <a:gd name="T8" fmla="*/ 15 w 4864"/>
                <a:gd name="T9" fmla="*/ 332 h 769"/>
                <a:gd name="T10" fmla="*/ 38 w 4864"/>
                <a:gd name="T11" fmla="*/ 447 h 769"/>
                <a:gd name="T12" fmla="*/ 198 w 4864"/>
                <a:gd name="T13" fmla="*/ 587 h 769"/>
                <a:gd name="T14" fmla="*/ 568 w 4864"/>
                <a:gd name="T15" fmla="*/ 655 h 769"/>
                <a:gd name="T16" fmla="*/ 928 w 4864"/>
                <a:gd name="T17" fmla="*/ 699 h 769"/>
                <a:gd name="T18" fmla="*/ 1751 w 4864"/>
                <a:gd name="T19" fmla="*/ 746 h 769"/>
                <a:gd name="T20" fmla="*/ 2388 w 4864"/>
                <a:gd name="T21" fmla="*/ 739 h 769"/>
                <a:gd name="T22" fmla="*/ 2624 w 4864"/>
                <a:gd name="T23" fmla="*/ 761 h 769"/>
                <a:gd name="T24" fmla="*/ 3030 w 4864"/>
                <a:gd name="T25" fmla="*/ 737 h 769"/>
                <a:gd name="T26" fmla="*/ 3707 w 4864"/>
                <a:gd name="T27" fmla="*/ 640 h 769"/>
                <a:gd name="T28" fmla="*/ 4057 w 4864"/>
                <a:gd name="T29" fmla="*/ 579 h 769"/>
                <a:gd name="T30" fmla="*/ 4225 w 4864"/>
                <a:gd name="T31" fmla="*/ 526 h 769"/>
                <a:gd name="T32" fmla="*/ 4331 w 4864"/>
                <a:gd name="T33" fmla="*/ 508 h 769"/>
                <a:gd name="T34" fmla="*/ 4225 w 4864"/>
                <a:gd name="T35" fmla="*/ 491 h 769"/>
                <a:gd name="T36" fmla="*/ 4346 w 4864"/>
                <a:gd name="T37" fmla="*/ 526 h 769"/>
                <a:gd name="T38" fmla="*/ 4643 w 4864"/>
                <a:gd name="T39" fmla="*/ 455 h 769"/>
                <a:gd name="T40" fmla="*/ 4849 w 4864"/>
                <a:gd name="T41" fmla="*/ 341 h 769"/>
                <a:gd name="T42" fmla="*/ 4674 w 4864"/>
                <a:gd name="T43" fmla="*/ 279 h 769"/>
                <a:gd name="T44" fmla="*/ 4110 w 4864"/>
                <a:gd name="T45" fmla="*/ 297 h 769"/>
                <a:gd name="T46" fmla="*/ 4293 w 4864"/>
                <a:gd name="T47" fmla="*/ 297 h 769"/>
                <a:gd name="T48" fmla="*/ 4651 w 4864"/>
                <a:gd name="T49" fmla="*/ 200 h 769"/>
                <a:gd name="T50" fmla="*/ 4514 w 4864"/>
                <a:gd name="T51" fmla="*/ 147 h 769"/>
                <a:gd name="T52" fmla="*/ 3920 w 4864"/>
                <a:gd name="T53" fmla="*/ 174 h 769"/>
                <a:gd name="T54" fmla="*/ 3966 w 4864"/>
                <a:gd name="T55" fmla="*/ 147 h 769"/>
                <a:gd name="T56" fmla="*/ 3578 w 4864"/>
                <a:gd name="T57" fmla="*/ 121 h 769"/>
                <a:gd name="T58" fmla="*/ 3159 w 4864"/>
                <a:gd name="T59" fmla="*/ 165 h 769"/>
                <a:gd name="T60" fmla="*/ 2260 w 4864"/>
                <a:gd name="T61" fmla="*/ 187 h 769"/>
                <a:gd name="T62" fmla="*/ 1880 w 4864"/>
                <a:gd name="T63" fmla="*/ 175 h 769"/>
                <a:gd name="T64" fmla="*/ 1460 w 4864"/>
                <a:gd name="T65" fmla="*/ 175 h 769"/>
                <a:gd name="T66" fmla="*/ 967 w 4864"/>
                <a:gd name="T67" fmla="*/ 130 h 769"/>
                <a:gd name="T68" fmla="*/ 746 w 4864"/>
                <a:gd name="T69" fmla="*/ 59 h 769"/>
                <a:gd name="T70" fmla="*/ 472 w 4864"/>
                <a:gd name="T71" fmla="*/ 6 h 769"/>
                <a:gd name="T72" fmla="*/ 306 w 4864"/>
                <a:gd name="T73" fmla="*/ 4 h 76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4864"/>
                <a:gd name="T112" fmla="*/ 0 h 769"/>
                <a:gd name="T113" fmla="*/ 4864 w 4864"/>
                <a:gd name="T114" fmla="*/ 769 h 769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4864" h="769">
                  <a:moveTo>
                    <a:pt x="306" y="4"/>
                  </a:moveTo>
                  <a:cubicBezTo>
                    <a:pt x="265" y="21"/>
                    <a:pt x="307" y="25"/>
                    <a:pt x="266" y="42"/>
                  </a:cubicBezTo>
                  <a:cubicBezTo>
                    <a:pt x="228" y="27"/>
                    <a:pt x="225" y="21"/>
                    <a:pt x="167" y="42"/>
                  </a:cubicBezTo>
                  <a:cubicBezTo>
                    <a:pt x="141" y="52"/>
                    <a:pt x="142" y="90"/>
                    <a:pt x="107" y="103"/>
                  </a:cubicBezTo>
                  <a:cubicBezTo>
                    <a:pt x="84" y="130"/>
                    <a:pt x="69" y="156"/>
                    <a:pt x="46" y="182"/>
                  </a:cubicBezTo>
                  <a:cubicBezTo>
                    <a:pt x="53" y="188"/>
                    <a:pt x="61" y="196"/>
                    <a:pt x="69" y="200"/>
                  </a:cubicBezTo>
                  <a:cubicBezTo>
                    <a:pt x="76" y="204"/>
                    <a:pt x="94" y="200"/>
                    <a:pt x="91" y="209"/>
                  </a:cubicBezTo>
                  <a:cubicBezTo>
                    <a:pt x="89" y="218"/>
                    <a:pt x="47" y="232"/>
                    <a:pt x="38" y="235"/>
                  </a:cubicBezTo>
                  <a:cubicBezTo>
                    <a:pt x="20" y="298"/>
                    <a:pt x="37" y="278"/>
                    <a:pt x="0" y="306"/>
                  </a:cubicBezTo>
                  <a:cubicBezTo>
                    <a:pt x="5" y="314"/>
                    <a:pt x="11" y="322"/>
                    <a:pt x="15" y="332"/>
                  </a:cubicBezTo>
                  <a:cubicBezTo>
                    <a:pt x="27" y="345"/>
                    <a:pt x="65" y="366"/>
                    <a:pt x="69" y="385"/>
                  </a:cubicBezTo>
                  <a:cubicBezTo>
                    <a:pt x="71" y="398"/>
                    <a:pt x="28" y="428"/>
                    <a:pt x="38" y="447"/>
                  </a:cubicBezTo>
                  <a:cubicBezTo>
                    <a:pt x="28" y="480"/>
                    <a:pt x="110" y="494"/>
                    <a:pt x="129" y="499"/>
                  </a:cubicBezTo>
                  <a:cubicBezTo>
                    <a:pt x="157" y="521"/>
                    <a:pt x="162" y="579"/>
                    <a:pt x="198" y="587"/>
                  </a:cubicBezTo>
                  <a:cubicBezTo>
                    <a:pt x="275" y="607"/>
                    <a:pt x="321" y="631"/>
                    <a:pt x="400" y="635"/>
                  </a:cubicBezTo>
                  <a:cubicBezTo>
                    <a:pt x="471" y="643"/>
                    <a:pt x="513" y="654"/>
                    <a:pt x="568" y="655"/>
                  </a:cubicBezTo>
                  <a:cubicBezTo>
                    <a:pt x="628" y="661"/>
                    <a:pt x="700" y="664"/>
                    <a:pt x="760" y="671"/>
                  </a:cubicBezTo>
                  <a:cubicBezTo>
                    <a:pt x="817" y="693"/>
                    <a:pt x="869" y="677"/>
                    <a:pt x="928" y="699"/>
                  </a:cubicBezTo>
                  <a:cubicBezTo>
                    <a:pt x="1070" y="753"/>
                    <a:pt x="1355" y="693"/>
                    <a:pt x="1355" y="693"/>
                  </a:cubicBezTo>
                  <a:cubicBezTo>
                    <a:pt x="1539" y="731"/>
                    <a:pt x="1520" y="737"/>
                    <a:pt x="1751" y="746"/>
                  </a:cubicBezTo>
                  <a:cubicBezTo>
                    <a:pt x="1912" y="769"/>
                    <a:pt x="1924" y="727"/>
                    <a:pt x="2228" y="743"/>
                  </a:cubicBezTo>
                  <a:cubicBezTo>
                    <a:pt x="2298" y="752"/>
                    <a:pt x="2337" y="736"/>
                    <a:pt x="2388" y="739"/>
                  </a:cubicBezTo>
                  <a:cubicBezTo>
                    <a:pt x="2439" y="742"/>
                    <a:pt x="2496" y="758"/>
                    <a:pt x="2535" y="762"/>
                  </a:cubicBezTo>
                  <a:cubicBezTo>
                    <a:pt x="2574" y="766"/>
                    <a:pt x="2586" y="753"/>
                    <a:pt x="2624" y="761"/>
                  </a:cubicBezTo>
                  <a:cubicBezTo>
                    <a:pt x="2654" y="767"/>
                    <a:pt x="2674" y="747"/>
                    <a:pt x="2710" y="746"/>
                  </a:cubicBezTo>
                  <a:cubicBezTo>
                    <a:pt x="2816" y="740"/>
                    <a:pt x="2923" y="740"/>
                    <a:pt x="3030" y="737"/>
                  </a:cubicBezTo>
                  <a:cubicBezTo>
                    <a:pt x="3165" y="698"/>
                    <a:pt x="3192" y="700"/>
                    <a:pt x="3372" y="693"/>
                  </a:cubicBezTo>
                  <a:cubicBezTo>
                    <a:pt x="3491" y="677"/>
                    <a:pt x="3585" y="649"/>
                    <a:pt x="3707" y="640"/>
                  </a:cubicBezTo>
                  <a:cubicBezTo>
                    <a:pt x="3778" y="612"/>
                    <a:pt x="3647" y="661"/>
                    <a:pt x="3814" y="623"/>
                  </a:cubicBezTo>
                  <a:cubicBezTo>
                    <a:pt x="3939" y="593"/>
                    <a:pt x="3882" y="589"/>
                    <a:pt x="4057" y="579"/>
                  </a:cubicBezTo>
                  <a:cubicBezTo>
                    <a:pt x="4154" y="551"/>
                    <a:pt x="4197" y="549"/>
                    <a:pt x="4316" y="543"/>
                  </a:cubicBezTo>
                  <a:cubicBezTo>
                    <a:pt x="4293" y="535"/>
                    <a:pt x="4233" y="529"/>
                    <a:pt x="4225" y="526"/>
                  </a:cubicBezTo>
                  <a:cubicBezTo>
                    <a:pt x="4217" y="523"/>
                    <a:pt x="4240" y="518"/>
                    <a:pt x="4247" y="517"/>
                  </a:cubicBezTo>
                  <a:cubicBezTo>
                    <a:pt x="4275" y="513"/>
                    <a:pt x="4303" y="511"/>
                    <a:pt x="4331" y="508"/>
                  </a:cubicBezTo>
                  <a:cubicBezTo>
                    <a:pt x="4303" y="505"/>
                    <a:pt x="4275" y="504"/>
                    <a:pt x="4247" y="499"/>
                  </a:cubicBezTo>
                  <a:cubicBezTo>
                    <a:pt x="4240" y="498"/>
                    <a:pt x="4221" y="499"/>
                    <a:pt x="4225" y="491"/>
                  </a:cubicBezTo>
                  <a:cubicBezTo>
                    <a:pt x="4230" y="480"/>
                    <a:pt x="4245" y="485"/>
                    <a:pt x="4255" y="482"/>
                  </a:cubicBezTo>
                  <a:cubicBezTo>
                    <a:pt x="4318" y="494"/>
                    <a:pt x="4297" y="507"/>
                    <a:pt x="4346" y="526"/>
                  </a:cubicBezTo>
                  <a:cubicBezTo>
                    <a:pt x="4398" y="511"/>
                    <a:pt x="4453" y="470"/>
                    <a:pt x="4506" y="464"/>
                  </a:cubicBezTo>
                  <a:cubicBezTo>
                    <a:pt x="4552" y="460"/>
                    <a:pt x="4598" y="458"/>
                    <a:pt x="4643" y="455"/>
                  </a:cubicBezTo>
                  <a:cubicBezTo>
                    <a:pt x="4690" y="420"/>
                    <a:pt x="4742" y="423"/>
                    <a:pt x="4795" y="411"/>
                  </a:cubicBezTo>
                  <a:cubicBezTo>
                    <a:pt x="4834" y="382"/>
                    <a:pt x="4813" y="403"/>
                    <a:pt x="4849" y="341"/>
                  </a:cubicBezTo>
                  <a:cubicBezTo>
                    <a:pt x="4854" y="332"/>
                    <a:pt x="4864" y="314"/>
                    <a:pt x="4864" y="314"/>
                  </a:cubicBezTo>
                  <a:cubicBezTo>
                    <a:pt x="4803" y="279"/>
                    <a:pt x="4742" y="285"/>
                    <a:pt x="4674" y="279"/>
                  </a:cubicBezTo>
                  <a:cubicBezTo>
                    <a:pt x="4490" y="287"/>
                    <a:pt x="4499" y="279"/>
                    <a:pt x="4384" y="306"/>
                  </a:cubicBezTo>
                  <a:cubicBezTo>
                    <a:pt x="4293" y="303"/>
                    <a:pt x="4202" y="303"/>
                    <a:pt x="4110" y="297"/>
                  </a:cubicBezTo>
                  <a:cubicBezTo>
                    <a:pt x="4103" y="297"/>
                    <a:pt x="4126" y="288"/>
                    <a:pt x="4133" y="288"/>
                  </a:cubicBezTo>
                  <a:cubicBezTo>
                    <a:pt x="4187" y="288"/>
                    <a:pt x="4240" y="294"/>
                    <a:pt x="4293" y="297"/>
                  </a:cubicBezTo>
                  <a:cubicBezTo>
                    <a:pt x="4391" y="282"/>
                    <a:pt x="4444" y="268"/>
                    <a:pt x="4552" y="262"/>
                  </a:cubicBezTo>
                  <a:cubicBezTo>
                    <a:pt x="4601" y="247"/>
                    <a:pt x="4610" y="232"/>
                    <a:pt x="4651" y="200"/>
                  </a:cubicBezTo>
                  <a:cubicBezTo>
                    <a:pt x="4609" y="188"/>
                    <a:pt x="4562" y="193"/>
                    <a:pt x="4521" y="174"/>
                  </a:cubicBezTo>
                  <a:cubicBezTo>
                    <a:pt x="4514" y="171"/>
                    <a:pt x="4516" y="156"/>
                    <a:pt x="4514" y="147"/>
                  </a:cubicBezTo>
                  <a:cubicBezTo>
                    <a:pt x="4141" y="166"/>
                    <a:pt x="4291" y="156"/>
                    <a:pt x="4065" y="174"/>
                  </a:cubicBezTo>
                  <a:cubicBezTo>
                    <a:pt x="4015" y="182"/>
                    <a:pt x="3972" y="194"/>
                    <a:pt x="3920" y="174"/>
                  </a:cubicBezTo>
                  <a:cubicBezTo>
                    <a:pt x="3911" y="171"/>
                    <a:pt x="3935" y="160"/>
                    <a:pt x="3943" y="156"/>
                  </a:cubicBezTo>
                  <a:cubicBezTo>
                    <a:pt x="3951" y="152"/>
                    <a:pt x="3958" y="150"/>
                    <a:pt x="3966" y="147"/>
                  </a:cubicBezTo>
                  <a:cubicBezTo>
                    <a:pt x="3918" y="110"/>
                    <a:pt x="3968" y="135"/>
                    <a:pt x="3935" y="77"/>
                  </a:cubicBezTo>
                  <a:cubicBezTo>
                    <a:pt x="3812" y="86"/>
                    <a:pt x="3702" y="113"/>
                    <a:pt x="3578" y="121"/>
                  </a:cubicBezTo>
                  <a:cubicBezTo>
                    <a:pt x="3524" y="128"/>
                    <a:pt x="3477" y="135"/>
                    <a:pt x="3425" y="156"/>
                  </a:cubicBezTo>
                  <a:cubicBezTo>
                    <a:pt x="3342" y="188"/>
                    <a:pt x="3248" y="162"/>
                    <a:pt x="3159" y="165"/>
                  </a:cubicBezTo>
                  <a:cubicBezTo>
                    <a:pt x="2928" y="254"/>
                    <a:pt x="2813" y="169"/>
                    <a:pt x="2544" y="191"/>
                  </a:cubicBezTo>
                  <a:cubicBezTo>
                    <a:pt x="2445" y="200"/>
                    <a:pt x="2305" y="198"/>
                    <a:pt x="2260" y="187"/>
                  </a:cubicBezTo>
                  <a:cubicBezTo>
                    <a:pt x="2172" y="153"/>
                    <a:pt x="2149" y="194"/>
                    <a:pt x="2056" y="195"/>
                  </a:cubicBezTo>
                  <a:cubicBezTo>
                    <a:pt x="1964" y="187"/>
                    <a:pt x="1913" y="188"/>
                    <a:pt x="1880" y="175"/>
                  </a:cubicBezTo>
                  <a:cubicBezTo>
                    <a:pt x="1790" y="181"/>
                    <a:pt x="1677" y="212"/>
                    <a:pt x="1591" y="191"/>
                  </a:cubicBezTo>
                  <a:cubicBezTo>
                    <a:pt x="1548" y="181"/>
                    <a:pt x="1503" y="186"/>
                    <a:pt x="1460" y="175"/>
                  </a:cubicBezTo>
                  <a:cubicBezTo>
                    <a:pt x="1435" y="185"/>
                    <a:pt x="1426" y="155"/>
                    <a:pt x="1401" y="165"/>
                  </a:cubicBezTo>
                  <a:cubicBezTo>
                    <a:pt x="1252" y="156"/>
                    <a:pt x="1118" y="135"/>
                    <a:pt x="967" y="130"/>
                  </a:cubicBezTo>
                  <a:cubicBezTo>
                    <a:pt x="926" y="125"/>
                    <a:pt x="836" y="116"/>
                    <a:pt x="799" y="103"/>
                  </a:cubicBezTo>
                  <a:cubicBezTo>
                    <a:pt x="798" y="103"/>
                    <a:pt x="754" y="62"/>
                    <a:pt x="746" y="59"/>
                  </a:cubicBezTo>
                  <a:cubicBezTo>
                    <a:pt x="686" y="39"/>
                    <a:pt x="609" y="39"/>
                    <a:pt x="548" y="33"/>
                  </a:cubicBezTo>
                  <a:cubicBezTo>
                    <a:pt x="523" y="22"/>
                    <a:pt x="497" y="17"/>
                    <a:pt x="472" y="6"/>
                  </a:cubicBezTo>
                  <a:cubicBezTo>
                    <a:pt x="441" y="9"/>
                    <a:pt x="411" y="11"/>
                    <a:pt x="381" y="15"/>
                  </a:cubicBezTo>
                  <a:cubicBezTo>
                    <a:pt x="353" y="15"/>
                    <a:pt x="325" y="0"/>
                    <a:pt x="306" y="4"/>
                  </a:cubicBezTo>
                  <a:close/>
                </a:path>
              </a:pathLst>
            </a:custGeom>
            <a:gradFill rotWithShape="0">
              <a:gsLst>
                <a:gs pos="0">
                  <a:srgbClr val="C6B562"/>
                </a:gs>
                <a:gs pos="100000">
                  <a:srgbClr val="FFFFFF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100523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26" name="Rectangle 5"/>
            <p:cNvSpPr>
              <a:spLocks noChangeArrowheads="1"/>
            </p:cNvSpPr>
            <p:nvPr/>
          </p:nvSpPr>
          <p:spPr bwMode="auto">
            <a:xfrm>
              <a:off x="1344" y="1381"/>
              <a:ext cx="3504" cy="21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0" marR="0" lvl="0" indent="0" algn="l" defTabSz="1005234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절세 효과 </a:t>
              </a:r>
              <a:r>
                <a:rPr kumimoji="0" lang="en-US" altLang="ko-KR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: </a:t>
              </a:r>
              <a:r>
                <a:rPr kumimoji="0" lang="ko-KR" altLang="en-US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퇴직소득세</a:t>
              </a:r>
              <a:r>
                <a:rPr kumimoji="0" lang="en-US" altLang="ko-KR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, </a:t>
              </a:r>
              <a:r>
                <a:rPr kumimoji="0" lang="ko-KR" altLang="en-US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법인세</a:t>
              </a:r>
              <a:r>
                <a:rPr kumimoji="0" lang="en-US" altLang="ko-KR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, </a:t>
              </a:r>
              <a:r>
                <a:rPr kumimoji="0" lang="ko-KR" altLang="en-US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상속</a:t>
              </a:r>
              <a:r>
                <a:rPr kumimoji="0" lang="en-US" altLang="ko-KR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·</a:t>
              </a:r>
              <a:r>
                <a:rPr kumimoji="0" lang="ko-KR" altLang="en-US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증여세</a:t>
              </a:r>
              <a:r>
                <a:rPr kumimoji="0" lang="en-US" altLang="ko-KR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 </a:t>
              </a:r>
              <a:endPara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</p:txBody>
        </p:sp>
      </p:grpSp>
      <p:grpSp>
        <p:nvGrpSpPr>
          <p:cNvPr id="27" name="Group 6"/>
          <p:cNvGrpSpPr>
            <a:grpSpLocks/>
          </p:cNvGrpSpPr>
          <p:nvPr/>
        </p:nvGrpSpPr>
        <p:grpSpPr bwMode="auto">
          <a:xfrm>
            <a:off x="1548033" y="5450554"/>
            <a:ext cx="6898640" cy="701675"/>
            <a:chOff x="1152" y="1776"/>
            <a:chExt cx="3696" cy="442"/>
          </a:xfrm>
        </p:grpSpPr>
        <p:sp>
          <p:nvSpPr>
            <p:cNvPr id="38" name="Freeform 7"/>
            <p:cNvSpPr>
              <a:spLocks/>
            </p:cNvSpPr>
            <p:nvPr/>
          </p:nvSpPr>
          <p:spPr bwMode="gray">
            <a:xfrm>
              <a:off x="1152" y="1776"/>
              <a:ext cx="3696" cy="442"/>
            </a:xfrm>
            <a:custGeom>
              <a:avLst/>
              <a:gdLst>
                <a:gd name="T0" fmla="*/ 266 w 4864"/>
                <a:gd name="T1" fmla="*/ 42 h 769"/>
                <a:gd name="T2" fmla="*/ 107 w 4864"/>
                <a:gd name="T3" fmla="*/ 103 h 769"/>
                <a:gd name="T4" fmla="*/ 69 w 4864"/>
                <a:gd name="T5" fmla="*/ 200 h 769"/>
                <a:gd name="T6" fmla="*/ 38 w 4864"/>
                <a:gd name="T7" fmla="*/ 235 h 769"/>
                <a:gd name="T8" fmla="*/ 15 w 4864"/>
                <a:gd name="T9" fmla="*/ 332 h 769"/>
                <a:gd name="T10" fmla="*/ 38 w 4864"/>
                <a:gd name="T11" fmla="*/ 447 h 769"/>
                <a:gd name="T12" fmla="*/ 198 w 4864"/>
                <a:gd name="T13" fmla="*/ 587 h 769"/>
                <a:gd name="T14" fmla="*/ 568 w 4864"/>
                <a:gd name="T15" fmla="*/ 655 h 769"/>
                <a:gd name="T16" fmla="*/ 928 w 4864"/>
                <a:gd name="T17" fmla="*/ 699 h 769"/>
                <a:gd name="T18" fmla="*/ 1751 w 4864"/>
                <a:gd name="T19" fmla="*/ 746 h 769"/>
                <a:gd name="T20" fmla="*/ 2388 w 4864"/>
                <a:gd name="T21" fmla="*/ 739 h 769"/>
                <a:gd name="T22" fmla="*/ 2624 w 4864"/>
                <a:gd name="T23" fmla="*/ 761 h 769"/>
                <a:gd name="T24" fmla="*/ 3030 w 4864"/>
                <a:gd name="T25" fmla="*/ 737 h 769"/>
                <a:gd name="T26" fmla="*/ 3707 w 4864"/>
                <a:gd name="T27" fmla="*/ 640 h 769"/>
                <a:gd name="T28" fmla="*/ 4057 w 4864"/>
                <a:gd name="T29" fmla="*/ 579 h 769"/>
                <a:gd name="T30" fmla="*/ 4225 w 4864"/>
                <a:gd name="T31" fmla="*/ 526 h 769"/>
                <a:gd name="T32" fmla="*/ 4331 w 4864"/>
                <a:gd name="T33" fmla="*/ 508 h 769"/>
                <a:gd name="T34" fmla="*/ 4225 w 4864"/>
                <a:gd name="T35" fmla="*/ 491 h 769"/>
                <a:gd name="T36" fmla="*/ 4346 w 4864"/>
                <a:gd name="T37" fmla="*/ 526 h 769"/>
                <a:gd name="T38" fmla="*/ 4643 w 4864"/>
                <a:gd name="T39" fmla="*/ 455 h 769"/>
                <a:gd name="T40" fmla="*/ 4849 w 4864"/>
                <a:gd name="T41" fmla="*/ 341 h 769"/>
                <a:gd name="T42" fmla="*/ 4674 w 4864"/>
                <a:gd name="T43" fmla="*/ 279 h 769"/>
                <a:gd name="T44" fmla="*/ 4110 w 4864"/>
                <a:gd name="T45" fmla="*/ 297 h 769"/>
                <a:gd name="T46" fmla="*/ 4293 w 4864"/>
                <a:gd name="T47" fmla="*/ 297 h 769"/>
                <a:gd name="T48" fmla="*/ 4651 w 4864"/>
                <a:gd name="T49" fmla="*/ 200 h 769"/>
                <a:gd name="T50" fmla="*/ 4514 w 4864"/>
                <a:gd name="T51" fmla="*/ 147 h 769"/>
                <a:gd name="T52" fmla="*/ 3920 w 4864"/>
                <a:gd name="T53" fmla="*/ 174 h 769"/>
                <a:gd name="T54" fmla="*/ 3966 w 4864"/>
                <a:gd name="T55" fmla="*/ 147 h 769"/>
                <a:gd name="T56" fmla="*/ 3578 w 4864"/>
                <a:gd name="T57" fmla="*/ 121 h 769"/>
                <a:gd name="T58" fmla="*/ 3159 w 4864"/>
                <a:gd name="T59" fmla="*/ 165 h 769"/>
                <a:gd name="T60" fmla="*/ 2260 w 4864"/>
                <a:gd name="T61" fmla="*/ 187 h 769"/>
                <a:gd name="T62" fmla="*/ 1880 w 4864"/>
                <a:gd name="T63" fmla="*/ 175 h 769"/>
                <a:gd name="T64" fmla="*/ 1460 w 4864"/>
                <a:gd name="T65" fmla="*/ 175 h 769"/>
                <a:gd name="T66" fmla="*/ 967 w 4864"/>
                <a:gd name="T67" fmla="*/ 130 h 769"/>
                <a:gd name="T68" fmla="*/ 746 w 4864"/>
                <a:gd name="T69" fmla="*/ 59 h 769"/>
                <a:gd name="T70" fmla="*/ 472 w 4864"/>
                <a:gd name="T71" fmla="*/ 6 h 769"/>
                <a:gd name="T72" fmla="*/ 306 w 4864"/>
                <a:gd name="T73" fmla="*/ 4 h 76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4864"/>
                <a:gd name="T112" fmla="*/ 0 h 769"/>
                <a:gd name="T113" fmla="*/ 4864 w 4864"/>
                <a:gd name="T114" fmla="*/ 769 h 769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4864" h="769">
                  <a:moveTo>
                    <a:pt x="306" y="4"/>
                  </a:moveTo>
                  <a:cubicBezTo>
                    <a:pt x="265" y="21"/>
                    <a:pt x="307" y="25"/>
                    <a:pt x="266" y="42"/>
                  </a:cubicBezTo>
                  <a:cubicBezTo>
                    <a:pt x="228" y="27"/>
                    <a:pt x="225" y="21"/>
                    <a:pt x="167" y="42"/>
                  </a:cubicBezTo>
                  <a:cubicBezTo>
                    <a:pt x="141" y="52"/>
                    <a:pt x="142" y="90"/>
                    <a:pt x="107" y="103"/>
                  </a:cubicBezTo>
                  <a:cubicBezTo>
                    <a:pt x="84" y="130"/>
                    <a:pt x="69" y="156"/>
                    <a:pt x="46" y="182"/>
                  </a:cubicBezTo>
                  <a:cubicBezTo>
                    <a:pt x="53" y="188"/>
                    <a:pt x="61" y="196"/>
                    <a:pt x="69" y="200"/>
                  </a:cubicBezTo>
                  <a:cubicBezTo>
                    <a:pt x="76" y="204"/>
                    <a:pt x="94" y="200"/>
                    <a:pt x="91" y="209"/>
                  </a:cubicBezTo>
                  <a:cubicBezTo>
                    <a:pt x="89" y="218"/>
                    <a:pt x="47" y="232"/>
                    <a:pt x="38" y="235"/>
                  </a:cubicBezTo>
                  <a:cubicBezTo>
                    <a:pt x="20" y="298"/>
                    <a:pt x="37" y="278"/>
                    <a:pt x="0" y="306"/>
                  </a:cubicBezTo>
                  <a:cubicBezTo>
                    <a:pt x="5" y="314"/>
                    <a:pt x="11" y="322"/>
                    <a:pt x="15" y="332"/>
                  </a:cubicBezTo>
                  <a:cubicBezTo>
                    <a:pt x="27" y="345"/>
                    <a:pt x="65" y="366"/>
                    <a:pt x="69" y="385"/>
                  </a:cubicBezTo>
                  <a:cubicBezTo>
                    <a:pt x="71" y="398"/>
                    <a:pt x="28" y="428"/>
                    <a:pt x="38" y="447"/>
                  </a:cubicBezTo>
                  <a:cubicBezTo>
                    <a:pt x="28" y="480"/>
                    <a:pt x="110" y="494"/>
                    <a:pt x="129" y="499"/>
                  </a:cubicBezTo>
                  <a:cubicBezTo>
                    <a:pt x="157" y="521"/>
                    <a:pt x="162" y="579"/>
                    <a:pt x="198" y="587"/>
                  </a:cubicBezTo>
                  <a:cubicBezTo>
                    <a:pt x="275" y="607"/>
                    <a:pt x="321" y="631"/>
                    <a:pt x="400" y="635"/>
                  </a:cubicBezTo>
                  <a:cubicBezTo>
                    <a:pt x="471" y="643"/>
                    <a:pt x="513" y="654"/>
                    <a:pt x="568" y="655"/>
                  </a:cubicBezTo>
                  <a:cubicBezTo>
                    <a:pt x="628" y="661"/>
                    <a:pt x="700" y="664"/>
                    <a:pt x="760" y="671"/>
                  </a:cubicBezTo>
                  <a:cubicBezTo>
                    <a:pt x="817" y="693"/>
                    <a:pt x="869" y="677"/>
                    <a:pt x="928" y="699"/>
                  </a:cubicBezTo>
                  <a:cubicBezTo>
                    <a:pt x="1070" y="753"/>
                    <a:pt x="1355" y="693"/>
                    <a:pt x="1355" y="693"/>
                  </a:cubicBezTo>
                  <a:cubicBezTo>
                    <a:pt x="1539" y="731"/>
                    <a:pt x="1520" y="737"/>
                    <a:pt x="1751" y="746"/>
                  </a:cubicBezTo>
                  <a:cubicBezTo>
                    <a:pt x="1912" y="769"/>
                    <a:pt x="1924" y="727"/>
                    <a:pt x="2228" y="743"/>
                  </a:cubicBezTo>
                  <a:cubicBezTo>
                    <a:pt x="2298" y="752"/>
                    <a:pt x="2337" y="736"/>
                    <a:pt x="2388" y="739"/>
                  </a:cubicBezTo>
                  <a:cubicBezTo>
                    <a:pt x="2439" y="742"/>
                    <a:pt x="2496" y="758"/>
                    <a:pt x="2535" y="762"/>
                  </a:cubicBezTo>
                  <a:cubicBezTo>
                    <a:pt x="2574" y="766"/>
                    <a:pt x="2586" y="753"/>
                    <a:pt x="2624" y="761"/>
                  </a:cubicBezTo>
                  <a:cubicBezTo>
                    <a:pt x="2654" y="767"/>
                    <a:pt x="2674" y="747"/>
                    <a:pt x="2710" y="746"/>
                  </a:cubicBezTo>
                  <a:cubicBezTo>
                    <a:pt x="2816" y="740"/>
                    <a:pt x="2923" y="740"/>
                    <a:pt x="3030" y="737"/>
                  </a:cubicBezTo>
                  <a:cubicBezTo>
                    <a:pt x="3165" y="698"/>
                    <a:pt x="3192" y="700"/>
                    <a:pt x="3372" y="693"/>
                  </a:cubicBezTo>
                  <a:cubicBezTo>
                    <a:pt x="3491" y="677"/>
                    <a:pt x="3585" y="649"/>
                    <a:pt x="3707" y="640"/>
                  </a:cubicBezTo>
                  <a:cubicBezTo>
                    <a:pt x="3778" y="612"/>
                    <a:pt x="3647" y="661"/>
                    <a:pt x="3814" y="623"/>
                  </a:cubicBezTo>
                  <a:cubicBezTo>
                    <a:pt x="3939" y="593"/>
                    <a:pt x="3882" y="589"/>
                    <a:pt x="4057" y="579"/>
                  </a:cubicBezTo>
                  <a:cubicBezTo>
                    <a:pt x="4154" y="551"/>
                    <a:pt x="4197" y="549"/>
                    <a:pt x="4316" y="543"/>
                  </a:cubicBezTo>
                  <a:cubicBezTo>
                    <a:pt x="4293" y="535"/>
                    <a:pt x="4233" y="529"/>
                    <a:pt x="4225" y="526"/>
                  </a:cubicBezTo>
                  <a:cubicBezTo>
                    <a:pt x="4217" y="523"/>
                    <a:pt x="4240" y="518"/>
                    <a:pt x="4247" y="517"/>
                  </a:cubicBezTo>
                  <a:cubicBezTo>
                    <a:pt x="4275" y="513"/>
                    <a:pt x="4303" y="511"/>
                    <a:pt x="4331" y="508"/>
                  </a:cubicBezTo>
                  <a:cubicBezTo>
                    <a:pt x="4303" y="505"/>
                    <a:pt x="4275" y="504"/>
                    <a:pt x="4247" y="499"/>
                  </a:cubicBezTo>
                  <a:cubicBezTo>
                    <a:pt x="4240" y="498"/>
                    <a:pt x="4221" y="499"/>
                    <a:pt x="4225" y="491"/>
                  </a:cubicBezTo>
                  <a:cubicBezTo>
                    <a:pt x="4230" y="480"/>
                    <a:pt x="4245" y="485"/>
                    <a:pt x="4255" y="482"/>
                  </a:cubicBezTo>
                  <a:cubicBezTo>
                    <a:pt x="4318" y="494"/>
                    <a:pt x="4297" y="507"/>
                    <a:pt x="4346" y="526"/>
                  </a:cubicBezTo>
                  <a:cubicBezTo>
                    <a:pt x="4398" y="511"/>
                    <a:pt x="4453" y="470"/>
                    <a:pt x="4506" y="464"/>
                  </a:cubicBezTo>
                  <a:cubicBezTo>
                    <a:pt x="4552" y="460"/>
                    <a:pt x="4598" y="458"/>
                    <a:pt x="4643" y="455"/>
                  </a:cubicBezTo>
                  <a:cubicBezTo>
                    <a:pt x="4690" y="420"/>
                    <a:pt x="4742" y="423"/>
                    <a:pt x="4795" y="411"/>
                  </a:cubicBezTo>
                  <a:cubicBezTo>
                    <a:pt x="4834" y="382"/>
                    <a:pt x="4813" y="403"/>
                    <a:pt x="4849" y="341"/>
                  </a:cubicBezTo>
                  <a:cubicBezTo>
                    <a:pt x="4854" y="332"/>
                    <a:pt x="4864" y="314"/>
                    <a:pt x="4864" y="314"/>
                  </a:cubicBezTo>
                  <a:cubicBezTo>
                    <a:pt x="4803" y="279"/>
                    <a:pt x="4742" y="285"/>
                    <a:pt x="4674" y="279"/>
                  </a:cubicBezTo>
                  <a:cubicBezTo>
                    <a:pt x="4490" y="287"/>
                    <a:pt x="4499" y="279"/>
                    <a:pt x="4384" y="306"/>
                  </a:cubicBezTo>
                  <a:cubicBezTo>
                    <a:pt x="4293" y="303"/>
                    <a:pt x="4202" y="303"/>
                    <a:pt x="4110" y="297"/>
                  </a:cubicBezTo>
                  <a:cubicBezTo>
                    <a:pt x="4103" y="297"/>
                    <a:pt x="4126" y="288"/>
                    <a:pt x="4133" y="288"/>
                  </a:cubicBezTo>
                  <a:cubicBezTo>
                    <a:pt x="4187" y="288"/>
                    <a:pt x="4240" y="294"/>
                    <a:pt x="4293" y="297"/>
                  </a:cubicBezTo>
                  <a:cubicBezTo>
                    <a:pt x="4391" y="282"/>
                    <a:pt x="4444" y="268"/>
                    <a:pt x="4552" y="262"/>
                  </a:cubicBezTo>
                  <a:cubicBezTo>
                    <a:pt x="4601" y="247"/>
                    <a:pt x="4610" y="232"/>
                    <a:pt x="4651" y="200"/>
                  </a:cubicBezTo>
                  <a:cubicBezTo>
                    <a:pt x="4609" y="188"/>
                    <a:pt x="4562" y="193"/>
                    <a:pt x="4521" y="174"/>
                  </a:cubicBezTo>
                  <a:cubicBezTo>
                    <a:pt x="4514" y="171"/>
                    <a:pt x="4516" y="156"/>
                    <a:pt x="4514" y="147"/>
                  </a:cubicBezTo>
                  <a:cubicBezTo>
                    <a:pt x="4141" y="166"/>
                    <a:pt x="4291" y="156"/>
                    <a:pt x="4065" y="174"/>
                  </a:cubicBezTo>
                  <a:cubicBezTo>
                    <a:pt x="4015" y="182"/>
                    <a:pt x="3972" y="194"/>
                    <a:pt x="3920" y="174"/>
                  </a:cubicBezTo>
                  <a:cubicBezTo>
                    <a:pt x="3911" y="171"/>
                    <a:pt x="3935" y="160"/>
                    <a:pt x="3943" y="156"/>
                  </a:cubicBezTo>
                  <a:cubicBezTo>
                    <a:pt x="3951" y="152"/>
                    <a:pt x="3958" y="150"/>
                    <a:pt x="3966" y="147"/>
                  </a:cubicBezTo>
                  <a:cubicBezTo>
                    <a:pt x="3918" y="110"/>
                    <a:pt x="3968" y="135"/>
                    <a:pt x="3935" y="77"/>
                  </a:cubicBezTo>
                  <a:cubicBezTo>
                    <a:pt x="3812" y="86"/>
                    <a:pt x="3702" y="113"/>
                    <a:pt x="3578" y="121"/>
                  </a:cubicBezTo>
                  <a:cubicBezTo>
                    <a:pt x="3524" y="128"/>
                    <a:pt x="3477" y="135"/>
                    <a:pt x="3425" y="156"/>
                  </a:cubicBezTo>
                  <a:cubicBezTo>
                    <a:pt x="3342" y="188"/>
                    <a:pt x="3248" y="162"/>
                    <a:pt x="3159" y="165"/>
                  </a:cubicBezTo>
                  <a:cubicBezTo>
                    <a:pt x="2928" y="254"/>
                    <a:pt x="2813" y="169"/>
                    <a:pt x="2544" y="191"/>
                  </a:cubicBezTo>
                  <a:cubicBezTo>
                    <a:pt x="2445" y="200"/>
                    <a:pt x="2305" y="198"/>
                    <a:pt x="2260" y="187"/>
                  </a:cubicBezTo>
                  <a:cubicBezTo>
                    <a:pt x="2172" y="153"/>
                    <a:pt x="2149" y="194"/>
                    <a:pt x="2056" y="195"/>
                  </a:cubicBezTo>
                  <a:cubicBezTo>
                    <a:pt x="1964" y="187"/>
                    <a:pt x="1913" y="188"/>
                    <a:pt x="1880" y="175"/>
                  </a:cubicBezTo>
                  <a:cubicBezTo>
                    <a:pt x="1790" y="181"/>
                    <a:pt x="1677" y="212"/>
                    <a:pt x="1591" y="191"/>
                  </a:cubicBezTo>
                  <a:cubicBezTo>
                    <a:pt x="1548" y="181"/>
                    <a:pt x="1503" y="186"/>
                    <a:pt x="1460" y="175"/>
                  </a:cubicBezTo>
                  <a:cubicBezTo>
                    <a:pt x="1435" y="185"/>
                    <a:pt x="1426" y="155"/>
                    <a:pt x="1401" y="165"/>
                  </a:cubicBezTo>
                  <a:cubicBezTo>
                    <a:pt x="1252" y="156"/>
                    <a:pt x="1118" y="135"/>
                    <a:pt x="967" y="130"/>
                  </a:cubicBezTo>
                  <a:cubicBezTo>
                    <a:pt x="926" y="125"/>
                    <a:pt x="836" y="116"/>
                    <a:pt x="799" y="103"/>
                  </a:cubicBezTo>
                  <a:cubicBezTo>
                    <a:pt x="798" y="103"/>
                    <a:pt x="754" y="62"/>
                    <a:pt x="746" y="59"/>
                  </a:cubicBezTo>
                  <a:cubicBezTo>
                    <a:pt x="686" y="39"/>
                    <a:pt x="609" y="39"/>
                    <a:pt x="548" y="33"/>
                  </a:cubicBezTo>
                  <a:cubicBezTo>
                    <a:pt x="523" y="22"/>
                    <a:pt x="497" y="17"/>
                    <a:pt x="472" y="6"/>
                  </a:cubicBezTo>
                  <a:cubicBezTo>
                    <a:pt x="441" y="9"/>
                    <a:pt x="411" y="11"/>
                    <a:pt x="381" y="15"/>
                  </a:cubicBezTo>
                  <a:cubicBezTo>
                    <a:pt x="353" y="15"/>
                    <a:pt x="325" y="0"/>
                    <a:pt x="306" y="4"/>
                  </a:cubicBezTo>
                  <a:close/>
                </a:path>
              </a:pathLst>
            </a:custGeom>
            <a:gradFill rotWithShape="0">
              <a:gsLst>
                <a:gs pos="0">
                  <a:srgbClr val="78B081"/>
                </a:gs>
                <a:gs pos="100000">
                  <a:srgbClr val="FFFFFF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100523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39" name="Rectangle 8"/>
            <p:cNvSpPr>
              <a:spLocks noChangeArrowheads="1"/>
            </p:cNvSpPr>
            <p:nvPr/>
          </p:nvSpPr>
          <p:spPr bwMode="auto">
            <a:xfrm>
              <a:off x="1329" y="1911"/>
              <a:ext cx="3507" cy="21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0" marR="0" lvl="0" indent="0" algn="l" defTabSz="1005234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준비 사항 </a:t>
              </a:r>
              <a:r>
                <a:rPr kumimoji="0" lang="en-US" altLang="ko-KR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: </a:t>
              </a:r>
              <a:r>
                <a:rPr kumimoji="0" lang="ko-KR" altLang="en-US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정관 및 임원 퇴직금 및 유족보상금 규정 제정</a:t>
              </a:r>
              <a:r>
                <a:rPr kumimoji="0" lang="en-US" altLang="ko-KR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, </a:t>
              </a:r>
              <a:r>
                <a:rPr kumimoji="0" lang="ko-KR" altLang="en-US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나눔고딕" panose="020D0604000000000000" pitchFamily="50" charset="-127"/>
                  <a:ea typeface="나눔고딕" panose="020D0604000000000000" pitchFamily="50" charset="-127"/>
                  <a:cs typeface="+mn-cs"/>
                </a:rPr>
                <a:t>보험상품 가입</a:t>
              </a:r>
              <a:endPara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endParaRPr>
            </a:p>
          </p:txBody>
        </p:sp>
      </p:grpSp>
      <p:sp>
        <p:nvSpPr>
          <p:cNvPr id="40" name="TextBox 39"/>
          <p:cNvSpPr txBox="1"/>
          <p:nvPr/>
        </p:nvSpPr>
        <p:spPr>
          <a:xfrm>
            <a:off x="3153313" y="2905474"/>
            <a:ext cx="10163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펜글씨" panose="020B0600000101010101" pitchFamily="50" charset="-127"/>
                <a:ea typeface="교보서체 펜글씨" panose="020B0600000101010101" pitchFamily="50" charset="-127"/>
                <a:cs typeface="+mn-cs"/>
              </a:rPr>
              <a:t>퇴직 준비</a:t>
            </a: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교보서체 펜글씨" panose="020B0600000101010101" pitchFamily="50" charset="-127"/>
              <a:ea typeface="교보서체 펜글씨" panose="020B0600000101010101" pitchFamily="50" charset="-127"/>
              <a:cs typeface="+mn-cs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5916833" y="2895314"/>
            <a:ext cx="10163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교보서체 펜글씨" panose="020B0600000101010101" pitchFamily="50" charset="-127"/>
                <a:ea typeface="교보서체 펜글씨" panose="020B0600000101010101" pitchFamily="50" charset="-127"/>
                <a:cs typeface="+mn-cs"/>
              </a:rPr>
              <a:t>상속 준비</a:t>
            </a: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교보서체 펜글씨" panose="020B0600000101010101" pitchFamily="50" charset="-127"/>
              <a:ea typeface="교보서체 펜글씨" panose="020B0600000101010101" pitchFamily="50" charset="-127"/>
              <a:cs typeface="+mn-cs"/>
            </a:endParaRPr>
          </a:p>
        </p:txBody>
      </p:sp>
      <p:sp>
        <p:nvSpPr>
          <p:cNvPr id="42" name="Rectangle 5"/>
          <p:cNvSpPr>
            <a:spLocks noChangeArrowheads="1"/>
          </p:cNvSpPr>
          <p:nvPr/>
        </p:nvSpPr>
        <p:spPr bwMode="auto">
          <a:xfrm>
            <a:off x="1375495" y="3139651"/>
            <a:ext cx="1715588" cy="5847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r" defTabSz="1005234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교보서체 펜글씨" panose="020B0600000101010101" pitchFamily="50" charset="-127"/>
                <a:ea typeface="교보서체 펜글씨" panose="020B0600000101010101" pitchFamily="50" charset="-127"/>
                <a:cs typeface="+mn-cs"/>
              </a:rPr>
              <a:t>퇴직소득세가</a:t>
            </a:r>
            <a:endParaRPr kumimoji="0" lang="en-US" altLang="ko-KR" sz="16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교보서체 펜글씨" panose="020B0600000101010101" pitchFamily="50" charset="-127"/>
              <a:ea typeface="교보서체 펜글씨" panose="020B0600000101010101" pitchFamily="50" charset="-127"/>
              <a:cs typeface="+mn-cs"/>
            </a:endParaRPr>
          </a:p>
          <a:p>
            <a:pPr marL="0" marR="0" lvl="0" indent="0" algn="r" defTabSz="1005234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교보서체 펜글씨" panose="020B0600000101010101" pitchFamily="50" charset="-127"/>
                <a:ea typeface="교보서체 펜글씨" panose="020B0600000101010101" pitchFamily="50" charset="-127"/>
                <a:cs typeface="+mn-cs"/>
              </a:rPr>
              <a:t>가장 적으니까</a:t>
            </a:r>
            <a:r>
              <a:rPr kumimoji="0" lang="en-US" altLang="ko-KR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교보서체 펜글씨" panose="020B0600000101010101" pitchFamily="50" charset="-127"/>
                <a:ea typeface="교보서체 펜글씨" panose="020B0600000101010101" pitchFamily="50" charset="-127"/>
                <a:cs typeface="+mn-cs"/>
              </a:rPr>
              <a:t>!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교보서체 펜글씨" panose="020B0600000101010101" pitchFamily="50" charset="-127"/>
              <a:ea typeface="교보서체 펜글씨" panose="020B0600000101010101" pitchFamily="50" charset="-127"/>
              <a:cs typeface="+mn-cs"/>
            </a:endParaRPr>
          </a:p>
        </p:txBody>
      </p:sp>
      <p:sp>
        <p:nvSpPr>
          <p:cNvPr id="43" name="Rectangle 5"/>
          <p:cNvSpPr>
            <a:spLocks noChangeArrowheads="1"/>
          </p:cNvSpPr>
          <p:nvPr/>
        </p:nvSpPr>
        <p:spPr bwMode="auto">
          <a:xfrm>
            <a:off x="7051594" y="3151058"/>
            <a:ext cx="1786557" cy="5847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l" defTabSz="1005234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교보서체 펜글씨" panose="020B0600000101010101" pitchFamily="50" charset="-127"/>
                <a:ea typeface="교보서체 펜글씨" panose="020B0600000101010101" pitchFamily="50" charset="-127"/>
                <a:cs typeface="+mn-cs"/>
              </a:rPr>
              <a:t>주식가치가 높아</a:t>
            </a:r>
            <a:endParaRPr kumimoji="0" lang="en-US" altLang="ko-KR" sz="16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교보서체 펜글씨" panose="020B0600000101010101" pitchFamily="50" charset="-127"/>
              <a:ea typeface="교보서체 펜글씨" panose="020B0600000101010101" pitchFamily="50" charset="-127"/>
              <a:cs typeface="+mn-cs"/>
            </a:endParaRPr>
          </a:p>
          <a:p>
            <a:pPr marL="0" marR="0" lvl="0" indent="0" algn="l" defTabSz="1005234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교보서체 펜글씨" panose="020B0600000101010101" pitchFamily="50" charset="-127"/>
                <a:ea typeface="교보서체 펜글씨" panose="020B0600000101010101" pitchFamily="50" charset="-127"/>
                <a:cs typeface="+mn-cs"/>
              </a:rPr>
              <a:t>상속세가 많으니까</a:t>
            </a:r>
            <a:r>
              <a:rPr kumimoji="0" lang="en-US" altLang="ko-KR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교보서체 펜글씨" panose="020B0600000101010101" pitchFamily="50" charset="-127"/>
                <a:ea typeface="교보서체 펜글씨" panose="020B0600000101010101" pitchFamily="50" charset="-127"/>
                <a:cs typeface="+mn-cs"/>
              </a:rPr>
              <a:t>!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교보서체 펜글씨" panose="020B0600000101010101" pitchFamily="50" charset="-127"/>
              <a:ea typeface="교보서체 펜글씨" panose="020B0600000101010101" pitchFamily="50" charset="-127"/>
              <a:cs typeface="+mn-cs"/>
            </a:endParaRPr>
          </a:p>
        </p:txBody>
      </p:sp>
      <p:sp>
        <p:nvSpPr>
          <p:cNvPr id="44" name="Oval 3"/>
          <p:cNvSpPr/>
          <p:nvPr/>
        </p:nvSpPr>
        <p:spPr>
          <a:xfrm>
            <a:off x="7819214" y="3972275"/>
            <a:ext cx="947817" cy="599439"/>
          </a:xfrm>
          <a:prstGeom prst="roundRect">
            <a:avLst/>
          </a:prstGeom>
          <a:solidFill>
            <a:schemeClr val="accent1">
              <a:lumMod val="75000"/>
              <a:alpha val="50000"/>
            </a:schemeClr>
          </a:solidFill>
          <a:ln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법인명의</a:t>
            </a:r>
            <a:endParaRPr kumimoji="0" lang="en-US" altLang="ko-KR" sz="1400" b="1" i="0" u="none" strike="noStrike" kern="1200" cap="none" spc="0" normalizeH="0" baseline="0" noProof="0" dirty="0" smtClean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나눔고딕" pitchFamily="50" charset="-127"/>
                <a:ea typeface="나눔고딕" pitchFamily="50" charset="-127"/>
                <a:cs typeface="+mn-cs"/>
              </a:rPr>
              <a:t>보험계약</a:t>
            </a: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나눔고딕" pitchFamily="50" charset="-127"/>
              <a:ea typeface="나눔고딕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9749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 marL="0" marR="0" lvl="0" indent="0" algn="r" defTabSz="77873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47D207-944B-4363-884F-A02296F6E654}" type="slidenum">
              <a:rPr kumimoji="0" lang="ko-KR" altLang="en-US" sz="1022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778733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ko-KR" altLang="en-US" sz="1022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74320" y="202629"/>
            <a:ext cx="842287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58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CEO</a:t>
            </a:r>
            <a:r>
              <a:rPr kumimoji="0" lang="ko-KR" altLang="en-US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플랜은 목적에 맞게 상품을 활용해야 합니다</a:t>
            </a:r>
            <a:endParaRPr kumimoji="0" lang="ko-KR" altLang="en-US" sz="2200" b="1" i="0" u="none" strike="noStrike" kern="1200" cap="none" spc="0" normalizeH="0" baseline="0" noProof="0" dirty="0">
              <a:ln>
                <a:noFill/>
              </a:ln>
              <a:gradFill>
                <a:gsLst>
                  <a:gs pos="25000">
                    <a:srgbClr val="28B432"/>
                  </a:gs>
                  <a:gs pos="75000">
                    <a:srgbClr val="141450"/>
                  </a:gs>
                </a:gsLst>
                <a:lin ang="0" scaled="1"/>
              </a:gradFill>
              <a:effectLst/>
              <a:uLnTx/>
              <a:uFillTx/>
              <a:latin typeface="나눔고딕 ExtraBold" panose="020D0904000000000000" pitchFamily="50" charset="-127"/>
              <a:ea typeface="나눔고딕 ExtraBold" panose="020D0904000000000000" pitchFamily="50" charset="-127"/>
              <a:cs typeface="+mn-cs"/>
            </a:endParaRPr>
          </a:p>
        </p:txBody>
      </p:sp>
      <p:sp>
        <p:nvSpPr>
          <p:cNvPr id="4" name="AutoShape 3"/>
          <p:cNvSpPr>
            <a:spLocks noChangeArrowheads="1"/>
          </p:cNvSpPr>
          <p:nvPr/>
        </p:nvSpPr>
        <p:spPr bwMode="gray">
          <a:xfrm>
            <a:off x="2346815" y="2050764"/>
            <a:ext cx="1733973" cy="515421"/>
          </a:xfrm>
          <a:prstGeom prst="roundRect">
            <a:avLst>
              <a:gd name="adj" fmla="val 10347"/>
            </a:avLst>
          </a:prstGeom>
          <a:gradFill rotWithShape="1">
            <a:gsLst>
              <a:gs pos="0">
                <a:srgbClr val="CCECFF"/>
              </a:gs>
              <a:gs pos="100000">
                <a:srgbClr val="FFFFFF"/>
              </a:gs>
            </a:gsLst>
            <a:lin ang="18900000" scaled="1"/>
          </a:gradFill>
          <a:ln w="50800">
            <a:solidFill>
              <a:srgbClr val="7099E2"/>
            </a:solidFill>
            <a:round/>
            <a:headEnd/>
            <a:tailEnd/>
          </a:ln>
          <a:effectLst>
            <a:outerShdw dist="107763" dir="2700000" algn="ctr" rotWithShape="0">
              <a:srgbClr val="C0C0C0">
                <a:alpha val="50000"/>
              </a:srgbClr>
            </a:outerShdw>
          </a:effectLst>
        </p:spPr>
        <p:txBody>
          <a:bodyPr wrap="none" tIns="36000" bIns="0" anchor="ctr"/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984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연금보험</a:t>
            </a:r>
            <a:endParaRPr kumimoji="0" lang="ko-KR" altLang="en-US" sz="1984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5" name="AutoShape 3"/>
          <p:cNvSpPr>
            <a:spLocks noChangeArrowheads="1"/>
          </p:cNvSpPr>
          <p:nvPr/>
        </p:nvSpPr>
        <p:spPr bwMode="gray">
          <a:xfrm>
            <a:off x="6434368" y="2068331"/>
            <a:ext cx="1733973" cy="515421"/>
          </a:xfrm>
          <a:prstGeom prst="roundRect">
            <a:avLst>
              <a:gd name="adj" fmla="val 10347"/>
            </a:avLst>
          </a:prstGeom>
          <a:gradFill rotWithShape="1">
            <a:gsLst>
              <a:gs pos="0">
                <a:srgbClr val="CCECFF"/>
              </a:gs>
              <a:gs pos="100000">
                <a:srgbClr val="FFFFFF"/>
              </a:gs>
            </a:gsLst>
            <a:lin ang="18900000" scaled="1"/>
          </a:gradFill>
          <a:ln w="50800">
            <a:solidFill>
              <a:schemeClr val="accent6">
                <a:lumMod val="60000"/>
                <a:lumOff val="40000"/>
              </a:schemeClr>
            </a:solidFill>
            <a:round/>
            <a:headEnd/>
            <a:tailEnd/>
          </a:ln>
          <a:effectLst>
            <a:outerShdw dist="107763" dir="2700000" algn="ctr" rotWithShape="0">
              <a:srgbClr val="C0C0C0">
                <a:alpha val="50000"/>
              </a:srgbClr>
            </a:outerShdw>
          </a:effectLst>
        </p:spPr>
        <p:txBody>
          <a:bodyPr wrap="none" tIns="36000" bIns="0" anchor="ctr"/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984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종신보험</a:t>
            </a:r>
            <a:endParaRPr kumimoji="0" lang="ko-KR" altLang="en-US" sz="1984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6" name="Freeform 5"/>
          <p:cNvSpPr>
            <a:spLocks/>
          </p:cNvSpPr>
          <p:nvPr/>
        </p:nvSpPr>
        <p:spPr bwMode="gray">
          <a:xfrm rot="10800000">
            <a:off x="7884379" y="2768354"/>
            <a:ext cx="1016000" cy="1155700"/>
          </a:xfrm>
          <a:custGeom>
            <a:avLst/>
            <a:gdLst>
              <a:gd name="T0" fmla="*/ 88 w 1104"/>
              <a:gd name="T1" fmla="*/ 1160 h 1256"/>
              <a:gd name="T2" fmla="*/ 88 w 1104"/>
              <a:gd name="T3" fmla="*/ 0 h 1256"/>
              <a:gd name="T4" fmla="*/ 0 w 1104"/>
              <a:gd name="T5" fmla="*/ 0 h 1256"/>
              <a:gd name="T6" fmla="*/ 0 w 1104"/>
              <a:gd name="T7" fmla="*/ 1256 h 1256"/>
              <a:gd name="T8" fmla="*/ 1104 w 1104"/>
              <a:gd name="T9" fmla="*/ 1256 h 1256"/>
              <a:gd name="T10" fmla="*/ 1104 w 1104"/>
              <a:gd name="T11" fmla="*/ 1160 h 1256"/>
              <a:gd name="T12" fmla="*/ 88 w 1104"/>
              <a:gd name="T13" fmla="*/ 1160 h 125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04"/>
              <a:gd name="T22" fmla="*/ 0 h 1256"/>
              <a:gd name="T23" fmla="*/ 1104 w 1104"/>
              <a:gd name="T24" fmla="*/ 1256 h 125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04" h="1256">
                <a:moveTo>
                  <a:pt x="88" y="1160"/>
                </a:moveTo>
                <a:lnTo>
                  <a:pt x="88" y="0"/>
                </a:lnTo>
                <a:lnTo>
                  <a:pt x="0" y="0"/>
                </a:lnTo>
                <a:lnTo>
                  <a:pt x="0" y="1256"/>
                </a:lnTo>
                <a:lnTo>
                  <a:pt x="1104" y="1256"/>
                </a:lnTo>
                <a:lnTo>
                  <a:pt x="1104" y="1160"/>
                </a:lnTo>
                <a:lnTo>
                  <a:pt x="88" y="1160"/>
                </a:lnTo>
                <a:close/>
              </a:path>
            </a:pathLst>
          </a:custGeom>
          <a:gradFill rotWithShape="1">
            <a:gsLst>
              <a:gs pos="0">
                <a:srgbClr val="33CCCC"/>
              </a:gs>
              <a:gs pos="50000">
                <a:srgbClr val="D4F4F4"/>
              </a:gs>
              <a:gs pos="100000">
                <a:srgbClr val="33CCCC"/>
              </a:gs>
            </a:gsLst>
            <a:lin ang="0" scaled="1"/>
          </a:gra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l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84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gray">
          <a:xfrm>
            <a:off x="5999367" y="2860429"/>
            <a:ext cx="2807176" cy="3414279"/>
          </a:xfrm>
          <a:prstGeom prst="rect">
            <a:avLst/>
          </a:prstGeom>
          <a:gradFill rotWithShape="1">
            <a:gsLst>
              <a:gs pos="0">
                <a:srgbClr val="009999">
                  <a:gamma/>
                  <a:shade val="46275"/>
                  <a:invGamma/>
                </a:srgbClr>
              </a:gs>
              <a:gs pos="50000">
                <a:srgbClr val="009999"/>
              </a:gs>
              <a:gs pos="100000">
                <a:srgbClr val="009999">
                  <a:gamma/>
                  <a:shade val="46275"/>
                  <a:invGamma/>
                </a:srgbClr>
              </a:gs>
            </a:gsLst>
            <a:lin ang="2700000" scaled="1"/>
          </a:gradFill>
          <a:ln w="9525">
            <a:solidFill>
              <a:srgbClr val="FFFFFF"/>
            </a:solidFill>
            <a:miter lim="800000"/>
            <a:headEnd/>
            <a:tailEnd/>
          </a:ln>
          <a:effectLst>
            <a:outerShdw dist="107763" dir="8100000" algn="ctr" rotWithShape="0">
              <a:srgbClr val="000000">
                <a:alpha val="50000"/>
              </a:srgbClr>
            </a:outerShdw>
          </a:effectLst>
        </p:spPr>
        <p:txBody>
          <a:bodyPr anchor="ctr"/>
          <a:lstStyle/>
          <a:p>
            <a:pPr marL="0" marR="0" lvl="0" indent="0" algn="l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굴림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8" name="Freeform 4"/>
          <p:cNvSpPr>
            <a:spLocks/>
          </p:cNvSpPr>
          <p:nvPr/>
        </p:nvSpPr>
        <p:spPr bwMode="gray">
          <a:xfrm>
            <a:off x="1653077" y="5318059"/>
            <a:ext cx="1016000" cy="1155700"/>
          </a:xfrm>
          <a:custGeom>
            <a:avLst/>
            <a:gdLst>
              <a:gd name="T0" fmla="*/ 88 w 1104"/>
              <a:gd name="T1" fmla="*/ 1160 h 1256"/>
              <a:gd name="T2" fmla="*/ 88 w 1104"/>
              <a:gd name="T3" fmla="*/ 0 h 1256"/>
              <a:gd name="T4" fmla="*/ 0 w 1104"/>
              <a:gd name="T5" fmla="*/ 0 h 1256"/>
              <a:gd name="T6" fmla="*/ 0 w 1104"/>
              <a:gd name="T7" fmla="*/ 1256 h 1256"/>
              <a:gd name="T8" fmla="*/ 1104 w 1104"/>
              <a:gd name="T9" fmla="*/ 1256 h 1256"/>
              <a:gd name="T10" fmla="*/ 1104 w 1104"/>
              <a:gd name="T11" fmla="*/ 1160 h 1256"/>
              <a:gd name="T12" fmla="*/ 88 w 1104"/>
              <a:gd name="T13" fmla="*/ 1160 h 125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04"/>
              <a:gd name="T22" fmla="*/ 0 h 1256"/>
              <a:gd name="T23" fmla="*/ 1104 w 1104"/>
              <a:gd name="T24" fmla="*/ 1256 h 125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04" h="1256">
                <a:moveTo>
                  <a:pt x="88" y="1160"/>
                </a:moveTo>
                <a:lnTo>
                  <a:pt x="88" y="0"/>
                </a:lnTo>
                <a:lnTo>
                  <a:pt x="0" y="0"/>
                </a:lnTo>
                <a:lnTo>
                  <a:pt x="0" y="1256"/>
                </a:lnTo>
                <a:lnTo>
                  <a:pt x="1104" y="1256"/>
                </a:lnTo>
                <a:lnTo>
                  <a:pt x="1104" y="1160"/>
                </a:lnTo>
                <a:lnTo>
                  <a:pt x="88" y="1160"/>
                </a:lnTo>
                <a:close/>
              </a:path>
            </a:pathLst>
          </a:custGeom>
          <a:gradFill rotWithShape="1">
            <a:gsLst>
              <a:gs pos="0">
                <a:schemeClr val="accent1">
                  <a:lumMod val="50000"/>
                </a:schemeClr>
              </a:gs>
              <a:gs pos="50000">
                <a:schemeClr val="accent1">
                  <a:lumMod val="60000"/>
                  <a:lumOff val="40000"/>
                </a:schemeClr>
              </a:gs>
              <a:gs pos="100000">
                <a:schemeClr val="accent1">
                  <a:lumMod val="50000"/>
                </a:schemeClr>
              </a:gs>
            </a:gsLst>
            <a:lin ang="0" scaled="1"/>
          </a:gra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l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84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9" name="Rectangle 6"/>
          <p:cNvSpPr>
            <a:spLocks noChangeArrowheads="1"/>
          </p:cNvSpPr>
          <p:nvPr/>
        </p:nvSpPr>
        <p:spPr bwMode="gray">
          <a:xfrm>
            <a:off x="1829971" y="2870589"/>
            <a:ext cx="2767662" cy="3414279"/>
          </a:xfrm>
          <a:prstGeom prst="rect">
            <a:avLst/>
          </a:prstGeom>
          <a:gradFill rotWithShape="1">
            <a:gsLst>
              <a:gs pos="0">
                <a:schemeClr val="accent1">
                  <a:lumMod val="50000"/>
                </a:schemeClr>
              </a:gs>
              <a:gs pos="50000">
                <a:schemeClr val="accent1">
                  <a:lumMod val="75000"/>
                </a:schemeClr>
              </a:gs>
              <a:gs pos="100000">
                <a:schemeClr val="accent1">
                  <a:lumMod val="50000"/>
                </a:schemeClr>
              </a:gs>
            </a:gsLst>
            <a:lin ang="2700000" scaled="1"/>
          </a:gradFill>
          <a:ln w="9525">
            <a:solidFill>
              <a:srgbClr val="FFFFFF"/>
            </a:solidFill>
            <a:miter lim="800000"/>
            <a:headEnd/>
            <a:tailEnd/>
          </a:ln>
          <a:effectLst>
            <a:outerShdw dist="107763" dir="8100000" algn="ctr" rotWithShape="0">
              <a:srgbClr val="000000">
                <a:alpha val="50000"/>
              </a:srgbClr>
            </a:outerShdw>
          </a:effectLst>
        </p:spPr>
        <p:txBody>
          <a:bodyPr anchor="ctr"/>
          <a:lstStyle/>
          <a:p>
            <a:pPr marL="0" marR="0" lvl="0" indent="0" algn="l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굴림" charset="-127"/>
              <a:ea typeface="맑은 고딕" panose="020B0503020000020004" pitchFamily="50" charset="-127"/>
              <a:cs typeface="+mn-cs"/>
            </a:endParaRPr>
          </a:p>
        </p:txBody>
      </p:sp>
      <p:graphicFrame>
        <p:nvGraphicFramePr>
          <p:cNvPr id="10" name="Table 8"/>
          <p:cNvGraphicFramePr>
            <a:graphicFrameLocks noGrp="1"/>
          </p:cNvGraphicFramePr>
          <p:nvPr>
            <p:extLst/>
          </p:nvPr>
        </p:nvGraphicFramePr>
        <p:xfrm>
          <a:off x="4589950" y="2942306"/>
          <a:ext cx="1371600" cy="3337752"/>
        </p:xfrm>
        <a:graphic>
          <a:graphicData uri="http://schemas.openxmlformats.org/drawingml/2006/table">
            <a:tbl>
              <a:tblPr/>
              <a:tblGrid>
                <a:gridCol w="1371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56292">
                <a:tc>
                  <a:txBody>
                    <a:bodyPr/>
                    <a:lstStyle/>
                    <a:p>
                      <a:pPr marL="0" algn="ctr">
                        <a:lnSpc>
                          <a:spcPct val="120000"/>
                        </a:lnSpc>
                      </a:pPr>
                      <a:r>
                        <a:rPr lang="ko-KR" altLang="en-US" sz="1400" b="1" spc="-10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가입 목적</a:t>
                      </a:r>
                      <a:endParaRPr lang="en-US" sz="1400" b="1" spc="-100" baseline="0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4641187"/>
                  </a:ext>
                </a:extLst>
              </a:tr>
              <a:tr h="556292">
                <a:tc>
                  <a:txBody>
                    <a:bodyPr/>
                    <a:lstStyle/>
                    <a:p>
                      <a:pPr marL="0" algn="ctr">
                        <a:lnSpc>
                          <a:spcPct val="120000"/>
                        </a:lnSpc>
                      </a:pPr>
                      <a:r>
                        <a:rPr lang="ko-KR" altLang="en-US" sz="1400" b="1" spc="-10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활용 방안</a:t>
                      </a:r>
                      <a:endParaRPr lang="en-US" sz="1400" b="1" spc="-100" baseline="0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4039114"/>
                  </a:ext>
                </a:extLst>
              </a:tr>
              <a:tr h="556292">
                <a:tc>
                  <a:txBody>
                    <a:bodyPr/>
                    <a:lstStyle/>
                    <a:p>
                      <a:pPr marL="0" algn="ctr">
                        <a:lnSpc>
                          <a:spcPct val="120000"/>
                        </a:lnSpc>
                      </a:pPr>
                      <a:r>
                        <a:rPr lang="ko-KR" altLang="en-US" sz="1400" b="1" spc="-10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사망보험금</a:t>
                      </a:r>
                      <a:endParaRPr lang="en-US" sz="1400" b="1" spc="-100" baseline="0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29737616"/>
                  </a:ext>
                </a:extLst>
              </a:tr>
              <a:tr h="556292">
                <a:tc>
                  <a:txBody>
                    <a:bodyPr/>
                    <a:lstStyle/>
                    <a:p>
                      <a:pPr marL="0" algn="ctr">
                        <a:lnSpc>
                          <a:spcPct val="120000"/>
                        </a:lnSpc>
                      </a:pPr>
                      <a:r>
                        <a:rPr lang="ko-KR" altLang="en-US" sz="1400" b="1" spc="-100" baseline="0" dirty="0" err="1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해지환급금</a:t>
                      </a:r>
                      <a:endParaRPr lang="en-US" sz="1400" b="1" spc="-100" baseline="0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8463823"/>
                  </a:ext>
                </a:extLst>
              </a:tr>
              <a:tr h="556292">
                <a:tc>
                  <a:txBody>
                    <a:bodyPr/>
                    <a:lstStyle/>
                    <a:p>
                      <a:pPr marL="0" algn="ctr">
                        <a:lnSpc>
                          <a:spcPct val="120000"/>
                        </a:lnSpc>
                      </a:pPr>
                      <a:r>
                        <a:rPr lang="ko-KR" altLang="en-US" sz="1400" b="1" spc="-10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보험료 세무처리</a:t>
                      </a:r>
                      <a:endParaRPr lang="en-US" sz="1400" b="1" spc="-100" baseline="0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7575150"/>
                  </a:ext>
                </a:extLst>
              </a:tr>
              <a:tr h="556292">
                <a:tc>
                  <a:txBody>
                    <a:bodyPr/>
                    <a:lstStyle/>
                    <a:p>
                      <a:pPr marL="0" algn="ctr">
                        <a:lnSpc>
                          <a:spcPct val="120000"/>
                        </a:lnSpc>
                      </a:pPr>
                      <a:r>
                        <a:rPr lang="ko-KR" altLang="en-US" sz="1400" b="1" spc="-10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이자소득세 비과세</a:t>
                      </a:r>
                      <a:endParaRPr lang="en-US" sz="1400" b="1" spc="-100" baseline="0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7779668"/>
                  </a:ext>
                </a:extLst>
              </a:tr>
            </a:tbl>
          </a:graphicData>
        </a:graphic>
      </p:graphicFrame>
      <p:graphicFrame>
        <p:nvGraphicFramePr>
          <p:cNvPr id="11" name="표 10"/>
          <p:cNvGraphicFramePr>
            <a:graphicFrameLocks noGrp="1"/>
          </p:cNvGraphicFramePr>
          <p:nvPr>
            <p:extLst/>
          </p:nvPr>
        </p:nvGraphicFramePr>
        <p:xfrm>
          <a:off x="1676311" y="2927335"/>
          <a:ext cx="2748692" cy="3337752"/>
        </p:xfrm>
        <a:graphic>
          <a:graphicData uri="http://schemas.openxmlformats.org/drawingml/2006/table">
            <a:tbl>
              <a:tblPr/>
              <a:tblGrid>
                <a:gridCol w="2748692">
                  <a:extLst>
                    <a:ext uri="{9D8B030D-6E8A-4147-A177-3AD203B41FA5}">
                      <a16:colId xmlns:a16="http://schemas.microsoft.com/office/drawing/2014/main" val="3456140859"/>
                    </a:ext>
                  </a:extLst>
                </a:gridCol>
              </a:tblGrid>
              <a:tr h="556292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퇴직금 마련</a:t>
                      </a:r>
                    </a:p>
                  </a:txBody>
                  <a:tcPr marL="50792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4801208"/>
                  </a:ext>
                </a:extLst>
              </a:tr>
              <a:tr h="556292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(</a:t>
                      </a:r>
                      <a:r>
                        <a:rPr kumimoji="1" lang="ko-KR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해지</a:t>
                      </a:r>
                      <a:r>
                        <a:rPr kumimoji="1" lang="en-US" altLang="ko-K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)</a:t>
                      </a:r>
                      <a:r>
                        <a:rPr kumimoji="1" lang="ko-KR" alt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일시금</a:t>
                      </a:r>
                      <a:r>
                        <a:rPr kumimoji="1" lang="en-US" altLang="ko-K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kumimoji="1" lang="ko-KR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연금</a:t>
                      </a:r>
                    </a:p>
                  </a:txBody>
                  <a:tcPr marL="50792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3499372"/>
                  </a:ext>
                </a:extLst>
              </a:tr>
              <a:tr h="556292">
                <a:tc>
                  <a:txBody>
                    <a:bodyPr/>
                    <a:lstStyle/>
                    <a:p>
                      <a:pPr marL="0" algn="r">
                        <a:lnSpc>
                          <a:spcPct val="120000"/>
                        </a:lnSpc>
                      </a:pPr>
                      <a:r>
                        <a:rPr lang="ko-KR" altLang="en-US" sz="1400" b="1" spc="0" baseline="0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거의 없음</a:t>
                      </a:r>
                      <a:endParaRPr lang="en-US" sz="1400" b="1" spc="0" baseline="0" dirty="0">
                        <a:solidFill>
                          <a:schemeClr val="bg1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50792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9938476"/>
                  </a:ext>
                </a:extLst>
              </a:tr>
              <a:tr h="556292">
                <a:tc>
                  <a:txBody>
                    <a:bodyPr/>
                    <a:lstStyle/>
                    <a:p>
                      <a:pPr marL="0" algn="r">
                        <a:lnSpc>
                          <a:spcPct val="120000"/>
                        </a:lnSpc>
                      </a:pPr>
                      <a:r>
                        <a:rPr lang="ko-KR" altLang="en-US" sz="1400" b="1" spc="0" baseline="0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지속적으로 증가</a:t>
                      </a:r>
                      <a:endParaRPr lang="en-US" sz="1400" b="1" spc="0" baseline="0" dirty="0">
                        <a:solidFill>
                          <a:schemeClr val="bg1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50792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7187676"/>
                  </a:ext>
                </a:extLst>
              </a:tr>
              <a:tr h="556292">
                <a:tc>
                  <a:txBody>
                    <a:bodyPr/>
                    <a:lstStyle/>
                    <a:p>
                      <a:pPr marL="0" algn="r">
                        <a:lnSpc>
                          <a:spcPct val="120000"/>
                        </a:lnSpc>
                      </a:pPr>
                      <a:r>
                        <a:rPr lang="ko-KR" altLang="en-US" sz="1400" b="1" spc="0" baseline="0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거의 대부분 자산 처리</a:t>
                      </a:r>
                      <a:endParaRPr lang="en-US" sz="1400" b="1" spc="0" baseline="0" dirty="0">
                        <a:solidFill>
                          <a:schemeClr val="bg1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50792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9904073"/>
                  </a:ext>
                </a:extLst>
              </a:tr>
              <a:tr h="556292">
                <a:tc>
                  <a:txBody>
                    <a:bodyPr/>
                    <a:lstStyle/>
                    <a:p>
                      <a:pPr marL="0" indent="0" algn="r">
                        <a:lnSpc>
                          <a:spcPct val="120000"/>
                        </a:lnSpc>
                        <a:buFontTx/>
                        <a:buNone/>
                      </a:pPr>
                      <a:r>
                        <a:rPr lang="ko-KR" altLang="en-US" sz="1400" b="1" spc="0" baseline="0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개인 </a:t>
                      </a:r>
                      <a:r>
                        <a:rPr lang="ko-KR" altLang="en-US" sz="1400" b="1" spc="0" baseline="0" dirty="0" err="1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월납</a:t>
                      </a:r>
                      <a:r>
                        <a:rPr lang="ko-KR" altLang="en-US" sz="1400" b="1" spc="0" baseline="0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 한도</a:t>
                      </a:r>
                      <a:r>
                        <a:rPr lang="en-US" altLang="ko-KR" sz="1400" b="1" spc="0" baseline="0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(1</a:t>
                      </a:r>
                      <a:r>
                        <a:rPr lang="ko-KR" altLang="en-US" sz="1400" b="1" spc="0" baseline="0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인당 </a:t>
                      </a:r>
                      <a:r>
                        <a:rPr lang="en-US" altLang="ko-KR" sz="1400" b="1" spc="0" baseline="0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150</a:t>
                      </a:r>
                      <a:r>
                        <a:rPr lang="ko-KR" altLang="en-US" sz="1400" b="1" spc="0" baseline="0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만원</a:t>
                      </a:r>
                      <a:r>
                        <a:rPr lang="en-US" altLang="ko-KR" sz="1400" b="1" spc="0" baseline="0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)</a:t>
                      </a:r>
                      <a:endParaRPr lang="en-US" sz="1400" b="1" spc="0" baseline="0" dirty="0">
                        <a:solidFill>
                          <a:schemeClr val="bg1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50792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7638740"/>
                  </a:ext>
                </a:extLst>
              </a:tr>
            </a:tbl>
          </a:graphicData>
        </a:graphic>
      </p:graphicFrame>
      <p:graphicFrame>
        <p:nvGraphicFramePr>
          <p:cNvPr id="12" name="표 11"/>
          <p:cNvGraphicFramePr>
            <a:graphicFrameLocks noGrp="1"/>
          </p:cNvGraphicFramePr>
          <p:nvPr>
            <p:extLst/>
          </p:nvPr>
        </p:nvGraphicFramePr>
        <p:xfrm>
          <a:off x="6148890" y="2937495"/>
          <a:ext cx="2695470" cy="3337752"/>
        </p:xfrm>
        <a:graphic>
          <a:graphicData uri="http://schemas.openxmlformats.org/drawingml/2006/table">
            <a:tbl>
              <a:tblPr/>
              <a:tblGrid>
                <a:gridCol w="2695470">
                  <a:extLst>
                    <a:ext uri="{9D8B030D-6E8A-4147-A177-3AD203B41FA5}">
                      <a16:colId xmlns:a16="http://schemas.microsoft.com/office/drawing/2014/main" val="3456140859"/>
                    </a:ext>
                  </a:extLst>
                </a:gridCol>
              </a:tblGrid>
              <a:tr h="55629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4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퇴직금 및 유족보상금 마련</a:t>
                      </a:r>
                    </a:p>
                  </a:txBody>
                  <a:tcPr marL="50792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4801208"/>
                  </a:ext>
                </a:extLst>
              </a:tr>
              <a:tr h="55629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4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(</a:t>
                      </a:r>
                      <a:r>
                        <a:rPr kumimoji="1" lang="ko-KR" altLang="en-US" sz="14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해지</a:t>
                      </a:r>
                      <a:r>
                        <a:rPr kumimoji="1" lang="en-US" altLang="ko-KR" sz="14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)</a:t>
                      </a:r>
                      <a:r>
                        <a:rPr kumimoji="1" lang="ko-KR" altLang="en-US" sz="1400" b="1" i="0" u="none" strike="noStrike" cap="none" spc="0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일시금</a:t>
                      </a:r>
                      <a:r>
                        <a:rPr kumimoji="1" lang="en-US" altLang="ko-KR" sz="14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,</a:t>
                      </a:r>
                      <a:r>
                        <a:rPr kumimoji="1" lang="ko-KR" altLang="en-US" sz="14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 연금</a:t>
                      </a:r>
                      <a:r>
                        <a:rPr kumimoji="1" lang="en-US" altLang="ko-KR" sz="14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kumimoji="1" lang="ko-KR" altLang="en-US" sz="14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사망보험금</a:t>
                      </a:r>
                    </a:p>
                  </a:txBody>
                  <a:tcPr marL="50792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3499372"/>
                  </a:ext>
                </a:extLst>
              </a:tr>
              <a:tr h="556292">
                <a:tc>
                  <a:txBody>
                    <a:bodyPr/>
                    <a:lstStyle/>
                    <a:p>
                      <a:pPr marL="0" algn="l">
                        <a:lnSpc>
                          <a:spcPct val="120000"/>
                        </a:lnSpc>
                      </a:pPr>
                      <a:r>
                        <a:rPr lang="ko-KR" altLang="en-US" sz="1400" b="1" spc="0" baseline="0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고액의 사망보험금</a:t>
                      </a:r>
                      <a:endParaRPr lang="en-US" sz="1400" b="1" spc="0" baseline="0" dirty="0">
                        <a:solidFill>
                          <a:schemeClr val="bg1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50792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9938476"/>
                  </a:ext>
                </a:extLst>
              </a:tr>
              <a:tr h="556292">
                <a:tc>
                  <a:txBody>
                    <a:bodyPr/>
                    <a:lstStyle/>
                    <a:p>
                      <a:pPr marL="0" algn="l">
                        <a:lnSpc>
                          <a:spcPct val="120000"/>
                        </a:lnSpc>
                      </a:pPr>
                      <a:r>
                        <a:rPr lang="ko-KR" altLang="en-US" sz="1400" b="1" spc="0" baseline="0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지속적으로 증가</a:t>
                      </a:r>
                      <a:endParaRPr lang="en-US" sz="1400" b="1" spc="0" baseline="0" dirty="0">
                        <a:solidFill>
                          <a:schemeClr val="bg1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50792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7187676"/>
                  </a:ext>
                </a:extLst>
              </a:tr>
              <a:tr h="556292">
                <a:tc>
                  <a:txBody>
                    <a:bodyPr/>
                    <a:lstStyle/>
                    <a:p>
                      <a:pPr marL="0" algn="l">
                        <a:lnSpc>
                          <a:spcPct val="120000"/>
                        </a:lnSpc>
                      </a:pPr>
                      <a:r>
                        <a:rPr lang="ko-KR" altLang="en-US" sz="1400" b="1" spc="0" baseline="0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일부 </a:t>
                      </a:r>
                      <a:r>
                        <a:rPr lang="ko-KR" altLang="en-US" sz="1400" b="1" spc="0" baseline="0" dirty="0" err="1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손비</a:t>
                      </a:r>
                      <a:r>
                        <a:rPr lang="ko-KR" altLang="en-US" sz="1400" b="1" spc="0" baseline="0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 처리</a:t>
                      </a:r>
                      <a:endParaRPr lang="en-US" altLang="ko-KR" sz="1400" b="1" spc="0" baseline="0" dirty="0" smtClean="0">
                        <a:solidFill>
                          <a:schemeClr val="bg1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50792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9904073"/>
                  </a:ext>
                </a:extLst>
              </a:tr>
              <a:tr h="55629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20000"/>
                        </a:lnSpc>
                        <a:buFontTx/>
                        <a:buNone/>
                      </a:pPr>
                      <a:r>
                        <a:rPr lang="ko-KR" altLang="en-US" sz="1400" b="1" spc="-100" baseline="0" dirty="0" err="1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월납</a:t>
                      </a:r>
                      <a:r>
                        <a:rPr lang="ko-KR" altLang="en-US" sz="1400" b="1" spc="-100" baseline="0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 한도 없음</a:t>
                      </a:r>
                      <a:r>
                        <a:rPr lang="en-US" altLang="ko-KR" sz="1400" b="1" spc="-100" baseline="0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(5</a:t>
                      </a:r>
                      <a:r>
                        <a:rPr lang="ko-KR" altLang="en-US" sz="1400" b="1" spc="-100" baseline="0" dirty="0" err="1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년납</a:t>
                      </a:r>
                      <a:r>
                        <a:rPr lang="ko-KR" altLang="en-US" sz="1400" b="1" spc="-100" baseline="0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 </a:t>
                      </a:r>
                      <a:r>
                        <a:rPr lang="en-US" altLang="ko-KR" sz="1400" b="1" spc="-100" baseline="0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10</a:t>
                      </a:r>
                      <a:r>
                        <a:rPr lang="ko-KR" altLang="en-US" sz="1400" b="1" spc="-100" baseline="0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년 이상 유지</a:t>
                      </a:r>
                      <a:r>
                        <a:rPr lang="en-US" altLang="ko-KR" sz="1400" b="1" spc="-100" baseline="0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)</a:t>
                      </a:r>
                    </a:p>
                  </a:txBody>
                  <a:tcPr marL="50792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7638740"/>
                  </a:ext>
                </a:extLst>
              </a:tr>
            </a:tbl>
          </a:graphicData>
        </a:graphic>
      </p:graphicFrame>
      <p:sp>
        <p:nvSpPr>
          <p:cNvPr id="13" name="직사각형 12"/>
          <p:cNvSpPr/>
          <p:nvPr/>
        </p:nvSpPr>
        <p:spPr>
          <a:xfrm>
            <a:off x="1661217" y="6522556"/>
            <a:ext cx="7116618" cy="369332"/>
          </a:xfrm>
          <a:prstGeom prst="rect">
            <a:avLst/>
          </a:prstGeom>
          <a:noFill/>
          <a:ln w="3175">
            <a:solidFill>
              <a:schemeClr val="accent1">
                <a:shade val="95000"/>
                <a:satMod val="105000"/>
              </a:schemeClr>
            </a:solidFill>
            <a:prstDash val="sysDash"/>
          </a:ln>
        </p:spPr>
        <p:txBody>
          <a:bodyPr wrap="square">
            <a:spAutoFit/>
          </a:bodyPr>
          <a:lstStyle/>
          <a:p>
            <a:pPr marL="0" marR="0" lvl="0" indent="0" algn="l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※</a:t>
            </a:r>
            <a:r>
              <a:rPr kumimoji="0" lang="ko-KR" alt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0" lang="ko-KR" altLang="en-US" sz="9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손비</a:t>
            </a:r>
            <a:r>
              <a:rPr kumimoji="0" lang="ko-KR" alt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처리와 관련된 내용은 법인세법을 적용하며</a:t>
            </a:r>
            <a:r>
              <a:rPr kumimoji="0" lang="en-US" altLang="ko-KR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, </a:t>
            </a:r>
            <a:r>
              <a:rPr kumimoji="0" lang="ko-KR" alt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상품과 관련된 내용 이외 세법 적용과 관련된 내용은 향후 세법개정</a:t>
            </a:r>
            <a:r>
              <a:rPr kumimoji="0" lang="en-US" altLang="ko-KR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, </a:t>
            </a:r>
            <a:r>
              <a:rPr kumimoji="0" lang="ko-KR" alt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과세관청의 해석 등에 따라 달라질 수 있으므로 회계 및 세무처리 방법은 세무전문가와의 상담 하에 진행하시기 바랍니다</a:t>
            </a:r>
            <a:r>
              <a:rPr kumimoji="0" lang="en-US" altLang="ko-KR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.</a:t>
            </a:r>
          </a:p>
        </p:txBody>
      </p:sp>
      <p:sp>
        <p:nvSpPr>
          <p:cNvPr id="14" name="AutoShape 14"/>
          <p:cNvSpPr>
            <a:spLocks noChangeArrowheads="1"/>
          </p:cNvSpPr>
          <p:nvPr/>
        </p:nvSpPr>
        <p:spPr bwMode="auto">
          <a:xfrm>
            <a:off x="237822" y="1073427"/>
            <a:ext cx="4638978" cy="694308"/>
          </a:xfrm>
          <a:prstGeom prst="roundRect">
            <a:avLst>
              <a:gd name="adj" fmla="val 16667"/>
            </a:avLst>
          </a:prstGeom>
          <a:solidFill>
            <a:schemeClr val="accent1">
              <a:lumMod val="50000"/>
            </a:schemeClr>
          </a:solidFill>
          <a:ln w="9525" algn="ctr">
            <a:noFill/>
            <a:round/>
            <a:headEnd/>
            <a:tailEnd/>
          </a:ln>
          <a:effectLst>
            <a:prstShdw prst="shdw17" dist="17961" dir="2700000">
              <a:srgbClr val="70892B"/>
            </a:prstShdw>
          </a:effectLst>
        </p:spPr>
        <p:txBody>
          <a:bodyPr wrap="none" lIns="0" tIns="0" rIns="0" bIns="0" anchor="ctr" anchorCtr="1"/>
          <a:lstStyle/>
          <a:p>
            <a:pPr marL="0" marR="0" lvl="0" indent="0" algn="l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-30" normalizeH="0" baseline="0" noProof="0" dirty="0" smtClean="0">
                <a:ln w="0">
                  <a:solidFill>
                    <a:srgbClr val="A7A9AC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‘</a:t>
            </a:r>
            <a:r>
              <a:rPr kumimoji="0" lang="ko-KR" altLang="en-US" sz="1800" b="1" i="0" u="none" strike="noStrike" kern="1200" cap="none" spc="-30" normalizeH="0" baseline="0" noProof="0" dirty="0" smtClean="0">
                <a:ln w="0">
                  <a:solidFill>
                    <a:srgbClr val="A7A9AC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노후연금</a:t>
            </a:r>
            <a:r>
              <a:rPr kumimoji="0" lang="en-US" altLang="ko-KR" sz="1800" b="1" i="0" u="none" strike="noStrike" kern="1200" cap="none" spc="-30" normalizeH="0" baseline="0" noProof="0" dirty="0">
                <a:ln w="0">
                  <a:solidFill>
                    <a:srgbClr val="A7A9AC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’</a:t>
            </a:r>
            <a:r>
              <a:rPr kumimoji="0" lang="ko-KR" altLang="en-US" sz="1800" b="1" i="0" u="none" strike="noStrike" kern="1200" cap="none" spc="-30" normalizeH="0" baseline="0" noProof="0" dirty="0">
                <a:ln w="0">
                  <a:solidFill>
                    <a:srgbClr val="A7A9AC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만을 생각한다면 연금보험을</a:t>
            </a:r>
            <a:r>
              <a:rPr kumimoji="0" lang="en-US" altLang="ko-KR" sz="1800" b="1" i="0" u="none" strike="noStrike" kern="1200" cap="none" spc="-30" normalizeH="0" baseline="0" noProof="0" dirty="0">
                <a:ln w="0">
                  <a:solidFill>
                    <a:srgbClr val="A7A9AC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, </a:t>
            </a:r>
            <a:endParaRPr kumimoji="0" lang="en-US" altLang="ko-KR" sz="1800" b="1" i="0" u="none" strike="noStrike" kern="1200" cap="none" spc="-30" normalizeH="0" baseline="0" noProof="0" dirty="0" smtClean="0">
              <a:ln w="0">
                <a:solidFill>
                  <a:srgbClr val="A7A9AC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  <a:p>
            <a:pPr marL="0" marR="0" lvl="0" indent="0" algn="l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1" i="0" u="none" strike="noStrike" kern="1200" cap="none" spc="-30" normalizeH="0" baseline="0" noProof="0" dirty="0" smtClean="0">
                <a:ln w="0">
                  <a:solidFill>
                    <a:srgbClr val="A7A9AC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‘</a:t>
            </a:r>
            <a:r>
              <a:rPr kumimoji="0" lang="ko-KR" altLang="en-US" sz="1800" b="1" i="0" u="none" strike="noStrike" kern="1200" cap="none" spc="-30" normalizeH="0" baseline="0" noProof="0" dirty="0">
                <a:ln w="0">
                  <a:solidFill>
                    <a:srgbClr val="A7A9AC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사망보험금</a:t>
            </a:r>
            <a:r>
              <a:rPr kumimoji="0" lang="en-US" altLang="ko-KR" sz="1800" b="1" i="0" u="none" strike="noStrike" kern="1200" cap="none" spc="-30" normalizeH="0" baseline="0" noProof="0" dirty="0">
                <a:ln w="0">
                  <a:solidFill>
                    <a:srgbClr val="A7A9AC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’</a:t>
            </a:r>
            <a:r>
              <a:rPr kumimoji="0" lang="ko-KR" altLang="en-US" sz="1800" b="1" i="0" u="none" strike="noStrike" kern="1200" cap="none" spc="-30" normalizeH="0" baseline="0" noProof="0" dirty="0">
                <a:ln w="0">
                  <a:solidFill>
                    <a:srgbClr val="A7A9AC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까지 생각한다면 종신보험을</a:t>
            </a:r>
            <a:r>
              <a:rPr kumimoji="0" lang="en-US" altLang="ko-KR" sz="1800" b="1" i="0" u="none" strike="noStrike" kern="1200" cap="none" spc="-30" normalizeH="0" baseline="0" noProof="0" dirty="0">
                <a:ln w="0">
                  <a:solidFill>
                    <a:srgbClr val="A7A9AC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!</a:t>
            </a:r>
            <a:endParaRPr kumimoji="0" lang="ko-KR" altLang="en-US" sz="1800" b="1" i="0" u="none" strike="noStrike" kern="1200" cap="none" spc="-30" normalizeH="0" baseline="0" noProof="0" dirty="0">
              <a:ln w="0">
                <a:solidFill>
                  <a:srgbClr val="A7A9AC">
                    <a:alpha val="0"/>
                  </a:srgbClr>
                </a:solidFill>
              </a:ln>
              <a:solidFill>
                <a:prstClr val="white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3202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 marL="0" marR="0" lvl="0" indent="0" algn="r" defTabSz="77873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47D207-944B-4363-884F-A02296F6E654}" type="slidenum">
              <a:rPr kumimoji="0" lang="ko-KR" altLang="en-US" sz="1022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778733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ko-KR" altLang="en-US" sz="1022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" name="AutoShape 3"/>
          <p:cNvSpPr>
            <a:spLocks noChangeArrowheads="1"/>
          </p:cNvSpPr>
          <p:nvPr/>
        </p:nvSpPr>
        <p:spPr bwMode="gray">
          <a:xfrm>
            <a:off x="2444789" y="2083418"/>
            <a:ext cx="1733973" cy="515421"/>
          </a:xfrm>
          <a:prstGeom prst="roundRect">
            <a:avLst>
              <a:gd name="adj" fmla="val 10347"/>
            </a:avLst>
          </a:prstGeom>
          <a:gradFill rotWithShape="1">
            <a:gsLst>
              <a:gs pos="0">
                <a:srgbClr val="CCECFF"/>
              </a:gs>
              <a:gs pos="100000">
                <a:srgbClr val="FFFFFF"/>
              </a:gs>
            </a:gsLst>
            <a:lin ang="18900000" scaled="1"/>
          </a:gradFill>
          <a:ln w="50800">
            <a:solidFill>
              <a:schemeClr val="accent2">
                <a:lumMod val="60000"/>
                <a:lumOff val="40000"/>
              </a:schemeClr>
            </a:solidFill>
            <a:round/>
            <a:headEnd/>
            <a:tailEnd/>
          </a:ln>
          <a:effectLst>
            <a:outerShdw dist="107763" dir="2700000" algn="ctr" rotWithShape="0">
              <a:srgbClr val="C0C0C0">
                <a:alpha val="50000"/>
              </a:srgbClr>
            </a:outerShdw>
          </a:effectLst>
        </p:spPr>
        <p:txBody>
          <a:bodyPr wrap="none" tIns="36000" bIns="0" anchor="ctr"/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984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경영인정기보험</a:t>
            </a:r>
            <a:endParaRPr kumimoji="0" lang="ko-KR" altLang="en-US" sz="1984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4" name="AutoShape 3"/>
          <p:cNvSpPr>
            <a:spLocks noChangeArrowheads="1"/>
          </p:cNvSpPr>
          <p:nvPr/>
        </p:nvSpPr>
        <p:spPr bwMode="gray">
          <a:xfrm>
            <a:off x="6532342" y="2100985"/>
            <a:ext cx="1733973" cy="515421"/>
          </a:xfrm>
          <a:prstGeom prst="roundRect">
            <a:avLst>
              <a:gd name="adj" fmla="val 10347"/>
            </a:avLst>
          </a:prstGeom>
          <a:gradFill rotWithShape="1">
            <a:gsLst>
              <a:gs pos="0">
                <a:srgbClr val="CCECFF"/>
              </a:gs>
              <a:gs pos="100000">
                <a:srgbClr val="FFFFFF"/>
              </a:gs>
            </a:gsLst>
            <a:lin ang="18900000" scaled="1"/>
          </a:gradFill>
          <a:ln w="50800">
            <a:solidFill>
              <a:schemeClr val="accent6">
                <a:lumMod val="60000"/>
                <a:lumOff val="40000"/>
              </a:schemeClr>
            </a:solidFill>
            <a:round/>
            <a:headEnd/>
            <a:tailEnd/>
          </a:ln>
          <a:effectLst>
            <a:outerShdw dist="107763" dir="2700000" algn="ctr" rotWithShape="0">
              <a:srgbClr val="C0C0C0">
                <a:alpha val="50000"/>
              </a:srgbClr>
            </a:outerShdw>
          </a:effectLst>
        </p:spPr>
        <p:txBody>
          <a:bodyPr wrap="none" tIns="36000" bIns="0" anchor="ctr"/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984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종신보험</a:t>
            </a:r>
            <a:endParaRPr kumimoji="0" lang="ko-KR" altLang="en-US" sz="1984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  <a:cs typeface="+mn-cs"/>
            </a:endParaRPr>
          </a:p>
        </p:txBody>
      </p:sp>
      <p:sp>
        <p:nvSpPr>
          <p:cNvPr id="5" name="Freeform 5"/>
          <p:cNvSpPr>
            <a:spLocks/>
          </p:cNvSpPr>
          <p:nvPr/>
        </p:nvSpPr>
        <p:spPr bwMode="gray">
          <a:xfrm rot="10800000">
            <a:off x="7982353" y="2724806"/>
            <a:ext cx="1016000" cy="1155700"/>
          </a:xfrm>
          <a:custGeom>
            <a:avLst/>
            <a:gdLst>
              <a:gd name="T0" fmla="*/ 88 w 1104"/>
              <a:gd name="T1" fmla="*/ 1160 h 1256"/>
              <a:gd name="T2" fmla="*/ 88 w 1104"/>
              <a:gd name="T3" fmla="*/ 0 h 1256"/>
              <a:gd name="T4" fmla="*/ 0 w 1104"/>
              <a:gd name="T5" fmla="*/ 0 h 1256"/>
              <a:gd name="T6" fmla="*/ 0 w 1104"/>
              <a:gd name="T7" fmla="*/ 1256 h 1256"/>
              <a:gd name="T8" fmla="*/ 1104 w 1104"/>
              <a:gd name="T9" fmla="*/ 1256 h 1256"/>
              <a:gd name="T10" fmla="*/ 1104 w 1104"/>
              <a:gd name="T11" fmla="*/ 1160 h 1256"/>
              <a:gd name="T12" fmla="*/ 88 w 1104"/>
              <a:gd name="T13" fmla="*/ 1160 h 125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04"/>
              <a:gd name="T22" fmla="*/ 0 h 1256"/>
              <a:gd name="T23" fmla="*/ 1104 w 1104"/>
              <a:gd name="T24" fmla="*/ 1256 h 125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04" h="1256">
                <a:moveTo>
                  <a:pt x="88" y="1160"/>
                </a:moveTo>
                <a:lnTo>
                  <a:pt x="88" y="0"/>
                </a:lnTo>
                <a:lnTo>
                  <a:pt x="0" y="0"/>
                </a:lnTo>
                <a:lnTo>
                  <a:pt x="0" y="1256"/>
                </a:lnTo>
                <a:lnTo>
                  <a:pt x="1104" y="1256"/>
                </a:lnTo>
                <a:lnTo>
                  <a:pt x="1104" y="1160"/>
                </a:lnTo>
                <a:lnTo>
                  <a:pt x="88" y="1160"/>
                </a:lnTo>
                <a:close/>
              </a:path>
            </a:pathLst>
          </a:custGeom>
          <a:gradFill rotWithShape="1">
            <a:gsLst>
              <a:gs pos="0">
                <a:srgbClr val="33CCCC"/>
              </a:gs>
              <a:gs pos="50000">
                <a:srgbClr val="D4F4F4"/>
              </a:gs>
              <a:gs pos="100000">
                <a:srgbClr val="33CCCC"/>
              </a:gs>
            </a:gsLst>
            <a:lin ang="0" scaled="1"/>
          </a:gra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l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84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gray">
          <a:xfrm>
            <a:off x="6097341" y="2816881"/>
            <a:ext cx="2807176" cy="3450655"/>
          </a:xfrm>
          <a:prstGeom prst="rect">
            <a:avLst/>
          </a:prstGeom>
          <a:gradFill rotWithShape="1">
            <a:gsLst>
              <a:gs pos="0">
                <a:srgbClr val="009999">
                  <a:gamma/>
                  <a:shade val="46275"/>
                  <a:invGamma/>
                </a:srgbClr>
              </a:gs>
              <a:gs pos="50000">
                <a:srgbClr val="009999"/>
              </a:gs>
              <a:gs pos="100000">
                <a:srgbClr val="009999">
                  <a:gamma/>
                  <a:shade val="46275"/>
                  <a:invGamma/>
                </a:srgbClr>
              </a:gs>
            </a:gsLst>
            <a:lin ang="2700000" scaled="1"/>
          </a:gradFill>
          <a:ln w="9525">
            <a:solidFill>
              <a:srgbClr val="FFFFFF"/>
            </a:solidFill>
            <a:miter lim="800000"/>
            <a:headEnd/>
            <a:tailEnd/>
          </a:ln>
          <a:effectLst>
            <a:outerShdw dist="107763" dir="8100000" algn="ctr" rotWithShape="0">
              <a:srgbClr val="000000">
                <a:alpha val="50000"/>
              </a:srgbClr>
            </a:outerShdw>
          </a:effectLst>
        </p:spPr>
        <p:txBody>
          <a:bodyPr anchor="ctr"/>
          <a:lstStyle/>
          <a:p>
            <a:pPr marL="0" marR="0" lvl="0" indent="0" algn="l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굴림" charset="-127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7" name="Freeform 4"/>
          <p:cNvSpPr>
            <a:spLocks/>
          </p:cNvSpPr>
          <p:nvPr/>
        </p:nvSpPr>
        <p:spPr bwMode="gray">
          <a:xfrm>
            <a:off x="1761937" y="5307165"/>
            <a:ext cx="1016000" cy="1155700"/>
          </a:xfrm>
          <a:custGeom>
            <a:avLst/>
            <a:gdLst>
              <a:gd name="T0" fmla="*/ 88 w 1104"/>
              <a:gd name="T1" fmla="*/ 1160 h 1256"/>
              <a:gd name="T2" fmla="*/ 88 w 1104"/>
              <a:gd name="T3" fmla="*/ 0 h 1256"/>
              <a:gd name="T4" fmla="*/ 0 w 1104"/>
              <a:gd name="T5" fmla="*/ 0 h 1256"/>
              <a:gd name="T6" fmla="*/ 0 w 1104"/>
              <a:gd name="T7" fmla="*/ 1256 h 1256"/>
              <a:gd name="T8" fmla="*/ 1104 w 1104"/>
              <a:gd name="T9" fmla="*/ 1256 h 1256"/>
              <a:gd name="T10" fmla="*/ 1104 w 1104"/>
              <a:gd name="T11" fmla="*/ 1160 h 1256"/>
              <a:gd name="T12" fmla="*/ 88 w 1104"/>
              <a:gd name="T13" fmla="*/ 1160 h 125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04"/>
              <a:gd name="T22" fmla="*/ 0 h 1256"/>
              <a:gd name="T23" fmla="*/ 1104 w 1104"/>
              <a:gd name="T24" fmla="*/ 1256 h 125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04" h="1256">
                <a:moveTo>
                  <a:pt x="88" y="1160"/>
                </a:moveTo>
                <a:lnTo>
                  <a:pt x="88" y="0"/>
                </a:lnTo>
                <a:lnTo>
                  <a:pt x="0" y="0"/>
                </a:lnTo>
                <a:lnTo>
                  <a:pt x="0" y="1256"/>
                </a:lnTo>
                <a:lnTo>
                  <a:pt x="1104" y="1256"/>
                </a:lnTo>
                <a:lnTo>
                  <a:pt x="1104" y="1160"/>
                </a:lnTo>
                <a:lnTo>
                  <a:pt x="88" y="1160"/>
                </a:lnTo>
                <a:close/>
              </a:path>
            </a:pathLst>
          </a:custGeom>
          <a:gradFill rotWithShape="1">
            <a:gsLst>
              <a:gs pos="0">
                <a:schemeClr val="accent2">
                  <a:lumMod val="50000"/>
                </a:schemeClr>
              </a:gs>
              <a:gs pos="50000">
                <a:schemeClr val="accent2">
                  <a:lumMod val="60000"/>
                  <a:lumOff val="40000"/>
                </a:schemeClr>
              </a:gs>
              <a:gs pos="100000">
                <a:schemeClr val="accent2">
                  <a:lumMod val="50000"/>
                </a:schemeClr>
              </a:gs>
            </a:gsLst>
            <a:lin ang="0" scaled="1"/>
          </a:gra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pPr marL="0" marR="0" lvl="0" indent="0" algn="l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84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gray">
          <a:xfrm>
            <a:off x="1927945" y="2827041"/>
            <a:ext cx="2767662" cy="3450655"/>
          </a:xfrm>
          <a:prstGeom prst="rect">
            <a:avLst/>
          </a:prstGeom>
          <a:gradFill rotWithShape="1">
            <a:gsLst>
              <a:gs pos="0">
                <a:schemeClr val="accent2">
                  <a:lumMod val="50000"/>
                </a:schemeClr>
              </a:gs>
              <a:gs pos="50000">
                <a:schemeClr val="accent2">
                  <a:lumMod val="100000"/>
                </a:schemeClr>
              </a:gs>
              <a:gs pos="100000">
                <a:schemeClr val="accent2">
                  <a:lumMod val="50000"/>
                </a:schemeClr>
              </a:gs>
            </a:gsLst>
            <a:lin ang="2700000" scaled="1"/>
          </a:gradFill>
          <a:ln w="9525">
            <a:solidFill>
              <a:srgbClr val="FFFFFF"/>
            </a:solidFill>
            <a:miter lim="800000"/>
            <a:headEnd/>
            <a:tailEnd/>
          </a:ln>
          <a:effectLst>
            <a:outerShdw dist="107763" dir="8100000" algn="ctr" rotWithShape="0">
              <a:srgbClr val="000000">
                <a:alpha val="50000"/>
              </a:srgbClr>
            </a:outerShdw>
          </a:effectLst>
        </p:spPr>
        <p:txBody>
          <a:bodyPr anchor="ctr"/>
          <a:lstStyle/>
          <a:p>
            <a:pPr marL="0" marR="0" lvl="0" indent="0" algn="l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굴림" charset="-127"/>
              <a:ea typeface="맑은 고딕" panose="020B0503020000020004" pitchFamily="50" charset="-127"/>
              <a:cs typeface="+mn-cs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/>
          </p:nvPr>
        </p:nvGraphicFramePr>
        <p:xfrm>
          <a:off x="4687924" y="3051164"/>
          <a:ext cx="1371600" cy="3221183"/>
        </p:xfrm>
        <a:graphic>
          <a:graphicData uri="http://schemas.openxmlformats.org/drawingml/2006/table">
            <a:tbl>
              <a:tblPr/>
              <a:tblGrid>
                <a:gridCol w="1371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60169">
                <a:tc>
                  <a:txBody>
                    <a:bodyPr/>
                    <a:lstStyle/>
                    <a:p>
                      <a:pPr marL="0" algn="ctr">
                        <a:lnSpc>
                          <a:spcPct val="120000"/>
                        </a:lnSpc>
                      </a:pPr>
                      <a:r>
                        <a:rPr lang="ko-KR" altLang="en-US" sz="1400" b="1" spc="-10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가입 목적</a:t>
                      </a:r>
                      <a:endParaRPr lang="en-US" sz="1400" b="1" spc="-100" baseline="0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4641187"/>
                  </a:ext>
                </a:extLst>
              </a:tr>
              <a:tr h="460169">
                <a:tc>
                  <a:txBody>
                    <a:bodyPr/>
                    <a:lstStyle/>
                    <a:p>
                      <a:pPr marL="0" algn="ctr">
                        <a:lnSpc>
                          <a:spcPct val="120000"/>
                        </a:lnSpc>
                      </a:pPr>
                      <a:r>
                        <a:rPr lang="ko-KR" altLang="en-US" sz="1400" b="1" spc="-10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활용 방안</a:t>
                      </a:r>
                      <a:endParaRPr lang="en-US" sz="1400" b="1" spc="-100" baseline="0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29737616"/>
                  </a:ext>
                </a:extLst>
              </a:tr>
              <a:tr h="460169">
                <a:tc>
                  <a:txBody>
                    <a:bodyPr/>
                    <a:lstStyle/>
                    <a:p>
                      <a:pPr marL="0" algn="ctr">
                        <a:lnSpc>
                          <a:spcPct val="120000"/>
                        </a:lnSpc>
                      </a:pPr>
                      <a:r>
                        <a:rPr lang="ko-KR" altLang="en-US" sz="1400" b="1" spc="-10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보험기간</a:t>
                      </a:r>
                      <a:endParaRPr lang="en-US" sz="1400" b="1" spc="-100" baseline="0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8602619"/>
                  </a:ext>
                </a:extLst>
              </a:tr>
              <a:tr h="460169">
                <a:tc>
                  <a:txBody>
                    <a:bodyPr/>
                    <a:lstStyle/>
                    <a:p>
                      <a:pPr marL="0" algn="ctr">
                        <a:lnSpc>
                          <a:spcPct val="120000"/>
                        </a:lnSpc>
                      </a:pPr>
                      <a:r>
                        <a:rPr lang="ko-KR" altLang="en-US" sz="1400" b="1" spc="-10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생활자금 전환</a:t>
                      </a:r>
                      <a:endParaRPr lang="en-US" sz="1400" b="1" spc="-100" baseline="0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8463823"/>
                  </a:ext>
                </a:extLst>
              </a:tr>
              <a:tr h="460169">
                <a:tc>
                  <a:txBody>
                    <a:bodyPr/>
                    <a:lstStyle/>
                    <a:p>
                      <a:pPr marL="0" marR="0" indent="0" algn="ctr" defTabSz="1007943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400" b="1" spc="-10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납입기간</a:t>
                      </a:r>
                      <a:endParaRPr lang="en-US" altLang="ko-KR" sz="1400" b="1" spc="-100" baseline="0" dirty="0" smtClean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5015094"/>
                  </a:ext>
                </a:extLst>
              </a:tr>
              <a:tr h="460169">
                <a:tc>
                  <a:txBody>
                    <a:bodyPr/>
                    <a:lstStyle/>
                    <a:p>
                      <a:pPr marL="0" algn="ctr">
                        <a:lnSpc>
                          <a:spcPct val="120000"/>
                        </a:lnSpc>
                      </a:pPr>
                      <a:r>
                        <a:rPr lang="ko-KR" altLang="en-US" sz="1400" b="1" spc="-100" baseline="0" dirty="0" err="1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해지환급금</a:t>
                      </a:r>
                      <a:endParaRPr lang="en-US" sz="1400" b="1" spc="-100" baseline="0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8420393"/>
                  </a:ext>
                </a:extLst>
              </a:tr>
              <a:tr h="460169">
                <a:tc>
                  <a:txBody>
                    <a:bodyPr/>
                    <a:lstStyle/>
                    <a:p>
                      <a:pPr marL="0" algn="ctr">
                        <a:lnSpc>
                          <a:spcPct val="120000"/>
                        </a:lnSpc>
                      </a:pPr>
                      <a:r>
                        <a:rPr lang="ko-KR" altLang="en-US" sz="1400" b="1" spc="-100" baseline="0" dirty="0" smtClean="0">
                          <a:solidFill>
                            <a:srgbClr val="000000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보험료 세무처리</a:t>
                      </a:r>
                      <a:endParaRPr lang="en-US" sz="1400" b="1" spc="-100" baseline="0" dirty="0">
                        <a:solidFill>
                          <a:srgbClr val="000000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7779668"/>
                  </a:ext>
                </a:extLst>
              </a:tr>
            </a:tbl>
          </a:graphicData>
        </a:graphic>
      </p:graphicFrame>
      <p:graphicFrame>
        <p:nvGraphicFramePr>
          <p:cNvPr id="10" name="표 9"/>
          <p:cNvGraphicFramePr>
            <a:graphicFrameLocks noGrp="1"/>
          </p:cNvGraphicFramePr>
          <p:nvPr>
            <p:extLst/>
          </p:nvPr>
        </p:nvGraphicFramePr>
        <p:xfrm>
          <a:off x="1927945" y="3036193"/>
          <a:ext cx="2595032" cy="3221183"/>
        </p:xfrm>
        <a:graphic>
          <a:graphicData uri="http://schemas.openxmlformats.org/drawingml/2006/table">
            <a:tbl>
              <a:tblPr/>
              <a:tblGrid>
                <a:gridCol w="2595032">
                  <a:extLst>
                    <a:ext uri="{9D8B030D-6E8A-4147-A177-3AD203B41FA5}">
                      <a16:colId xmlns:a16="http://schemas.microsoft.com/office/drawing/2014/main" val="3456140859"/>
                    </a:ext>
                  </a:extLst>
                </a:gridCol>
              </a:tblGrid>
              <a:tr h="460169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400" b="1" i="0" u="none" strike="noStrike" cap="none" spc="-16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퇴직금 및</a:t>
                      </a:r>
                      <a:r>
                        <a:rPr kumimoji="1" lang="en-US" altLang="ko-KR" sz="1400" b="1" i="0" u="none" strike="noStrike" cap="none" spc="-16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 </a:t>
                      </a:r>
                      <a:r>
                        <a:rPr kumimoji="1" lang="ko-KR" altLang="en-US" sz="1400" b="1" i="0" u="none" strike="noStrike" cap="none" spc="-16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유족보상금 마련</a:t>
                      </a:r>
                      <a:r>
                        <a:rPr kumimoji="1" lang="en-US" altLang="ko-KR" sz="1400" b="1" i="0" u="none" strike="noStrike" cap="none" spc="-16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kumimoji="1" lang="ko-KR" altLang="en-US" sz="1400" b="1" i="0" u="none" strike="noStrike" cap="none" spc="-16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법인세 절감</a:t>
                      </a:r>
                    </a:p>
                  </a:txBody>
                  <a:tcPr marL="50792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4801208"/>
                  </a:ext>
                </a:extLst>
              </a:tr>
              <a:tr h="460169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(</a:t>
                      </a:r>
                      <a:r>
                        <a:rPr kumimoji="1" lang="ko-KR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해지</a:t>
                      </a:r>
                      <a:r>
                        <a:rPr kumimoji="1" lang="en-US" altLang="ko-K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)</a:t>
                      </a:r>
                      <a:r>
                        <a:rPr kumimoji="1" lang="ko-KR" alt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일시금</a:t>
                      </a:r>
                      <a:r>
                        <a:rPr kumimoji="1" lang="en-US" altLang="ko-K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kumimoji="1" lang="ko-KR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연금</a:t>
                      </a:r>
                    </a:p>
                  </a:txBody>
                  <a:tcPr marL="50792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9938476"/>
                  </a:ext>
                </a:extLst>
              </a:tr>
              <a:tr h="460169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90</a:t>
                      </a:r>
                      <a:r>
                        <a:rPr kumimoji="1" lang="ko-KR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세 만기</a:t>
                      </a:r>
                    </a:p>
                  </a:txBody>
                  <a:tcPr marL="50792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2824156"/>
                  </a:ext>
                </a:extLst>
              </a:tr>
              <a:tr h="460169">
                <a:tc>
                  <a:txBody>
                    <a:bodyPr/>
                    <a:lstStyle/>
                    <a:p>
                      <a:pPr marL="0" algn="r">
                        <a:lnSpc>
                          <a:spcPct val="120000"/>
                        </a:lnSpc>
                      </a:pPr>
                      <a:r>
                        <a:rPr lang="ko-KR" altLang="en-US" sz="1400" b="1" spc="0" baseline="0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불가능</a:t>
                      </a:r>
                      <a:endParaRPr lang="en-US" sz="1400" b="1" spc="0" baseline="0" dirty="0">
                        <a:solidFill>
                          <a:schemeClr val="bg1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50792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6596484"/>
                  </a:ext>
                </a:extLst>
              </a:tr>
              <a:tr h="460169">
                <a:tc>
                  <a:txBody>
                    <a:bodyPr/>
                    <a:lstStyle/>
                    <a:p>
                      <a:pPr marL="0" algn="r">
                        <a:lnSpc>
                          <a:spcPct val="120000"/>
                        </a:lnSpc>
                      </a:pPr>
                      <a:r>
                        <a:rPr lang="ko-KR" altLang="en-US" sz="1400" b="1" spc="-100" baseline="0" dirty="0" err="1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전기납</a:t>
                      </a:r>
                      <a:r>
                        <a:rPr lang="en-US" altLang="ko-KR" sz="1400" b="1" spc="-100" baseline="0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(</a:t>
                      </a:r>
                      <a:r>
                        <a:rPr lang="ko-KR" altLang="en-US" sz="1400" b="1" spc="-100" baseline="0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보험료 </a:t>
                      </a:r>
                      <a:r>
                        <a:rPr lang="ko-KR" altLang="en-US" sz="1400" b="1" spc="-100" baseline="0" dirty="0" err="1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손비처리</a:t>
                      </a:r>
                      <a:r>
                        <a:rPr lang="ko-KR" altLang="en-US" sz="1400" b="1" spc="-100" baseline="0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 요건과 연계</a:t>
                      </a:r>
                      <a:r>
                        <a:rPr lang="en-US" altLang="ko-KR" sz="1400" b="1" spc="-100" baseline="0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)</a:t>
                      </a:r>
                      <a:endParaRPr lang="en-US" sz="1400" b="1" spc="-100" baseline="0" dirty="0">
                        <a:solidFill>
                          <a:schemeClr val="bg1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50792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7187676"/>
                  </a:ext>
                </a:extLst>
              </a:tr>
              <a:tr h="460169">
                <a:tc>
                  <a:txBody>
                    <a:bodyPr/>
                    <a:lstStyle/>
                    <a:p>
                      <a:pPr marL="0" algn="r">
                        <a:lnSpc>
                          <a:spcPct val="120000"/>
                        </a:lnSpc>
                      </a:pPr>
                      <a:r>
                        <a:rPr lang="ko-KR" altLang="en-US" sz="1400" b="1" spc="0" baseline="0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지속적 증가 후 하락</a:t>
                      </a:r>
                      <a:r>
                        <a:rPr lang="en-US" altLang="ko-KR" sz="1400" b="1" spc="0" baseline="0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(</a:t>
                      </a:r>
                      <a:r>
                        <a:rPr lang="ko-KR" altLang="en-US" sz="1400" b="1" spc="0" baseline="0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만기 소멸</a:t>
                      </a:r>
                      <a:r>
                        <a:rPr lang="en-US" altLang="ko-KR" sz="1400" b="1" spc="0" baseline="0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)</a:t>
                      </a:r>
                      <a:endParaRPr lang="en-US" sz="1400" b="1" spc="0" baseline="0" dirty="0">
                        <a:solidFill>
                          <a:schemeClr val="bg1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50792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6484309"/>
                  </a:ext>
                </a:extLst>
              </a:tr>
              <a:tr h="460169">
                <a:tc>
                  <a:txBody>
                    <a:bodyPr/>
                    <a:lstStyle/>
                    <a:p>
                      <a:pPr marL="0" algn="r">
                        <a:lnSpc>
                          <a:spcPct val="120000"/>
                        </a:lnSpc>
                      </a:pPr>
                      <a:r>
                        <a:rPr lang="ko-KR" altLang="en-US" sz="1400" b="1" spc="0" baseline="0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거의 대부분 </a:t>
                      </a:r>
                      <a:r>
                        <a:rPr lang="ko-KR" altLang="en-US" sz="1400" b="1" spc="0" baseline="0" dirty="0" err="1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손비</a:t>
                      </a:r>
                      <a:r>
                        <a:rPr lang="ko-KR" altLang="en-US" sz="1400" b="1" spc="0" baseline="0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 처리</a:t>
                      </a:r>
                      <a:endParaRPr lang="en-US" sz="1400" b="1" spc="0" baseline="0" dirty="0">
                        <a:solidFill>
                          <a:schemeClr val="bg1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50792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7638740"/>
                  </a:ext>
                </a:extLst>
              </a:tr>
            </a:tbl>
          </a:graphicData>
        </a:graphic>
      </p:graphicFrame>
      <p:graphicFrame>
        <p:nvGraphicFramePr>
          <p:cNvPr id="11" name="표 10"/>
          <p:cNvGraphicFramePr>
            <a:graphicFrameLocks noGrp="1"/>
          </p:cNvGraphicFramePr>
          <p:nvPr>
            <p:extLst/>
          </p:nvPr>
        </p:nvGraphicFramePr>
        <p:xfrm>
          <a:off x="6246864" y="3046353"/>
          <a:ext cx="2628945" cy="3221183"/>
        </p:xfrm>
        <a:graphic>
          <a:graphicData uri="http://schemas.openxmlformats.org/drawingml/2006/table">
            <a:tbl>
              <a:tblPr/>
              <a:tblGrid>
                <a:gridCol w="2628945">
                  <a:extLst>
                    <a:ext uri="{9D8B030D-6E8A-4147-A177-3AD203B41FA5}">
                      <a16:colId xmlns:a16="http://schemas.microsoft.com/office/drawing/2014/main" val="3456140859"/>
                    </a:ext>
                  </a:extLst>
                </a:gridCol>
              </a:tblGrid>
              <a:tr h="46016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400" b="1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퇴직금 및</a:t>
                      </a:r>
                      <a:r>
                        <a:rPr kumimoji="1" lang="en-US" altLang="ko-KR" sz="1400" b="1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 </a:t>
                      </a:r>
                      <a:r>
                        <a:rPr kumimoji="1" lang="ko-KR" altLang="en-US" sz="1400" b="1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유족보상금 마련</a:t>
                      </a:r>
                    </a:p>
                  </a:txBody>
                  <a:tcPr marL="50792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4801208"/>
                  </a:ext>
                </a:extLst>
              </a:tr>
              <a:tr h="46016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400" b="1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(</a:t>
                      </a:r>
                      <a:r>
                        <a:rPr kumimoji="1" lang="ko-KR" altLang="en-US" sz="1400" b="1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해지</a:t>
                      </a:r>
                      <a:r>
                        <a:rPr kumimoji="1" lang="en-US" altLang="ko-KR" sz="1400" b="1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)</a:t>
                      </a:r>
                      <a:r>
                        <a:rPr kumimoji="1" lang="ko-KR" altLang="en-US" sz="1400" b="1" i="0" u="none" strike="noStrike" cap="none" spc="-100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일시금</a:t>
                      </a:r>
                      <a:r>
                        <a:rPr kumimoji="1" lang="en-US" altLang="ko-KR" sz="1400" b="1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kumimoji="1" lang="ko-KR" altLang="en-US" sz="1400" b="1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연금</a:t>
                      </a:r>
                      <a:r>
                        <a:rPr kumimoji="1" lang="en-US" altLang="ko-KR" sz="1400" b="1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, </a:t>
                      </a:r>
                      <a:r>
                        <a:rPr kumimoji="1" lang="ko-KR" altLang="en-US" sz="1400" b="1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종신보험 유지</a:t>
                      </a:r>
                    </a:p>
                  </a:txBody>
                  <a:tcPr marL="50792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9938476"/>
                  </a:ext>
                </a:extLst>
              </a:tr>
              <a:tr h="46016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400" b="1" i="0" u="none" strike="noStrike" cap="none" spc="-10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종신</a:t>
                      </a:r>
                    </a:p>
                  </a:txBody>
                  <a:tcPr marL="50792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672592"/>
                  </a:ext>
                </a:extLst>
              </a:tr>
              <a:tr h="460169">
                <a:tc>
                  <a:txBody>
                    <a:bodyPr/>
                    <a:lstStyle/>
                    <a:p>
                      <a:pPr marL="0" algn="l">
                        <a:lnSpc>
                          <a:spcPct val="120000"/>
                        </a:lnSpc>
                      </a:pPr>
                      <a:r>
                        <a:rPr lang="ko-KR" altLang="en-US" sz="1400" b="1" spc="0" baseline="0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가능</a:t>
                      </a:r>
                      <a:endParaRPr lang="en-US" altLang="ko-KR" sz="1400" b="1" spc="0" baseline="0" dirty="0">
                        <a:solidFill>
                          <a:schemeClr val="bg1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50792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7187676"/>
                  </a:ext>
                </a:extLst>
              </a:tr>
              <a:tr h="460169">
                <a:tc>
                  <a:txBody>
                    <a:bodyPr/>
                    <a:lstStyle/>
                    <a:p>
                      <a:pPr marL="0" marR="0" indent="0" algn="l" defTabSz="1007943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1" spc="0" baseline="0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5</a:t>
                      </a:r>
                      <a:r>
                        <a:rPr lang="ko-KR" altLang="en-US" sz="1400" b="1" spc="0" baseline="0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년</a:t>
                      </a:r>
                      <a:r>
                        <a:rPr lang="en-US" altLang="ko-KR" sz="1400" b="1" spc="0" baseline="0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10</a:t>
                      </a:r>
                      <a:r>
                        <a:rPr lang="ko-KR" altLang="en-US" sz="1400" b="1" spc="0" baseline="0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년</a:t>
                      </a:r>
                      <a:r>
                        <a:rPr lang="en-US" altLang="ko-KR" sz="1400" b="1" spc="0" baseline="0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15</a:t>
                      </a:r>
                      <a:r>
                        <a:rPr lang="ko-KR" altLang="en-US" sz="1400" b="1" spc="0" baseline="0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년</a:t>
                      </a:r>
                      <a:r>
                        <a:rPr lang="en-US" altLang="ko-KR" sz="1400" b="1" spc="0" baseline="0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, 20</a:t>
                      </a:r>
                      <a:r>
                        <a:rPr lang="ko-KR" altLang="en-US" sz="1400" b="1" spc="0" baseline="0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년 등</a:t>
                      </a:r>
                      <a:endParaRPr lang="en-US" altLang="ko-KR" sz="1400" b="1" spc="0" baseline="0" dirty="0" smtClean="0">
                        <a:solidFill>
                          <a:schemeClr val="bg1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50792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1573568"/>
                  </a:ext>
                </a:extLst>
              </a:tr>
              <a:tr h="460169">
                <a:tc>
                  <a:txBody>
                    <a:bodyPr/>
                    <a:lstStyle/>
                    <a:p>
                      <a:pPr marL="0" algn="l">
                        <a:lnSpc>
                          <a:spcPct val="120000"/>
                        </a:lnSpc>
                      </a:pPr>
                      <a:r>
                        <a:rPr lang="ko-KR" altLang="en-US" sz="1400" b="1" spc="0" baseline="0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지속적으로 증가</a:t>
                      </a:r>
                      <a:endParaRPr lang="en-US" sz="1400" b="1" spc="0" baseline="0" dirty="0">
                        <a:solidFill>
                          <a:schemeClr val="bg1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50792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6484309"/>
                  </a:ext>
                </a:extLst>
              </a:tr>
              <a:tr h="460169">
                <a:tc>
                  <a:txBody>
                    <a:bodyPr/>
                    <a:lstStyle/>
                    <a:p>
                      <a:pPr marL="0" algn="l">
                        <a:lnSpc>
                          <a:spcPct val="120000"/>
                        </a:lnSpc>
                      </a:pPr>
                      <a:r>
                        <a:rPr lang="ko-KR" altLang="en-US" sz="1400" b="1" spc="0" baseline="0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일부 </a:t>
                      </a:r>
                      <a:r>
                        <a:rPr lang="ko-KR" altLang="en-US" sz="1400" b="1" spc="0" baseline="0" dirty="0" err="1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손비</a:t>
                      </a:r>
                      <a:r>
                        <a:rPr lang="ko-KR" altLang="en-US" sz="1400" b="1" spc="0" baseline="0" dirty="0" smtClean="0">
                          <a:solidFill>
                            <a:schemeClr val="bg1"/>
                          </a:solidFill>
                          <a:latin typeface="나눔고딕" pitchFamily="50" charset="-127"/>
                          <a:ea typeface="나눔고딕" pitchFamily="50" charset="-127"/>
                        </a:rPr>
                        <a:t> 처리</a:t>
                      </a:r>
                      <a:endParaRPr lang="en-US" altLang="ko-KR" sz="1400" b="1" spc="0" baseline="0" dirty="0" smtClean="0">
                        <a:solidFill>
                          <a:schemeClr val="bg1"/>
                        </a:solidFill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50792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7638740"/>
                  </a:ext>
                </a:extLst>
              </a:tr>
            </a:tbl>
          </a:graphicData>
        </a:graphic>
      </p:graphicFrame>
      <p:sp>
        <p:nvSpPr>
          <p:cNvPr id="12" name="직사각형 11"/>
          <p:cNvSpPr/>
          <p:nvPr/>
        </p:nvSpPr>
        <p:spPr>
          <a:xfrm>
            <a:off x="1759191" y="6555210"/>
            <a:ext cx="7116618" cy="369332"/>
          </a:xfrm>
          <a:prstGeom prst="rect">
            <a:avLst/>
          </a:prstGeom>
          <a:noFill/>
          <a:ln w="3175">
            <a:solidFill>
              <a:schemeClr val="accent1">
                <a:shade val="95000"/>
                <a:satMod val="105000"/>
              </a:schemeClr>
            </a:solidFill>
            <a:prstDash val="sysDash"/>
          </a:ln>
        </p:spPr>
        <p:txBody>
          <a:bodyPr wrap="square">
            <a:spAutoFit/>
          </a:bodyPr>
          <a:lstStyle/>
          <a:p>
            <a:pPr marL="0" marR="0" lvl="0" indent="0" algn="l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※</a:t>
            </a:r>
            <a:r>
              <a:rPr kumimoji="0" lang="ko-KR" alt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</a:t>
            </a:r>
            <a:r>
              <a:rPr kumimoji="0" lang="ko-KR" altLang="en-US" sz="9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손비</a:t>
            </a:r>
            <a:r>
              <a:rPr kumimoji="0" lang="ko-KR" alt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처리와 관련된 내용은 법인세법을 적용하며</a:t>
            </a:r>
            <a:r>
              <a:rPr kumimoji="0" lang="en-US" altLang="ko-KR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, </a:t>
            </a:r>
            <a:r>
              <a:rPr kumimoji="0" lang="ko-KR" alt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상품과 관련된 내용 이외 세법 적용과 관련된 내용은 향후 세법개정</a:t>
            </a:r>
            <a:r>
              <a:rPr kumimoji="0" lang="en-US" altLang="ko-KR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, </a:t>
            </a:r>
            <a:r>
              <a:rPr kumimoji="0" lang="ko-KR" alt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과세관청의 해석 등에 따라 달라질 수 있으므로 회계 및 세무처리 방법은 세무전문가와의 상담 하에 진행하시기 바랍니다</a:t>
            </a:r>
            <a:r>
              <a:rPr kumimoji="0" lang="en-US" altLang="ko-KR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74320" y="202629"/>
            <a:ext cx="842287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58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CEO</a:t>
            </a:r>
            <a:r>
              <a:rPr kumimoji="0" lang="ko-KR" altLang="en-US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플랜은 목적에 </a:t>
            </a:r>
            <a:r>
              <a:rPr kumimoji="0" lang="ko-KR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맞게 상품을 활용해야 합니다</a:t>
            </a:r>
            <a:endParaRPr kumimoji="0" lang="ko-KR" altLang="en-US" sz="2200" b="1" i="0" u="none" strike="noStrike" kern="1200" cap="none" spc="0" normalizeH="0" baseline="0" noProof="0" dirty="0">
              <a:ln>
                <a:noFill/>
              </a:ln>
              <a:gradFill>
                <a:gsLst>
                  <a:gs pos="25000">
                    <a:srgbClr val="28B432"/>
                  </a:gs>
                  <a:gs pos="75000">
                    <a:srgbClr val="141450"/>
                  </a:gs>
                </a:gsLst>
                <a:lin ang="0" scaled="1"/>
              </a:gradFill>
              <a:effectLst/>
              <a:uLnTx/>
              <a:uFillTx/>
              <a:latin typeface="나눔고딕 ExtraBold" panose="020D0904000000000000" pitchFamily="50" charset="-127"/>
              <a:ea typeface="나눔고딕 ExtraBold" panose="020D0904000000000000" pitchFamily="50" charset="-127"/>
              <a:cs typeface="+mn-cs"/>
            </a:endParaRPr>
          </a:p>
        </p:txBody>
      </p:sp>
      <p:sp>
        <p:nvSpPr>
          <p:cNvPr id="14" name="AutoShape 14"/>
          <p:cNvSpPr>
            <a:spLocks noChangeArrowheads="1"/>
          </p:cNvSpPr>
          <p:nvPr/>
        </p:nvSpPr>
        <p:spPr bwMode="auto">
          <a:xfrm>
            <a:off x="237821" y="1073427"/>
            <a:ext cx="5935721" cy="694308"/>
          </a:xfrm>
          <a:prstGeom prst="roundRect">
            <a:avLst>
              <a:gd name="adj" fmla="val 16667"/>
            </a:avLst>
          </a:prstGeom>
          <a:solidFill>
            <a:schemeClr val="accent1">
              <a:lumMod val="50000"/>
            </a:schemeClr>
          </a:solidFill>
          <a:ln w="9525" algn="ctr">
            <a:noFill/>
            <a:round/>
            <a:headEnd/>
            <a:tailEnd/>
          </a:ln>
          <a:effectLst>
            <a:prstShdw prst="shdw17" dist="17961" dir="2700000">
              <a:srgbClr val="70892B"/>
            </a:prstShdw>
          </a:effectLst>
        </p:spPr>
        <p:txBody>
          <a:bodyPr wrap="none" lIns="0" tIns="0" rIns="0" bIns="0" anchor="ctr" anchorCtr="1"/>
          <a:lstStyle/>
          <a:p>
            <a:pPr marL="0" marR="0" lvl="0" indent="0" algn="l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1" i="0" u="none" strike="noStrike" kern="1200" cap="none" spc="-30" normalizeH="0" baseline="0" noProof="0" dirty="0">
                <a:ln w="0">
                  <a:solidFill>
                    <a:srgbClr val="A7A9AC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납입기간 중 ‘법인세 </a:t>
            </a:r>
            <a:r>
              <a:rPr kumimoji="0" lang="ko-KR" altLang="en-US" sz="1800" b="1" i="0" u="none" strike="noStrike" kern="1200" cap="none" spc="-30" normalizeH="0" baseline="0" noProof="0" dirty="0" err="1">
                <a:ln w="0">
                  <a:solidFill>
                    <a:srgbClr val="A7A9AC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절감’을</a:t>
            </a:r>
            <a:r>
              <a:rPr kumimoji="0" lang="ko-KR" altLang="en-US" sz="1800" b="1" i="0" u="none" strike="noStrike" kern="1200" cap="none" spc="-30" normalizeH="0" baseline="0" noProof="0" dirty="0">
                <a:ln w="0">
                  <a:solidFill>
                    <a:srgbClr val="A7A9AC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생각한다면 경영인정기보험을</a:t>
            </a:r>
            <a:r>
              <a:rPr kumimoji="0" lang="en-US" altLang="ko-KR" sz="1800" b="1" i="0" u="none" strike="noStrike" kern="1200" cap="none" spc="-30" normalizeH="0" baseline="0" noProof="0" dirty="0">
                <a:ln w="0">
                  <a:solidFill>
                    <a:srgbClr val="A7A9AC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, </a:t>
            </a:r>
          </a:p>
          <a:p>
            <a:pPr marL="0" marR="0" lvl="0" indent="0" algn="l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1" i="0" u="none" strike="noStrike" kern="1200" cap="none" spc="-30" normalizeH="0" baseline="0" noProof="0" dirty="0">
                <a:ln w="0">
                  <a:solidFill>
                    <a:srgbClr val="A7A9AC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향후 ‘</a:t>
            </a:r>
            <a:r>
              <a:rPr kumimoji="0" lang="ko-KR" altLang="en-US" sz="1800" b="1" i="0" u="none" strike="noStrike" kern="1200" cap="none" spc="-30" normalizeH="0" baseline="0" noProof="0" dirty="0" err="1">
                <a:ln w="0">
                  <a:solidFill>
                    <a:srgbClr val="A7A9AC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해지환급금’까지</a:t>
            </a:r>
            <a:r>
              <a:rPr kumimoji="0" lang="ko-KR" altLang="en-US" sz="1800" b="1" i="0" u="none" strike="noStrike" kern="1200" cap="none" spc="-30" normalizeH="0" baseline="0" noProof="0" dirty="0">
                <a:ln w="0">
                  <a:solidFill>
                    <a:srgbClr val="A7A9AC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 생각한다면 종신보험을</a:t>
            </a:r>
            <a:r>
              <a:rPr kumimoji="0" lang="en-US" altLang="ko-KR" sz="1800" b="1" i="0" u="none" strike="noStrike" kern="1200" cap="none" spc="-30" normalizeH="0" baseline="0" noProof="0" dirty="0">
                <a:ln w="0">
                  <a:solidFill>
                    <a:srgbClr val="A7A9AC">
                      <a:alpha val="0"/>
                    </a:srgbClr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  <a:cs typeface="+mn-cs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2242705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직사각형 19"/>
          <p:cNvSpPr/>
          <p:nvPr/>
        </p:nvSpPr>
        <p:spPr>
          <a:xfrm>
            <a:off x="505428" y="1076038"/>
            <a:ext cx="8744837" cy="6006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98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 marL="0" marR="0" lvl="0" indent="0" algn="r" defTabSz="77873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47D207-944B-4363-884F-A02296F6E654}" type="slidenum">
              <a:rPr kumimoji="0" lang="ko-KR" altLang="en-US" sz="1022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pPr marL="0" marR="0" lvl="0" indent="0" algn="r" defTabSz="778733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ko-KR" altLang="en-US" sz="1022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74320" y="202629"/>
            <a:ext cx="842287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58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왜 대표님들이 </a:t>
            </a:r>
            <a:r>
              <a:rPr kumimoji="0" lang="ko-KR" alt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법인명으로</a:t>
            </a:r>
            <a:r>
              <a:rPr kumimoji="0" lang="ko-KR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 보험에 가입해야 하나</a:t>
            </a:r>
            <a:r>
              <a:rPr kumimoji="0" lang="en-US" altLang="ko-KR" sz="22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?</a:t>
            </a:r>
          </a:p>
        </p:txBody>
      </p:sp>
      <p:sp>
        <p:nvSpPr>
          <p:cNvPr id="4" name="직사각형 3"/>
          <p:cNvSpPr/>
          <p:nvPr/>
        </p:nvSpPr>
        <p:spPr>
          <a:xfrm>
            <a:off x="475590" y="1033844"/>
            <a:ext cx="9238186" cy="5724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005234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38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보험료 납입은 법인이 하고</a:t>
            </a:r>
            <a:r>
              <a:rPr kumimoji="0" lang="en-US" altLang="ko-KR" sz="238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</a:t>
            </a:r>
            <a:r>
              <a:rPr kumimoji="0" lang="ko-KR" altLang="en-US" sz="238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보험금은 </a:t>
            </a:r>
            <a:r>
              <a:rPr kumimoji="0" lang="en-US" altLang="ko-KR" sz="238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CEO</a:t>
            </a:r>
            <a:r>
              <a:rPr kumimoji="0" lang="ko-KR" altLang="en-US" sz="238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의 퇴직금으로 수령</a:t>
            </a:r>
            <a:endParaRPr kumimoji="0" lang="en-US" altLang="ko-KR" sz="2387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1249695" y="2666865"/>
            <a:ext cx="3907950" cy="556682"/>
          </a:xfrm>
          <a:prstGeom prst="rect">
            <a:avLst/>
          </a:prstGeom>
          <a:gradFill>
            <a:gsLst>
              <a:gs pos="67000">
                <a:schemeClr val="accent1">
                  <a:tint val="66000"/>
                  <a:satMod val="160000"/>
                </a:schemeClr>
              </a:gs>
              <a:gs pos="9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989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보험료 납입기간</a:t>
            </a:r>
          </a:p>
        </p:txBody>
      </p:sp>
      <p:sp>
        <p:nvSpPr>
          <p:cNvPr id="6" name="오른쪽 화살표 5"/>
          <p:cNvSpPr/>
          <p:nvPr/>
        </p:nvSpPr>
        <p:spPr>
          <a:xfrm>
            <a:off x="5222670" y="2507409"/>
            <a:ext cx="3739161" cy="884836"/>
          </a:xfrm>
          <a:prstGeom prst="rightArrow">
            <a:avLst>
              <a:gd name="adj1" fmla="val 67097"/>
              <a:gd name="adj2" fmla="val 43783"/>
            </a:avLst>
          </a:prstGeom>
          <a:gradFill>
            <a:gsLst>
              <a:gs pos="67000">
                <a:schemeClr val="bg1">
                  <a:lumMod val="50000"/>
                </a:schemeClr>
              </a:gs>
              <a:gs pos="9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98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임원 퇴직 이후 </a:t>
            </a:r>
          </a:p>
        </p:txBody>
      </p:sp>
      <p:sp>
        <p:nvSpPr>
          <p:cNvPr id="7" name="아래쪽 화살표 6"/>
          <p:cNvSpPr/>
          <p:nvPr/>
        </p:nvSpPr>
        <p:spPr>
          <a:xfrm>
            <a:off x="5094683" y="2298989"/>
            <a:ext cx="214842" cy="322262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9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450158" y="1925257"/>
            <a:ext cx="1432277" cy="3367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591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임원퇴직시점</a:t>
            </a:r>
          </a:p>
        </p:txBody>
      </p:sp>
      <p:sp>
        <p:nvSpPr>
          <p:cNvPr id="9" name="아래쪽 화살표 8"/>
          <p:cNvSpPr/>
          <p:nvPr/>
        </p:nvSpPr>
        <p:spPr>
          <a:xfrm>
            <a:off x="1164828" y="2298989"/>
            <a:ext cx="214842" cy="322262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9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83010" y="1925257"/>
            <a:ext cx="1432277" cy="3367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591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보험계약시점</a:t>
            </a:r>
          </a:p>
        </p:txBody>
      </p:sp>
      <p:sp>
        <p:nvSpPr>
          <p:cNvPr id="11" name="모서리가 둥근 직사각형 10"/>
          <p:cNvSpPr/>
          <p:nvPr/>
        </p:nvSpPr>
        <p:spPr>
          <a:xfrm>
            <a:off x="1245349" y="3366776"/>
            <a:ext cx="3912296" cy="1279808"/>
          </a:xfrm>
          <a:prstGeom prst="roundRect">
            <a:avLst>
              <a:gd name="adj" fmla="val 1113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05234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9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계약자 </a:t>
            </a:r>
            <a:r>
              <a:rPr kumimoji="0" lang="en-US" altLang="ko-KR" sz="189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: </a:t>
            </a:r>
            <a:r>
              <a:rPr kumimoji="0" lang="ko-KR" altLang="en-US" sz="189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법인</a:t>
            </a:r>
            <a:endParaRPr kumimoji="0" lang="en-US" altLang="ko-KR" sz="189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0" marR="0" lvl="0" indent="0" algn="ctr" defTabSz="1005234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9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피보험자 </a:t>
            </a:r>
            <a:r>
              <a:rPr kumimoji="0" lang="en-US" altLang="ko-KR" sz="189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: CEO</a:t>
            </a:r>
          </a:p>
          <a:p>
            <a:pPr marL="0" marR="0" lvl="0" indent="0" algn="ctr" defTabSz="1005234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9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수익자 </a:t>
            </a:r>
            <a:r>
              <a:rPr kumimoji="0" lang="en-US" altLang="ko-KR" sz="189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: </a:t>
            </a:r>
            <a:r>
              <a:rPr kumimoji="0" lang="ko-KR" altLang="en-US" sz="189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법인</a:t>
            </a:r>
          </a:p>
        </p:txBody>
      </p:sp>
      <p:sp>
        <p:nvSpPr>
          <p:cNvPr id="12" name="모서리가 둥근 직사각형 11"/>
          <p:cNvSpPr/>
          <p:nvPr/>
        </p:nvSpPr>
        <p:spPr>
          <a:xfrm>
            <a:off x="5237911" y="3366776"/>
            <a:ext cx="3294237" cy="1279808"/>
          </a:xfrm>
          <a:prstGeom prst="roundRect">
            <a:avLst>
              <a:gd name="adj" fmla="val 1113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05234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9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  계약자 </a:t>
            </a:r>
            <a:r>
              <a:rPr kumimoji="0" lang="en-US" altLang="ko-KR" sz="189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: CEO</a:t>
            </a:r>
          </a:p>
          <a:p>
            <a:pPr marL="0" marR="0" lvl="0" indent="0" algn="ctr" defTabSz="1005234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9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피보험자 </a:t>
            </a:r>
            <a:r>
              <a:rPr kumimoji="0" lang="en-US" altLang="ko-KR" sz="189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: CEO</a:t>
            </a:r>
          </a:p>
          <a:p>
            <a:pPr marL="0" marR="0" lvl="0" indent="0" algn="ctr" defTabSz="1005234" rtl="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9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  수익자 </a:t>
            </a:r>
            <a:r>
              <a:rPr kumimoji="0" lang="en-US" altLang="ko-KR" sz="189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: CEO</a:t>
            </a:r>
            <a:endParaRPr kumimoji="0" lang="ko-KR" altLang="en-US" sz="189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5237911" y="4718199"/>
            <a:ext cx="3258430" cy="59577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98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보험금수령 </a:t>
            </a:r>
            <a:r>
              <a:rPr kumimoji="0" lang="en-US" altLang="ko-KR" sz="198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: CEO</a:t>
            </a:r>
            <a:endParaRPr kumimoji="0" lang="ko-KR" altLang="en-US" sz="1989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30416" y="6336651"/>
            <a:ext cx="8165959" cy="4591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387" b="1" i="0" u="none" strike="noStrike" kern="1200" cap="none" spc="0" normalizeH="0" baseline="0" noProof="0" dirty="0">
                <a:ln>
                  <a:noFill/>
                </a:ln>
                <a:solidFill>
                  <a:srgbClr val="F79646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법인의 이익잉여금을 합법적인 절세를 통해 </a:t>
            </a:r>
            <a:r>
              <a:rPr kumimoji="0" lang="en-US" altLang="ko-KR" sz="2387" b="1" i="0" u="none" strike="noStrike" kern="1200" cap="none" spc="0" normalizeH="0" baseline="0" noProof="0" dirty="0">
                <a:ln>
                  <a:noFill/>
                </a:ln>
                <a:solidFill>
                  <a:srgbClr val="F79646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CEO</a:t>
            </a:r>
            <a:r>
              <a:rPr kumimoji="0" lang="ko-KR" altLang="en-US" sz="2387" b="1" i="0" u="none" strike="noStrike" kern="1200" cap="none" spc="0" normalizeH="0" baseline="0" noProof="0" dirty="0">
                <a:ln>
                  <a:noFill/>
                </a:ln>
                <a:solidFill>
                  <a:srgbClr val="F79646">
                    <a:lumMod val="75000"/>
                  </a:srgb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에게 이전</a:t>
            </a:r>
          </a:p>
        </p:txBody>
      </p:sp>
      <p:sp>
        <p:nvSpPr>
          <p:cNvPr id="15" name="직사각형 14"/>
          <p:cNvSpPr/>
          <p:nvPr/>
        </p:nvSpPr>
        <p:spPr>
          <a:xfrm>
            <a:off x="1244971" y="4718199"/>
            <a:ext cx="3912674" cy="59577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98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보험료납입 </a:t>
            </a:r>
            <a:r>
              <a:rPr kumimoji="0" lang="en-US" altLang="ko-KR" sz="198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: </a:t>
            </a:r>
            <a:r>
              <a:rPr kumimoji="0" lang="ko-KR" altLang="en-US" sz="198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법인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671548" y="5680938"/>
            <a:ext cx="1204176" cy="3984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989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비용처리</a:t>
            </a:r>
            <a:endParaRPr kumimoji="0" lang="ko-KR" altLang="en-US" sz="1989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900771" y="5680941"/>
            <a:ext cx="2058468" cy="3979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989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퇴직소득세 적용</a:t>
            </a:r>
          </a:p>
        </p:txBody>
      </p:sp>
      <p:sp>
        <p:nvSpPr>
          <p:cNvPr id="18" name="아래쪽 화살표 17"/>
          <p:cNvSpPr/>
          <p:nvPr/>
        </p:nvSpPr>
        <p:spPr>
          <a:xfrm>
            <a:off x="2048467" y="5367345"/>
            <a:ext cx="2450338" cy="210220"/>
          </a:xfrm>
          <a:prstGeom prst="down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9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19" name="아래쪽 화살표 18"/>
          <p:cNvSpPr/>
          <p:nvPr/>
        </p:nvSpPr>
        <p:spPr>
          <a:xfrm>
            <a:off x="5704834" y="5367345"/>
            <a:ext cx="2450338" cy="210220"/>
          </a:xfrm>
          <a:prstGeom prst="down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9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5248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75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25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75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6500"/>
                            </p:stCondLst>
                            <p:childTnLst>
                              <p:par>
                                <p:cTn id="21" presetID="22" presetClass="entr" presetSubtype="1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8250"/>
                            </p:stCondLst>
                            <p:childTnLst>
                              <p:par>
                                <p:cTn id="25" presetID="22" presetClass="entr" presetSubtype="1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00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1750"/>
                            </p:stCondLst>
                            <p:childTnLst>
                              <p:par>
                                <p:cTn id="33" presetID="22" presetClass="entr" presetSubtype="1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3500"/>
                            </p:stCondLst>
                            <p:childTnLst>
                              <p:par>
                                <p:cTn id="37" presetID="22" presetClass="entr" presetSubtype="1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9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5250"/>
                            </p:stCondLst>
                            <p:childTnLst>
                              <p:par>
                                <p:cTn id="41" presetID="16" presetClass="entr" presetSubtype="37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43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7000"/>
                            </p:stCondLst>
                            <p:childTnLst>
                              <p:par>
                                <p:cTn id="45" presetID="16" presetClass="entr" presetSubtype="37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4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8750"/>
                            </p:stCondLst>
                            <p:childTnLst>
                              <p:par>
                                <p:cTn id="49" presetID="22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1" dur="7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20000"/>
                            </p:stCondLst>
                            <p:childTnLst>
                              <p:par>
                                <p:cTn id="53" presetID="22" presetClass="entr" presetSubtype="8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21750"/>
                            </p:stCondLst>
                            <p:childTnLst>
                              <p:par>
                                <p:cTn id="57" presetID="22" presetClass="entr" presetSubtype="1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9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23500"/>
                            </p:stCondLst>
                            <p:childTnLst>
                              <p:par>
                                <p:cTn id="61" presetID="22" presetClass="entr" presetSubtype="8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25250"/>
                            </p:stCondLst>
                            <p:childTnLst>
                              <p:par>
                                <p:cTn id="6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 animBg="1"/>
      <p:bldP spid="6" grpId="0" animBg="1"/>
      <p:bldP spid="7" grpId="0" animBg="1"/>
      <p:bldP spid="8" grpId="0"/>
      <p:bldP spid="9" grpId="0" animBg="1"/>
      <p:bldP spid="10" grpId="0"/>
      <p:bldP spid="11" grpId="0" animBg="1"/>
      <p:bldP spid="12" grpId="0" animBg="1"/>
      <p:bldP spid="13" grpId="0" animBg="1"/>
      <p:bldP spid="14" grpId="0"/>
      <p:bldP spid="15" grpId="0" animBg="1"/>
      <p:bldP spid="16" grpId="0"/>
      <p:bldP spid="17" grpId="0"/>
      <p:bldP spid="18" grpId="0" animBg="1"/>
      <p:bldP spid="19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0775" y="1394932"/>
            <a:ext cx="6264189" cy="2077299"/>
          </a:xfrm>
          <a:prstGeom prst="rect">
            <a:avLst/>
          </a:prstGeom>
        </p:spPr>
      </p:pic>
      <p:sp>
        <p:nvSpPr>
          <p:cNvPr id="3" name="타원 87">
            <a:extLst>
              <a:ext uri="{FF2B5EF4-FFF2-40B4-BE49-F238E27FC236}">
                <a16:creationId xmlns:a16="http://schemas.microsoft.com/office/drawing/2014/main" id="{483B5E82-FBC6-4752-8008-13BB8C680C7E}"/>
              </a:ext>
            </a:extLst>
          </p:cNvPr>
          <p:cNvSpPr/>
          <p:nvPr/>
        </p:nvSpPr>
        <p:spPr>
          <a:xfrm>
            <a:off x="210143" y="4089944"/>
            <a:ext cx="4641109" cy="240788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bg1">
                <a:lumMod val="65000"/>
                <a:alpha val="60000"/>
              </a:schemeClr>
            </a:solidFill>
          </a:ln>
          <a:effectLst>
            <a:innerShdw blurRad="114300">
              <a:schemeClr val="bg1">
                <a:lumMod val="8500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08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  <a:cs typeface="+mn-cs"/>
            </a:endParaRPr>
          </a:p>
        </p:txBody>
      </p:sp>
      <p:pic>
        <p:nvPicPr>
          <p:cNvPr id="4" name="그림 3">
            <a:extLst>
              <a:ext uri="{FF2B5EF4-FFF2-40B4-BE49-F238E27FC236}">
                <a16:creationId xmlns:a16="http://schemas.microsoft.com/office/drawing/2014/main" id="{22D0A1DD-0F48-4F86-8C3B-85C8F81B0CA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995"/>
          <a:stretch/>
        </p:blipFill>
        <p:spPr>
          <a:xfrm>
            <a:off x="3164938" y="4099150"/>
            <a:ext cx="1678684" cy="2398684"/>
          </a:xfrm>
          <a:prstGeom prst="rect">
            <a:avLst/>
          </a:prstGeom>
        </p:spPr>
      </p:pic>
      <p:grpSp>
        <p:nvGrpSpPr>
          <p:cNvPr id="5" name="그룹 4">
            <a:extLst>
              <a:ext uri="{FF2B5EF4-FFF2-40B4-BE49-F238E27FC236}">
                <a16:creationId xmlns:a16="http://schemas.microsoft.com/office/drawing/2014/main" id="{894B5733-CCFA-4858-99E0-B993A233B139}"/>
              </a:ext>
            </a:extLst>
          </p:cNvPr>
          <p:cNvGrpSpPr/>
          <p:nvPr/>
        </p:nvGrpSpPr>
        <p:grpSpPr>
          <a:xfrm>
            <a:off x="220125" y="985567"/>
            <a:ext cx="9688255" cy="396467"/>
            <a:chOff x="-1779780" y="2238411"/>
            <a:chExt cx="9476670" cy="378222"/>
          </a:xfrm>
        </p:grpSpPr>
        <p:cxnSp>
          <p:nvCxnSpPr>
            <p:cNvPr id="6" name="직선 연결선 5">
              <a:extLst>
                <a:ext uri="{FF2B5EF4-FFF2-40B4-BE49-F238E27FC236}">
                  <a16:creationId xmlns:a16="http://schemas.microsoft.com/office/drawing/2014/main" id="{799FDBCF-108D-4B41-920B-E1A4C92BD854}"/>
                </a:ext>
              </a:extLst>
            </p:cNvPr>
            <p:cNvCxnSpPr>
              <a:cxnSpLocks/>
            </p:cNvCxnSpPr>
            <p:nvPr/>
          </p:nvCxnSpPr>
          <p:spPr>
            <a:xfrm>
              <a:off x="-1779780" y="2616633"/>
              <a:ext cx="9476670" cy="0"/>
            </a:xfrm>
            <a:prstGeom prst="line">
              <a:avLst/>
            </a:prstGeom>
            <a:noFill/>
            <a:ln w="254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" name="직선 연결선 6">
              <a:extLst>
                <a:ext uri="{FF2B5EF4-FFF2-40B4-BE49-F238E27FC236}">
                  <a16:creationId xmlns:a16="http://schemas.microsoft.com/office/drawing/2014/main" id="{9DBE070E-DC36-41FF-920D-F3B05E974234}"/>
                </a:ext>
              </a:extLst>
            </p:cNvPr>
            <p:cNvCxnSpPr/>
            <p:nvPr/>
          </p:nvCxnSpPr>
          <p:spPr>
            <a:xfrm>
              <a:off x="2528152" y="2616633"/>
              <a:ext cx="813600" cy="0"/>
            </a:xfrm>
            <a:prstGeom prst="line">
              <a:avLst/>
            </a:prstGeom>
            <a:noFill/>
            <a:ln w="25400">
              <a:solidFill>
                <a:srgbClr val="004C8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4659AE0D-DDA7-4F26-9BB2-E6A57209C417}"/>
                </a:ext>
              </a:extLst>
            </p:cNvPr>
            <p:cNvSpPr txBox="1"/>
            <p:nvPr/>
          </p:nvSpPr>
          <p:spPr>
            <a:xfrm>
              <a:off x="1967509" y="2238411"/>
              <a:ext cx="1934905" cy="27703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100523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887" b="0" i="0" u="none" strike="noStrike" kern="120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4C81"/>
                  </a:solidFill>
                  <a:effectLst/>
                  <a:uLnTx/>
                  <a:uFillTx/>
                  <a:latin typeface="KoPub돋움체 Bold" panose="02020603020101020101" pitchFamily="18" charset="-127"/>
                  <a:ea typeface="KoPub돋움체 Bold" panose="02020603020101020101" pitchFamily="18" charset="-127"/>
                  <a:cs typeface="Arial" panose="020B0604020202020204" pitchFamily="34" charset="0"/>
                </a:rPr>
                <a:t> 임원퇴직금의 성격</a:t>
              </a:r>
            </a:p>
          </p:txBody>
        </p:sp>
      </p:grpSp>
      <p:grpSp>
        <p:nvGrpSpPr>
          <p:cNvPr id="9" name="그룹 8">
            <a:extLst>
              <a:ext uri="{FF2B5EF4-FFF2-40B4-BE49-F238E27FC236}">
                <a16:creationId xmlns:a16="http://schemas.microsoft.com/office/drawing/2014/main" id="{894B5733-CCFA-4858-99E0-B993A233B139}"/>
              </a:ext>
            </a:extLst>
          </p:cNvPr>
          <p:cNvGrpSpPr/>
          <p:nvPr/>
        </p:nvGrpSpPr>
        <p:grpSpPr>
          <a:xfrm>
            <a:off x="215436" y="3532532"/>
            <a:ext cx="4635814" cy="396467"/>
            <a:chOff x="667667" y="2238411"/>
            <a:chExt cx="4534571" cy="378222"/>
          </a:xfrm>
        </p:grpSpPr>
        <p:cxnSp>
          <p:nvCxnSpPr>
            <p:cNvPr id="10" name="직선 연결선 9">
              <a:extLst>
                <a:ext uri="{FF2B5EF4-FFF2-40B4-BE49-F238E27FC236}">
                  <a16:creationId xmlns:a16="http://schemas.microsoft.com/office/drawing/2014/main" id="{799FDBCF-108D-4B41-920B-E1A4C92BD854}"/>
                </a:ext>
              </a:extLst>
            </p:cNvPr>
            <p:cNvCxnSpPr>
              <a:cxnSpLocks/>
            </p:cNvCxnSpPr>
            <p:nvPr/>
          </p:nvCxnSpPr>
          <p:spPr>
            <a:xfrm>
              <a:off x="667667" y="2616633"/>
              <a:ext cx="4534571" cy="0"/>
            </a:xfrm>
            <a:prstGeom prst="line">
              <a:avLst/>
            </a:prstGeom>
            <a:noFill/>
            <a:ln w="254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1" name="직선 연결선 10">
              <a:extLst>
                <a:ext uri="{FF2B5EF4-FFF2-40B4-BE49-F238E27FC236}">
                  <a16:creationId xmlns:a16="http://schemas.microsoft.com/office/drawing/2014/main" id="{9DBE070E-DC36-41FF-920D-F3B05E974234}"/>
                </a:ext>
              </a:extLst>
            </p:cNvPr>
            <p:cNvCxnSpPr/>
            <p:nvPr/>
          </p:nvCxnSpPr>
          <p:spPr>
            <a:xfrm>
              <a:off x="2528152" y="2616633"/>
              <a:ext cx="813600" cy="0"/>
            </a:xfrm>
            <a:prstGeom prst="line">
              <a:avLst/>
            </a:prstGeom>
            <a:noFill/>
            <a:ln w="2540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4659AE0D-DDA7-4F26-9BB2-E6A57209C417}"/>
                </a:ext>
              </a:extLst>
            </p:cNvPr>
            <p:cNvSpPr txBox="1"/>
            <p:nvPr/>
          </p:nvSpPr>
          <p:spPr>
            <a:xfrm>
              <a:off x="1743289" y="2238411"/>
              <a:ext cx="2383351" cy="27703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100523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887" b="0" i="0" u="none" strike="noStrike" kern="120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70C0"/>
                  </a:solidFill>
                  <a:effectLst/>
                  <a:uLnTx/>
                  <a:uFillTx/>
                  <a:latin typeface="KoPub돋움체 Bold" panose="02020603020101020101" pitchFamily="18" charset="-127"/>
                  <a:ea typeface="KoPub돋움체 Bold" panose="02020603020101020101" pitchFamily="18" charset="-127"/>
                  <a:cs typeface="Arial" panose="020B0604020202020204" pitchFamily="34" charset="0"/>
                </a:rPr>
                <a:t>임원퇴직금의 절세 효과</a:t>
              </a: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3E0A622E-F7C1-4DF2-99F0-F55025F1525C}"/>
              </a:ext>
            </a:extLst>
          </p:cNvPr>
          <p:cNvSpPr txBox="1"/>
          <p:nvPr/>
        </p:nvSpPr>
        <p:spPr>
          <a:xfrm>
            <a:off x="305478" y="4155530"/>
            <a:ext cx="859531" cy="6085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marL="0" marR="0" lvl="0" indent="0" algn="l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77" b="1" i="0" u="none" strike="noStrike" kern="1200" cap="none" spc="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76EBB"/>
                </a:solidFill>
                <a:effectLst/>
                <a:uLnTx/>
                <a:uFillTx/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rPr>
              <a:t>소득세 </a:t>
            </a:r>
            <a:endParaRPr kumimoji="0" lang="en-US" altLang="ko-KR" sz="1677" b="1" i="0" u="none" strike="noStrike" kern="1200" cap="none" spc="0" normalizeH="0" baseline="0" noProof="0" dirty="0">
              <a:ln>
                <a:solidFill>
                  <a:srgbClr val="4F81BD">
                    <a:alpha val="0"/>
                  </a:srgbClr>
                </a:solidFill>
              </a:ln>
              <a:solidFill>
                <a:srgbClr val="076EBB"/>
              </a:solidFill>
              <a:effectLst/>
              <a:uLnTx/>
              <a:uFillTx/>
              <a:latin typeface="KoPub돋움체 Bold" panose="02020603020101020101" pitchFamily="18" charset="-127"/>
              <a:ea typeface="KoPub돋움체 Bold" panose="02020603020101020101" pitchFamily="18" charset="-127"/>
              <a:cs typeface="Arial" panose="020B0604020202020204" pitchFamily="34" charset="0"/>
            </a:endParaRPr>
          </a:p>
          <a:p>
            <a:pPr marL="0" marR="0" lvl="0" indent="0" algn="l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77" b="1" i="0" u="none" strike="noStrike" kern="1200" cap="none" spc="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76EBB"/>
                </a:solidFill>
                <a:effectLst/>
                <a:uLnTx/>
                <a:uFillTx/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rPr>
              <a:t>절세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E0A622E-F7C1-4DF2-99F0-F55025F1525C}"/>
              </a:ext>
            </a:extLst>
          </p:cNvPr>
          <p:cNvSpPr txBox="1"/>
          <p:nvPr/>
        </p:nvSpPr>
        <p:spPr>
          <a:xfrm>
            <a:off x="305478" y="4933330"/>
            <a:ext cx="795411" cy="660181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marL="0" marR="0" lvl="0" indent="0" algn="l" defTabSz="1005234" rtl="0" eaLnBrk="1" fontAlgn="auto" latinLnBrk="1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77" b="1" i="0" u="none" strike="noStrike" kern="1200" cap="none" spc="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3477"/>
                </a:solidFill>
                <a:effectLst/>
                <a:uLnTx/>
                <a:uFillTx/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rPr>
              <a:t>법인세</a:t>
            </a:r>
            <a:endParaRPr kumimoji="0" lang="en-US" altLang="ko-KR" sz="1677" b="1" i="0" u="none" strike="noStrike" kern="1200" cap="none" spc="0" normalizeH="0" baseline="0" noProof="0" dirty="0">
              <a:ln>
                <a:solidFill>
                  <a:srgbClr val="4F81BD">
                    <a:alpha val="0"/>
                  </a:srgbClr>
                </a:solidFill>
              </a:ln>
              <a:solidFill>
                <a:srgbClr val="003477"/>
              </a:solidFill>
              <a:effectLst/>
              <a:uLnTx/>
              <a:uFillTx/>
              <a:latin typeface="KoPub돋움체 Bold" panose="02020603020101020101" pitchFamily="18" charset="-127"/>
              <a:ea typeface="KoPub돋움체 Bold" panose="02020603020101020101" pitchFamily="18" charset="-127"/>
              <a:cs typeface="Arial" panose="020B0604020202020204" pitchFamily="34" charset="0"/>
            </a:endParaRPr>
          </a:p>
          <a:p>
            <a:pPr marL="0" marR="0" lvl="0" indent="0" algn="l" defTabSz="1005234" rtl="0" eaLnBrk="1" fontAlgn="auto" latinLnBrk="1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77" b="1" i="0" u="none" strike="noStrike" kern="1200" cap="none" spc="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03477"/>
                </a:solidFill>
                <a:effectLst/>
                <a:uLnTx/>
                <a:uFillTx/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rPr>
              <a:t>절세</a:t>
            </a:r>
          </a:p>
        </p:txBody>
      </p:sp>
      <p:cxnSp>
        <p:nvCxnSpPr>
          <p:cNvPr id="15" name="직선 연결선 14">
            <a:extLst>
              <a:ext uri="{FF2B5EF4-FFF2-40B4-BE49-F238E27FC236}">
                <a16:creationId xmlns:a16="http://schemas.microsoft.com/office/drawing/2014/main" id="{9998A3AC-D61A-4EF9-BC3C-E8DFD374FD27}"/>
              </a:ext>
            </a:extLst>
          </p:cNvPr>
          <p:cNvCxnSpPr>
            <a:cxnSpLocks/>
          </p:cNvCxnSpPr>
          <p:nvPr/>
        </p:nvCxnSpPr>
        <p:spPr>
          <a:xfrm>
            <a:off x="273577" y="4906705"/>
            <a:ext cx="4513050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직사각형 15">
            <a:extLst>
              <a:ext uri="{FF2B5EF4-FFF2-40B4-BE49-F238E27FC236}">
                <a16:creationId xmlns:a16="http://schemas.microsoft.com/office/drawing/2014/main" id="{91DF73D6-99FA-44FC-B91F-CA93B1386836}"/>
              </a:ext>
            </a:extLst>
          </p:cNvPr>
          <p:cNvSpPr/>
          <p:nvPr/>
        </p:nvSpPr>
        <p:spPr>
          <a:xfrm>
            <a:off x="4742250" y="4090980"/>
            <a:ext cx="107835" cy="113474"/>
          </a:xfrm>
          <a:prstGeom prst="rect">
            <a:avLst/>
          </a:prstGeom>
          <a:solidFill>
            <a:srgbClr val="1276C8"/>
          </a:solidFill>
          <a:ln w="6350">
            <a:solidFill>
              <a:schemeClr val="bg1">
                <a:lumMod val="65000"/>
                <a:alpha val="60000"/>
              </a:schemeClr>
            </a:solidFill>
          </a:ln>
          <a:effectLst>
            <a:innerShdw blurRad="114300">
              <a:schemeClr val="tx1">
                <a:alpha val="3700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08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나눔바른고딕" panose="020B0603020101020101" pitchFamily="50" charset="-127"/>
              <a:ea typeface="나눔바른고딕" panose="020B0603020101020101" pitchFamily="50" charset="-127"/>
              <a:cs typeface="+mn-cs"/>
            </a:endParaRPr>
          </a:p>
        </p:txBody>
      </p:sp>
      <p:cxnSp>
        <p:nvCxnSpPr>
          <p:cNvPr id="17" name="직선 연결선 16">
            <a:extLst>
              <a:ext uri="{FF2B5EF4-FFF2-40B4-BE49-F238E27FC236}">
                <a16:creationId xmlns:a16="http://schemas.microsoft.com/office/drawing/2014/main" id="{9998A3AC-D61A-4EF9-BC3C-E8DFD374FD27}"/>
              </a:ext>
            </a:extLst>
          </p:cNvPr>
          <p:cNvCxnSpPr>
            <a:cxnSpLocks/>
          </p:cNvCxnSpPr>
          <p:nvPr/>
        </p:nvCxnSpPr>
        <p:spPr>
          <a:xfrm>
            <a:off x="273577" y="5686484"/>
            <a:ext cx="4513050" cy="0"/>
          </a:xfrm>
          <a:prstGeom prst="line">
            <a:avLst/>
          </a:prstGeom>
          <a:ln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D425913F-EB07-4914-BBAA-46CC7E7DD418}"/>
              </a:ext>
            </a:extLst>
          </p:cNvPr>
          <p:cNvSpPr txBox="1"/>
          <p:nvPr/>
        </p:nvSpPr>
        <p:spPr>
          <a:xfrm>
            <a:off x="1736057" y="4138395"/>
            <a:ext cx="3140658" cy="731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marL="108000" indent="-108000" algn="just" defTabSz="914400">
              <a:lnSpc>
                <a:spcPct val="120000"/>
              </a:lnSpc>
              <a:spcBef>
                <a:spcPts val="500"/>
              </a:spcBef>
              <a:buClr>
                <a:srgbClr val="234A70"/>
              </a:buClr>
              <a:buFont typeface="Arial" panose="020B0604020202020204" pitchFamily="34" charset="0"/>
              <a:buChar char="•"/>
              <a:defRPr sz="1200" b="1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1pPr>
            <a:lvl2pPr marL="457200" defTabSz="914400">
              <a:defRPr sz="1800"/>
            </a:lvl2pPr>
            <a:lvl3pPr marL="914400" defTabSz="914400">
              <a:defRPr sz="1800"/>
            </a:lvl3pPr>
            <a:lvl4pPr marL="1371600" defTabSz="914400">
              <a:defRPr sz="1800"/>
            </a:lvl4pPr>
            <a:lvl5pPr marL="1828800" defTabSz="914400">
              <a:defRPr sz="1800"/>
            </a:lvl5pPr>
            <a:lvl6pPr marL="2286000" defTabSz="914400">
              <a:defRPr sz="1800"/>
            </a:lvl6pPr>
            <a:lvl7pPr marL="2743200" defTabSz="914400">
              <a:defRPr sz="1800"/>
            </a:lvl7pPr>
            <a:lvl8pPr marL="3200400" defTabSz="914400">
              <a:defRPr sz="1800"/>
            </a:lvl8pPr>
            <a:lvl9pPr marL="3657600" defTabSz="914400">
              <a:defRPr sz="1800"/>
            </a:lvl9pPr>
          </a:lstStyle>
          <a:p>
            <a:pPr marL="108000" marR="0" lvl="0" indent="-108000" algn="just" defTabSz="914400" rtl="0" eaLnBrk="1" fontAlgn="auto" latinLnBrk="1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34A7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258" b="1" i="0" u="none" strike="noStrike" kern="1200" cap="none" spc="0" normalizeH="0" baseline="0" noProof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ea typeface="KoPub돋움체 Medium" panose="02020603020101020101" pitchFamily="18" charset="-127"/>
                <a:cs typeface="+mn-cs"/>
              </a:rPr>
              <a:t>다른 소득과 합산 되지 않는 분류과세</a:t>
            </a:r>
            <a:endParaRPr kumimoji="0" lang="en-US" altLang="ko-KR" sz="1258" b="1" i="0" u="none" strike="noStrike" kern="1200" cap="none" spc="0" normalizeH="0" baseline="0" noProof="0" dirty="0">
              <a:ln>
                <a:solidFill>
                  <a:prstClr val="black">
                    <a:alpha val="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ea typeface="KoPub돋움체 Medium" panose="02020603020101020101" pitchFamily="18" charset="-127"/>
              <a:cs typeface="+mn-cs"/>
            </a:endParaRPr>
          </a:p>
          <a:p>
            <a:pPr marL="108000" marR="0" lvl="0" indent="-108000" algn="just" defTabSz="914400" rtl="0" eaLnBrk="1" fontAlgn="auto" latinLnBrk="1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34A7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258" b="1" i="0" u="none" strike="noStrike" kern="1200" cap="none" spc="0" normalizeH="0" baseline="0" noProof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ea typeface="KoPub돋움체 Medium" panose="02020603020101020101" pitchFamily="18" charset="-127"/>
                <a:cs typeface="+mn-cs"/>
              </a:rPr>
              <a:t>장기근속에 따른 근속연수공제</a:t>
            </a:r>
            <a:endParaRPr kumimoji="0" lang="en-US" altLang="ko-KR" sz="1258" b="1" i="0" u="none" strike="noStrike" kern="1200" cap="none" spc="0" normalizeH="0" baseline="0" noProof="0" dirty="0">
              <a:ln>
                <a:solidFill>
                  <a:prstClr val="black">
                    <a:alpha val="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ea typeface="KoPub돋움체 Medium" panose="02020603020101020101" pitchFamily="18" charset="-127"/>
              <a:cs typeface="+mn-cs"/>
            </a:endParaRPr>
          </a:p>
          <a:p>
            <a:pPr marL="108000" marR="0" lvl="0" indent="-108000" algn="just" defTabSz="914400" rtl="0" eaLnBrk="1" fontAlgn="auto" latinLnBrk="1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34A7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258" b="1" i="0" u="none" strike="noStrike" kern="1200" cap="none" spc="0" normalizeH="0" baseline="0" noProof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ea typeface="KoPub돋움체 Medium" panose="02020603020101020101" pitchFamily="18" charset="-127"/>
                <a:cs typeface="+mn-cs"/>
              </a:rPr>
              <a:t>연분연승으로 실효세율 인하</a:t>
            </a:r>
            <a:endParaRPr kumimoji="0" lang="en-US" altLang="ko-KR" sz="1258" b="1" i="0" u="none" strike="noStrike" kern="1200" cap="none" spc="0" normalizeH="0" baseline="0" noProof="0" dirty="0">
              <a:ln>
                <a:solidFill>
                  <a:prstClr val="black">
                    <a:alpha val="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ea typeface="KoPub돋움체 Medium" panose="02020603020101020101" pitchFamily="18" charset="-127"/>
              <a:cs typeface="+mn-cs"/>
            </a:endParaRPr>
          </a:p>
        </p:txBody>
      </p:sp>
      <p:sp>
        <p:nvSpPr>
          <p:cNvPr id="19" name="TextBox 17">
            <a:extLst>
              <a:ext uri="{FF2B5EF4-FFF2-40B4-BE49-F238E27FC236}">
                <a16:creationId xmlns:a16="http://schemas.microsoft.com/office/drawing/2014/main" id="{D425913F-EB07-4914-BBAA-46CC7E7DD418}"/>
              </a:ext>
            </a:extLst>
          </p:cNvPr>
          <p:cNvSpPr txBox="1"/>
          <p:nvPr/>
        </p:nvSpPr>
        <p:spPr>
          <a:xfrm>
            <a:off x="1736057" y="4937593"/>
            <a:ext cx="3130446" cy="731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marL="108000" indent="-108000" algn="just" defTabSz="914400">
              <a:lnSpc>
                <a:spcPct val="110000"/>
              </a:lnSpc>
              <a:spcBef>
                <a:spcPts val="0"/>
              </a:spcBef>
              <a:buClr>
                <a:srgbClr val="234A70"/>
              </a:buClr>
              <a:buFont typeface="Arial" panose="020B0604020202020204" pitchFamily="34" charset="0"/>
              <a:buChar char="•"/>
              <a:defRPr sz="1200" b="1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1pPr>
            <a:lvl2pPr marL="457200" defTabSz="914400">
              <a:defRPr sz="1800"/>
            </a:lvl2pPr>
            <a:lvl3pPr marL="914400" defTabSz="914400">
              <a:defRPr sz="1800"/>
            </a:lvl3pPr>
            <a:lvl4pPr marL="1371600" defTabSz="914400">
              <a:defRPr sz="1800"/>
            </a:lvl4pPr>
            <a:lvl5pPr marL="1828800" defTabSz="914400">
              <a:defRPr sz="1800"/>
            </a:lvl5pPr>
            <a:lvl6pPr marL="2286000" defTabSz="914400">
              <a:defRPr sz="1800"/>
            </a:lvl6pPr>
            <a:lvl7pPr marL="2743200" defTabSz="914400">
              <a:defRPr sz="1800"/>
            </a:lvl7pPr>
            <a:lvl8pPr marL="3200400" defTabSz="914400">
              <a:defRPr sz="1800"/>
            </a:lvl8pPr>
            <a:lvl9pPr marL="3657600" defTabSz="914400">
              <a:defRPr sz="1800"/>
            </a:lvl9pPr>
          </a:lstStyle>
          <a:p>
            <a:pPr marL="108000" marR="0" lvl="0" indent="-108000" algn="just" defTabSz="914400" rtl="0" eaLnBrk="1" fontAlgn="auto" latinLnBrk="1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34A7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258" b="1" i="0" u="none" strike="noStrike" kern="1200" cap="none" spc="0" normalizeH="0" baseline="0" noProof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ea typeface="KoPub돋움체 Medium" panose="02020603020101020101" pitchFamily="18" charset="-127"/>
                <a:cs typeface="+mn-cs"/>
              </a:rPr>
              <a:t> 정관변경 범위 내 퇴직급여 한도 증대</a:t>
            </a:r>
            <a:endParaRPr kumimoji="0" lang="en-US" altLang="ko-KR" sz="1258" b="1" i="0" u="none" strike="noStrike" kern="1200" cap="none" spc="0" normalizeH="0" baseline="0" noProof="0" dirty="0">
              <a:ln>
                <a:solidFill>
                  <a:prstClr val="black">
                    <a:alpha val="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ea typeface="KoPub돋움체 Medium" panose="02020603020101020101" pitchFamily="18" charset="-127"/>
              <a:cs typeface="+mn-cs"/>
            </a:endParaRPr>
          </a:p>
          <a:p>
            <a:pPr marL="108000" marR="0" lvl="0" indent="-108000" algn="just" defTabSz="914400" rtl="0" eaLnBrk="1" fontAlgn="auto" latinLnBrk="1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34A7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258" b="1" i="0" u="none" strike="noStrike" kern="1200" cap="none" spc="0" normalizeH="0" baseline="0" noProof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ea typeface="KoPub돋움체 Medium" panose="02020603020101020101" pitchFamily="18" charset="-127"/>
                <a:cs typeface="+mn-cs"/>
              </a:rPr>
              <a:t> 손금산입으로 비용증가</a:t>
            </a:r>
            <a:endParaRPr kumimoji="0" lang="en-US" altLang="ko-KR" sz="1258" b="1" i="0" u="none" strike="noStrike" kern="1200" cap="none" spc="0" normalizeH="0" baseline="0" noProof="0" dirty="0">
              <a:ln>
                <a:solidFill>
                  <a:prstClr val="black">
                    <a:alpha val="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ea typeface="KoPub돋움체 Medium" panose="02020603020101020101" pitchFamily="18" charset="-127"/>
              <a:cs typeface="+mn-cs"/>
            </a:endParaRPr>
          </a:p>
          <a:p>
            <a:pPr marL="108000" marR="0" lvl="0" indent="-108000" algn="just" defTabSz="914400" rtl="0" eaLnBrk="1" fontAlgn="auto" latinLnBrk="1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34A7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ko-KR" sz="1258" b="1" i="0" u="none" strike="noStrike" kern="1200" cap="none" spc="0" normalizeH="0" baseline="0" noProof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ea typeface="KoPub돋움체 Medium" panose="02020603020101020101" pitchFamily="18" charset="-127"/>
                <a:cs typeface="+mn-cs"/>
              </a:rPr>
              <a:t> </a:t>
            </a:r>
            <a:r>
              <a:rPr kumimoji="0" lang="ko-KR" altLang="en-US" sz="1258" b="1" i="0" u="none" strike="noStrike" kern="1200" cap="none" spc="0" normalizeH="0" baseline="0" noProof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ea typeface="KoPub돋움체 Medium" panose="02020603020101020101" pitchFamily="18" charset="-127"/>
                <a:cs typeface="+mn-cs"/>
              </a:rPr>
              <a:t>법인세 과세표준 감소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E0A622E-F7C1-4DF2-99F0-F55025F1525C}"/>
              </a:ext>
            </a:extLst>
          </p:cNvPr>
          <p:cNvSpPr txBox="1"/>
          <p:nvPr/>
        </p:nvSpPr>
        <p:spPr>
          <a:xfrm>
            <a:off x="305476" y="5740603"/>
            <a:ext cx="1487908" cy="6085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marL="0" marR="0" lvl="0" indent="0" algn="l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77" b="1" i="0" u="none" strike="noStrike" kern="1200" cap="none" spc="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76EBB"/>
                </a:solidFill>
                <a:effectLst/>
                <a:uLnTx/>
                <a:uFillTx/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rPr>
              <a:t>상속 </a:t>
            </a:r>
            <a:r>
              <a:rPr kumimoji="0" lang="en-US" altLang="ko-KR" sz="1677" b="1" i="0" u="none" strike="noStrike" kern="1200" cap="none" spc="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76EBB"/>
                </a:solidFill>
                <a:effectLst/>
                <a:uLnTx/>
                <a:uFillTx/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rPr>
              <a:t>/ </a:t>
            </a:r>
            <a:r>
              <a:rPr kumimoji="0" lang="ko-KR" altLang="en-US" sz="1677" b="1" i="0" u="none" strike="noStrike" kern="1200" cap="none" spc="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76EBB"/>
                </a:solidFill>
                <a:effectLst/>
                <a:uLnTx/>
                <a:uFillTx/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rPr>
              <a:t>증여세 </a:t>
            </a:r>
            <a:endParaRPr kumimoji="0" lang="en-US" altLang="ko-KR" sz="1677" b="1" i="0" u="none" strike="noStrike" kern="1200" cap="none" spc="0" normalizeH="0" baseline="0" noProof="0" dirty="0">
              <a:ln>
                <a:solidFill>
                  <a:srgbClr val="4F81BD">
                    <a:alpha val="0"/>
                  </a:srgbClr>
                </a:solidFill>
              </a:ln>
              <a:solidFill>
                <a:srgbClr val="076EBB"/>
              </a:solidFill>
              <a:effectLst/>
              <a:uLnTx/>
              <a:uFillTx/>
              <a:latin typeface="KoPub돋움체 Bold" panose="02020603020101020101" pitchFamily="18" charset="-127"/>
              <a:ea typeface="KoPub돋움체 Bold" panose="02020603020101020101" pitchFamily="18" charset="-127"/>
              <a:cs typeface="Arial" panose="020B0604020202020204" pitchFamily="34" charset="0"/>
            </a:endParaRPr>
          </a:p>
          <a:p>
            <a:pPr marL="0" marR="0" lvl="0" indent="0" algn="l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77" b="1" i="0" u="none" strike="noStrike" kern="1200" cap="none" spc="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srgbClr val="076EBB"/>
                </a:solidFill>
                <a:effectLst/>
                <a:uLnTx/>
                <a:uFillTx/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rPr>
              <a:t>절세</a:t>
            </a:r>
          </a:p>
        </p:txBody>
      </p:sp>
      <p:sp>
        <p:nvSpPr>
          <p:cNvPr id="21" name="TextBox 17">
            <a:extLst>
              <a:ext uri="{FF2B5EF4-FFF2-40B4-BE49-F238E27FC236}">
                <a16:creationId xmlns:a16="http://schemas.microsoft.com/office/drawing/2014/main" id="{D425913F-EB07-4914-BBAA-46CC7E7DD418}"/>
              </a:ext>
            </a:extLst>
          </p:cNvPr>
          <p:cNvSpPr txBox="1"/>
          <p:nvPr/>
        </p:nvSpPr>
        <p:spPr>
          <a:xfrm>
            <a:off x="1736057" y="5723468"/>
            <a:ext cx="3140658" cy="731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ko-KR"/>
            </a:defPPr>
            <a:lvl1pPr marL="108000" indent="-108000" algn="just" defTabSz="914400">
              <a:lnSpc>
                <a:spcPct val="120000"/>
              </a:lnSpc>
              <a:spcBef>
                <a:spcPts val="500"/>
              </a:spcBef>
              <a:buClr>
                <a:srgbClr val="234A70"/>
              </a:buClr>
              <a:buFont typeface="Arial" panose="020B0604020202020204" pitchFamily="34" charset="0"/>
              <a:buChar char="•"/>
              <a:defRPr sz="1200" b="1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KoPub돋움체 Medium" panose="02020603020101020101" pitchFamily="18" charset="-127"/>
                <a:ea typeface="KoPub돋움체 Medium" panose="02020603020101020101" pitchFamily="18" charset="-127"/>
              </a:defRPr>
            </a:lvl1pPr>
            <a:lvl2pPr marL="457200" defTabSz="914400">
              <a:defRPr sz="1800"/>
            </a:lvl2pPr>
            <a:lvl3pPr marL="914400" defTabSz="914400">
              <a:defRPr sz="1800"/>
            </a:lvl3pPr>
            <a:lvl4pPr marL="1371600" defTabSz="914400">
              <a:defRPr sz="1800"/>
            </a:lvl4pPr>
            <a:lvl5pPr marL="1828800" defTabSz="914400">
              <a:defRPr sz="1800"/>
            </a:lvl5pPr>
            <a:lvl6pPr marL="2286000" defTabSz="914400">
              <a:defRPr sz="1800"/>
            </a:lvl6pPr>
            <a:lvl7pPr marL="2743200" defTabSz="914400">
              <a:defRPr sz="1800"/>
            </a:lvl7pPr>
            <a:lvl8pPr marL="3200400" defTabSz="914400">
              <a:defRPr sz="1800"/>
            </a:lvl8pPr>
            <a:lvl9pPr marL="3657600" defTabSz="914400">
              <a:defRPr sz="1800"/>
            </a:lvl9pPr>
          </a:lstStyle>
          <a:p>
            <a:pPr marL="108000" marR="0" lvl="0" indent="-108000" algn="just" defTabSz="914400" rtl="0" eaLnBrk="1" fontAlgn="auto" latinLnBrk="1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34A7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258" b="1" i="0" u="none" strike="noStrike" kern="1200" cap="none" spc="0" normalizeH="0" baseline="0" noProof="0" dirty="0" err="1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ea typeface="KoPub돋움체 Medium" panose="02020603020101020101" pitchFamily="18" charset="-127"/>
                <a:cs typeface="+mn-cs"/>
              </a:rPr>
              <a:t>법인이익의</a:t>
            </a:r>
            <a:r>
              <a:rPr kumimoji="0" lang="ko-KR" altLang="en-US" sz="1258" b="1" i="0" u="none" strike="noStrike" kern="1200" cap="none" spc="0" normalizeH="0" baseline="0" noProof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ea typeface="KoPub돋움체 Medium" panose="02020603020101020101" pitchFamily="18" charset="-127"/>
                <a:cs typeface="+mn-cs"/>
              </a:rPr>
              <a:t> 감소</a:t>
            </a:r>
            <a:endParaRPr kumimoji="0" lang="en-US" altLang="ko-KR" sz="1258" b="1" i="0" u="none" strike="noStrike" kern="1200" cap="none" spc="0" normalizeH="0" baseline="0" noProof="0" dirty="0">
              <a:ln>
                <a:solidFill>
                  <a:prstClr val="black">
                    <a:alpha val="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ea typeface="KoPub돋움체 Medium" panose="02020603020101020101" pitchFamily="18" charset="-127"/>
              <a:cs typeface="+mn-cs"/>
            </a:endParaRPr>
          </a:p>
          <a:p>
            <a:pPr marL="108000" marR="0" lvl="0" indent="-108000" algn="just" defTabSz="914400" rtl="0" eaLnBrk="1" fontAlgn="auto" latinLnBrk="1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34A7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258" b="1" i="0" u="none" strike="noStrike" kern="1200" cap="none" spc="0" normalizeH="0" baseline="0" noProof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ea typeface="KoPub돋움체 Medium" panose="02020603020101020101" pitchFamily="18" charset="-127"/>
                <a:cs typeface="+mn-cs"/>
              </a:rPr>
              <a:t>비상장주식가치 평가 절하</a:t>
            </a:r>
            <a:endParaRPr kumimoji="0" lang="en-US" altLang="ko-KR" sz="1258" b="1" i="0" u="none" strike="noStrike" kern="1200" cap="none" spc="0" normalizeH="0" baseline="0" noProof="0" dirty="0">
              <a:ln>
                <a:solidFill>
                  <a:prstClr val="black">
                    <a:alpha val="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ea typeface="KoPub돋움체 Medium" panose="02020603020101020101" pitchFamily="18" charset="-127"/>
              <a:cs typeface="+mn-cs"/>
            </a:endParaRPr>
          </a:p>
          <a:p>
            <a:pPr marL="108000" marR="0" lvl="0" indent="-108000" algn="just" defTabSz="914400" rtl="0" eaLnBrk="1" fontAlgn="auto" latinLnBrk="1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34A7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ko-KR" altLang="en-US" sz="1258" b="1" i="0" u="none" strike="noStrike" kern="1200" cap="none" spc="0" normalizeH="0" baseline="0" noProof="0" dirty="0" err="1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ea typeface="KoPub돋움체 Medium" panose="02020603020101020101" pitchFamily="18" charset="-127"/>
                <a:cs typeface="+mn-cs"/>
              </a:rPr>
              <a:t>주식이동</a:t>
            </a:r>
            <a:r>
              <a:rPr kumimoji="0" lang="en-US" altLang="ko-KR" sz="1258" b="1" i="0" u="none" strike="noStrike" kern="1200" cap="none" spc="0" normalizeH="0" baseline="0" noProof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ea typeface="KoPub돋움체 Medium" panose="02020603020101020101" pitchFamily="18" charset="-127"/>
                <a:cs typeface="+mn-cs"/>
              </a:rPr>
              <a:t>(</a:t>
            </a:r>
            <a:r>
              <a:rPr kumimoji="0" lang="ko-KR" altLang="en-US" sz="1258" b="1" i="0" u="none" strike="noStrike" kern="1200" cap="none" spc="0" normalizeH="0" baseline="0" noProof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ea typeface="KoPub돋움체 Medium" panose="02020603020101020101" pitchFamily="18" charset="-127"/>
                <a:cs typeface="+mn-cs"/>
              </a:rPr>
              <a:t>양도</a:t>
            </a:r>
            <a:r>
              <a:rPr kumimoji="0" lang="en-US" altLang="ko-KR" sz="1258" b="1" i="0" u="none" strike="noStrike" kern="1200" cap="none" spc="0" normalizeH="0" baseline="0" noProof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ea typeface="KoPub돋움체 Medium" panose="02020603020101020101" pitchFamily="18" charset="-127"/>
                <a:cs typeface="+mn-cs"/>
              </a:rPr>
              <a:t>, </a:t>
            </a:r>
            <a:r>
              <a:rPr kumimoji="0" lang="ko-KR" altLang="en-US" sz="1258" b="1" i="0" u="none" strike="noStrike" kern="1200" cap="none" spc="0" normalizeH="0" baseline="0" noProof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ea typeface="KoPub돋움체 Medium" panose="02020603020101020101" pitchFamily="18" charset="-127"/>
                <a:cs typeface="+mn-cs"/>
              </a:rPr>
              <a:t>증여</a:t>
            </a:r>
            <a:r>
              <a:rPr kumimoji="0" lang="en-US" altLang="ko-KR" sz="1258" b="1" i="0" u="none" strike="noStrike" kern="1200" cap="none" spc="0" normalizeH="0" baseline="0" noProof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ea typeface="KoPub돋움체 Medium" panose="02020603020101020101" pitchFamily="18" charset="-127"/>
                <a:cs typeface="+mn-cs"/>
              </a:rPr>
              <a:t>, </a:t>
            </a:r>
            <a:r>
              <a:rPr kumimoji="0" lang="ko-KR" altLang="en-US" sz="1258" b="1" i="0" u="none" strike="noStrike" kern="1200" cap="none" spc="0" normalizeH="0" baseline="0" noProof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ea typeface="KoPub돋움체 Medium" panose="02020603020101020101" pitchFamily="18" charset="-127"/>
                <a:cs typeface="+mn-cs"/>
              </a:rPr>
              <a:t>상속</a:t>
            </a:r>
            <a:r>
              <a:rPr kumimoji="0" lang="en-US" altLang="ko-KR" sz="1258" b="1" i="0" u="none" strike="noStrike" kern="1200" cap="none" spc="0" normalizeH="0" baseline="0" noProof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ea typeface="KoPub돋움체 Medium" panose="02020603020101020101" pitchFamily="18" charset="-127"/>
                <a:cs typeface="+mn-cs"/>
              </a:rPr>
              <a:t>)</a:t>
            </a:r>
            <a:r>
              <a:rPr kumimoji="0" lang="ko-KR" altLang="en-US" sz="1258" b="1" i="0" u="none" strike="noStrike" kern="1200" cap="none" spc="0" normalizeH="0" baseline="0" noProof="0" dirty="0">
                <a:ln>
                  <a:solidFill>
                    <a:prstClr val="black">
                      <a:alpha val="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ea typeface="KoPub돋움체 Medium" panose="02020603020101020101" pitchFamily="18" charset="-127"/>
                <a:cs typeface="+mn-cs"/>
              </a:rPr>
              <a:t>시 절세</a:t>
            </a:r>
          </a:p>
        </p:txBody>
      </p:sp>
      <p:grpSp>
        <p:nvGrpSpPr>
          <p:cNvPr id="22" name="그룹 21">
            <a:extLst>
              <a:ext uri="{FF2B5EF4-FFF2-40B4-BE49-F238E27FC236}">
                <a16:creationId xmlns:a16="http://schemas.microsoft.com/office/drawing/2014/main" id="{894B5733-CCFA-4858-99E0-B993A233B139}"/>
              </a:ext>
            </a:extLst>
          </p:cNvPr>
          <p:cNvGrpSpPr/>
          <p:nvPr/>
        </p:nvGrpSpPr>
        <p:grpSpPr>
          <a:xfrm>
            <a:off x="5234292" y="3532532"/>
            <a:ext cx="4635814" cy="396467"/>
            <a:chOff x="667667" y="2238411"/>
            <a:chExt cx="4534571" cy="378222"/>
          </a:xfrm>
        </p:grpSpPr>
        <p:cxnSp>
          <p:nvCxnSpPr>
            <p:cNvPr id="23" name="직선 연결선 22">
              <a:extLst>
                <a:ext uri="{FF2B5EF4-FFF2-40B4-BE49-F238E27FC236}">
                  <a16:creationId xmlns:a16="http://schemas.microsoft.com/office/drawing/2014/main" id="{799FDBCF-108D-4B41-920B-E1A4C92BD854}"/>
                </a:ext>
              </a:extLst>
            </p:cNvPr>
            <p:cNvCxnSpPr>
              <a:cxnSpLocks/>
            </p:cNvCxnSpPr>
            <p:nvPr/>
          </p:nvCxnSpPr>
          <p:spPr>
            <a:xfrm>
              <a:off x="667667" y="2616633"/>
              <a:ext cx="4534571" cy="0"/>
            </a:xfrm>
            <a:prstGeom prst="line">
              <a:avLst/>
            </a:prstGeom>
            <a:noFill/>
            <a:ln w="254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4" name="직선 연결선 23">
              <a:extLst>
                <a:ext uri="{FF2B5EF4-FFF2-40B4-BE49-F238E27FC236}">
                  <a16:creationId xmlns:a16="http://schemas.microsoft.com/office/drawing/2014/main" id="{9DBE070E-DC36-41FF-920D-F3B05E974234}"/>
                </a:ext>
              </a:extLst>
            </p:cNvPr>
            <p:cNvCxnSpPr/>
            <p:nvPr/>
          </p:nvCxnSpPr>
          <p:spPr>
            <a:xfrm>
              <a:off x="2528152" y="2616633"/>
              <a:ext cx="813600" cy="0"/>
            </a:xfrm>
            <a:prstGeom prst="line">
              <a:avLst/>
            </a:prstGeom>
            <a:noFill/>
            <a:ln w="25400">
              <a:solidFill>
                <a:srgbClr val="0034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4659AE0D-DDA7-4F26-9BB2-E6A57209C417}"/>
                </a:ext>
              </a:extLst>
            </p:cNvPr>
            <p:cNvSpPr txBox="1"/>
            <p:nvPr/>
          </p:nvSpPr>
          <p:spPr>
            <a:xfrm>
              <a:off x="1855400" y="2238411"/>
              <a:ext cx="2159129" cy="27703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100523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887" b="0" i="0" u="none" strike="noStrike" kern="120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3477"/>
                  </a:solidFill>
                  <a:effectLst/>
                  <a:uLnTx/>
                  <a:uFillTx/>
                  <a:latin typeface="KoPub돋움체 Bold" panose="02020603020101020101" pitchFamily="18" charset="-127"/>
                  <a:ea typeface="KoPub돋움체 Bold" panose="02020603020101020101" pitchFamily="18" charset="-127"/>
                  <a:cs typeface="Arial" panose="020B0604020202020204" pitchFamily="34" charset="0"/>
                </a:rPr>
                <a:t>임원퇴직금 점검 항목</a:t>
              </a:r>
            </a:p>
          </p:txBody>
        </p:sp>
      </p:grpSp>
      <p:pic>
        <p:nvPicPr>
          <p:cNvPr id="26" name="그림 2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0738" y="4271017"/>
            <a:ext cx="1178531" cy="741085"/>
          </a:xfrm>
          <a:prstGeom prst="rect">
            <a:avLst/>
          </a:prstGeom>
        </p:spPr>
      </p:pic>
      <p:pic>
        <p:nvPicPr>
          <p:cNvPr id="27" name="그림 2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8620" y="5574631"/>
            <a:ext cx="784675" cy="693210"/>
          </a:xfrm>
          <a:prstGeom prst="rect">
            <a:avLst/>
          </a:prstGeom>
        </p:spPr>
      </p:pic>
      <p:pic>
        <p:nvPicPr>
          <p:cNvPr id="28" name="그림 2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2807" y="5530152"/>
            <a:ext cx="1048746" cy="766596"/>
          </a:xfrm>
          <a:prstGeom prst="rect">
            <a:avLst/>
          </a:prstGeom>
        </p:spPr>
      </p:pic>
      <p:pic>
        <p:nvPicPr>
          <p:cNvPr id="29" name="그림 2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3514" y="5235602"/>
            <a:ext cx="492077" cy="485686"/>
          </a:xfrm>
          <a:prstGeom prst="rect">
            <a:avLst/>
          </a:prstGeom>
        </p:spPr>
      </p:pic>
      <p:grpSp>
        <p:nvGrpSpPr>
          <p:cNvPr id="30" name="그룹 29"/>
          <p:cNvGrpSpPr/>
          <p:nvPr/>
        </p:nvGrpSpPr>
        <p:grpSpPr>
          <a:xfrm>
            <a:off x="5680154" y="4165603"/>
            <a:ext cx="1138453" cy="891945"/>
            <a:chOff x="5956484" y="4623284"/>
            <a:chExt cx="1086064" cy="850900"/>
          </a:xfrm>
        </p:grpSpPr>
        <p:sp>
          <p:nvSpPr>
            <p:cNvPr id="31" name="타원 30"/>
            <p:cNvSpPr/>
            <p:nvPr/>
          </p:nvSpPr>
          <p:spPr>
            <a:xfrm>
              <a:off x="6074065" y="4623284"/>
              <a:ext cx="850900" cy="8509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0523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08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3E0A622E-F7C1-4DF2-99F0-F55025F1525C}"/>
                </a:ext>
              </a:extLst>
            </p:cNvPr>
            <p:cNvSpPr txBox="1"/>
            <p:nvPr/>
          </p:nvSpPr>
          <p:spPr>
            <a:xfrm>
              <a:off x="5956484" y="4765580"/>
              <a:ext cx="1086064" cy="561902"/>
            </a:xfrm>
            <a:prstGeom prst="rect">
              <a:avLst/>
            </a:prstGeom>
            <a:noFill/>
          </p:spPr>
          <p:txBody>
            <a:bodyPr wrap="none" rtlCol="0" anchor="t">
              <a:spAutoFit/>
            </a:bodyPr>
            <a:lstStyle/>
            <a:p>
              <a:pPr marL="0" marR="0" lvl="0" indent="0" algn="ctr" defTabSz="1005234" rtl="0" eaLnBrk="1" fontAlgn="auto" latinLnBrk="1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67" b="1" i="0" u="none" strike="noStrike" kern="1200" cap="none" spc="0" normalizeH="0" baseline="0" noProof="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KoPub돋움체 Bold" panose="02020603020101020101" pitchFamily="18" charset="-127"/>
                  <a:ea typeface="KoPub돋움체 Bold" panose="02020603020101020101" pitchFamily="18" charset="-127"/>
                  <a:cs typeface="Arial" panose="020B0604020202020204" pitchFamily="34" charset="0"/>
                </a:rPr>
                <a:t>임원진 구성</a:t>
              </a:r>
              <a:endParaRPr kumimoji="0" lang="en-US" altLang="ko-KR" sz="1467" b="1" i="0" u="none" strike="noStrike" kern="1200" cap="none" spc="0" normalizeH="0" baseline="0" noProof="0" dirty="0">
                <a:ln>
                  <a:solidFill>
                    <a:srgbClr val="4F81BD">
                      <a:alpha val="0"/>
                    </a:srgb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KoPub돋움체 Bold" panose="02020603020101020101" pitchFamily="18" charset="-127"/>
                <a:ea typeface="KoPub돋움체 Bold" panose="02020603020101020101" pitchFamily="18" charset="-127"/>
                <a:cs typeface="Arial" panose="020B0604020202020204" pitchFamily="34" charset="0"/>
              </a:endParaRPr>
            </a:p>
            <a:p>
              <a:pPr marL="0" marR="0" lvl="0" indent="0" algn="ctr" defTabSz="1005234" rtl="0" eaLnBrk="1" fontAlgn="auto" latinLnBrk="1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67" b="1" i="0" u="none" strike="noStrike" kern="1200" cap="none" spc="0" normalizeH="0" baseline="0" noProof="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KoPub돋움체 Bold" panose="02020603020101020101" pitchFamily="18" charset="-127"/>
                  <a:ea typeface="KoPub돋움체 Bold" panose="02020603020101020101" pitchFamily="18" charset="-127"/>
                  <a:cs typeface="Arial" panose="020B0604020202020204" pitchFamily="34" charset="0"/>
                </a:rPr>
                <a:t>적정성 검토</a:t>
              </a:r>
            </a:p>
          </p:txBody>
        </p:sp>
      </p:grpSp>
      <p:grpSp>
        <p:nvGrpSpPr>
          <p:cNvPr id="33" name="그룹 32"/>
          <p:cNvGrpSpPr/>
          <p:nvPr/>
        </p:nvGrpSpPr>
        <p:grpSpPr>
          <a:xfrm>
            <a:off x="5361655" y="5258512"/>
            <a:ext cx="1082349" cy="891945"/>
            <a:chOff x="5983245" y="4623284"/>
            <a:chExt cx="1032542" cy="850900"/>
          </a:xfrm>
        </p:grpSpPr>
        <p:sp>
          <p:nvSpPr>
            <p:cNvPr id="34" name="타원 33"/>
            <p:cNvSpPr/>
            <p:nvPr/>
          </p:nvSpPr>
          <p:spPr>
            <a:xfrm>
              <a:off x="6074065" y="4623284"/>
              <a:ext cx="850900" cy="8509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0523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08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3E0A622E-F7C1-4DF2-99F0-F55025F1525C}"/>
                </a:ext>
              </a:extLst>
            </p:cNvPr>
            <p:cNvSpPr txBox="1"/>
            <p:nvPr/>
          </p:nvSpPr>
          <p:spPr>
            <a:xfrm>
              <a:off x="5983245" y="4765580"/>
              <a:ext cx="1032542" cy="561902"/>
            </a:xfrm>
            <a:prstGeom prst="rect">
              <a:avLst/>
            </a:prstGeom>
            <a:noFill/>
          </p:spPr>
          <p:txBody>
            <a:bodyPr wrap="none" rtlCol="0" anchor="t">
              <a:spAutoFit/>
            </a:bodyPr>
            <a:lstStyle/>
            <a:p>
              <a:pPr marL="0" marR="0" lvl="0" indent="0" algn="ctr" defTabSz="1005234" rtl="0" eaLnBrk="1" fontAlgn="auto" latinLnBrk="1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67" b="1" i="0" u="none" strike="noStrike" kern="1200" cap="none" spc="0" normalizeH="0" baseline="0" noProof="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KoPub돋움체 Bold" panose="02020603020101020101" pitchFamily="18" charset="-127"/>
                  <a:ea typeface="KoPub돋움체 Bold" panose="02020603020101020101" pitchFamily="18" charset="-127"/>
                  <a:cs typeface="Arial" panose="020B0604020202020204" pitchFamily="34" charset="0"/>
                </a:rPr>
                <a:t>임원퇴직금</a:t>
              </a:r>
            </a:p>
            <a:p>
              <a:pPr marL="0" marR="0" lvl="0" indent="0" algn="ctr" defTabSz="1005234" rtl="0" eaLnBrk="1" fontAlgn="auto" latinLnBrk="1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67" b="1" i="0" u="none" strike="noStrike" kern="1200" cap="none" spc="0" normalizeH="0" baseline="0" noProof="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KoPub돋움체 Bold" panose="02020603020101020101" pitchFamily="18" charset="-127"/>
                  <a:ea typeface="KoPub돋움체 Bold" panose="02020603020101020101" pitchFamily="18" charset="-127"/>
                  <a:cs typeface="Arial" panose="020B0604020202020204" pitchFamily="34" charset="0"/>
                </a:rPr>
                <a:t>규정 정비</a:t>
              </a:r>
            </a:p>
          </p:txBody>
        </p:sp>
      </p:grpSp>
      <p:grpSp>
        <p:nvGrpSpPr>
          <p:cNvPr id="36" name="그룹 35"/>
          <p:cNvGrpSpPr/>
          <p:nvPr/>
        </p:nvGrpSpPr>
        <p:grpSpPr>
          <a:xfrm>
            <a:off x="8749360" y="4835731"/>
            <a:ext cx="1138453" cy="891945"/>
            <a:chOff x="5956484" y="4623284"/>
            <a:chExt cx="1086064" cy="850900"/>
          </a:xfrm>
        </p:grpSpPr>
        <p:sp>
          <p:nvSpPr>
            <p:cNvPr id="37" name="타원 36"/>
            <p:cNvSpPr/>
            <p:nvPr/>
          </p:nvSpPr>
          <p:spPr>
            <a:xfrm>
              <a:off x="6074065" y="4623284"/>
              <a:ext cx="850900" cy="8509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0523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08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3E0A622E-F7C1-4DF2-99F0-F55025F1525C}"/>
                </a:ext>
              </a:extLst>
            </p:cNvPr>
            <p:cNvSpPr txBox="1"/>
            <p:nvPr/>
          </p:nvSpPr>
          <p:spPr>
            <a:xfrm>
              <a:off x="5956484" y="4765580"/>
              <a:ext cx="1086064" cy="561902"/>
            </a:xfrm>
            <a:prstGeom prst="rect">
              <a:avLst/>
            </a:prstGeom>
            <a:noFill/>
          </p:spPr>
          <p:txBody>
            <a:bodyPr wrap="none" rtlCol="0" anchor="t">
              <a:spAutoFit/>
            </a:bodyPr>
            <a:lstStyle/>
            <a:p>
              <a:pPr marL="0" marR="0" lvl="0" indent="0" algn="ctr" defTabSz="1005234" rtl="0" eaLnBrk="1" fontAlgn="auto" latinLnBrk="1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67" b="1" i="0" u="none" strike="noStrike" kern="1200" cap="none" spc="0" normalizeH="0" baseline="0" noProof="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KoPub돋움체 Bold" panose="02020603020101020101" pitchFamily="18" charset="-127"/>
                  <a:ea typeface="KoPub돋움체 Bold" panose="02020603020101020101" pitchFamily="18" charset="-127"/>
                  <a:cs typeface="Arial" panose="020B0604020202020204" pitchFamily="34" charset="0"/>
                </a:rPr>
                <a:t>퇴직금 지급</a:t>
              </a:r>
            </a:p>
            <a:p>
              <a:pPr marL="0" marR="0" lvl="0" indent="0" algn="ctr" defTabSz="1005234" rtl="0" eaLnBrk="1" fontAlgn="auto" latinLnBrk="1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467" b="1" i="0" u="none" strike="noStrike" kern="1200" cap="none" spc="0" normalizeH="0" baseline="0" noProof="0" dirty="0">
                  <a:ln>
                    <a:solidFill>
                      <a:srgbClr val="4F81BD">
                        <a:alpha val="0"/>
                      </a:srgbClr>
                    </a:solidFill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KoPub돋움체 Bold" panose="02020603020101020101" pitchFamily="18" charset="-127"/>
                  <a:ea typeface="KoPub돋움체 Bold" panose="02020603020101020101" pitchFamily="18" charset="-127"/>
                  <a:cs typeface="Arial" panose="020B0604020202020204" pitchFamily="34" charset="0"/>
                </a:rPr>
                <a:t>재원 마련</a:t>
              </a:r>
            </a:p>
          </p:txBody>
        </p:sp>
      </p:grpSp>
      <p:sp>
        <p:nvSpPr>
          <p:cNvPr id="40" name="TextBox 39"/>
          <p:cNvSpPr txBox="1"/>
          <p:nvPr/>
        </p:nvSpPr>
        <p:spPr>
          <a:xfrm>
            <a:off x="274320" y="202629"/>
            <a:ext cx="842287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58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임원 퇴직금의 성격 및 </a:t>
            </a:r>
            <a:r>
              <a:rPr kumimoji="0" lang="ko-KR" alt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절세효과</a:t>
            </a:r>
            <a:endParaRPr kumimoji="0" lang="ko-KR" altLang="en-US" sz="2200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나눔고딕 ExtraBold" panose="020D0904000000000000" pitchFamily="50" charset="-127"/>
              <a:ea typeface="나눔고딕 ExtraBold" panose="020D0904000000000000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9192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2069" y="910105"/>
            <a:ext cx="9500994" cy="582172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74320" y="202629"/>
            <a:ext cx="842287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58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임원 퇴직금의 </a:t>
            </a:r>
            <a:r>
              <a:rPr kumimoji="0" lang="ko-KR" altLang="en-US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중요성</a:t>
            </a:r>
            <a:endParaRPr kumimoji="0" lang="ko-KR" altLang="en-US" sz="2200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나눔고딕 ExtraBold" panose="020D0904000000000000" pitchFamily="50" charset="-127"/>
              <a:ea typeface="나눔고딕 ExtraBold" panose="020D0904000000000000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5166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624" y="985586"/>
            <a:ext cx="10045926" cy="5912588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74320" y="202629"/>
            <a:ext cx="842287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58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임원 퇴직금의 </a:t>
            </a:r>
            <a:r>
              <a:rPr kumimoji="0" lang="ko-KR" altLang="en-US" sz="22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준비방안</a:t>
            </a:r>
            <a:endParaRPr kumimoji="0" lang="ko-KR" altLang="en-US" sz="2200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나눔고딕 ExtraBold" panose="020D0904000000000000" pitchFamily="50" charset="-127"/>
              <a:ea typeface="나눔고딕 ExtraBold" panose="020D0904000000000000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8308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11700" y="936024"/>
            <a:ext cx="6658874" cy="38715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51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임원 퇴직소득 한도 지급배수 </a:t>
            </a:r>
            <a:r>
              <a:rPr kumimoji="0" lang="en-US" altLang="ko-KR" sz="251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3</a:t>
            </a:r>
            <a:r>
              <a:rPr kumimoji="0" lang="ko-KR" altLang="en-US" sz="251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배 → </a:t>
            </a:r>
            <a:r>
              <a:rPr kumimoji="0" lang="en-US" altLang="ko-KR" sz="2516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2</a:t>
            </a:r>
            <a:r>
              <a:rPr kumimoji="0" lang="ko-KR" altLang="en-US" sz="2516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배</a:t>
            </a:r>
            <a:r>
              <a:rPr kumimoji="0" lang="ko-KR" altLang="en-US" sz="251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 축소</a:t>
            </a:r>
          </a:p>
        </p:txBody>
      </p:sp>
      <p:grpSp>
        <p:nvGrpSpPr>
          <p:cNvPr id="3" name="그룹 2"/>
          <p:cNvGrpSpPr/>
          <p:nvPr/>
        </p:nvGrpSpPr>
        <p:grpSpPr>
          <a:xfrm>
            <a:off x="238326" y="1379658"/>
            <a:ext cx="9935761" cy="3348196"/>
            <a:chOff x="-7500007" y="995229"/>
            <a:chExt cx="7641569" cy="2575090"/>
          </a:xfrm>
        </p:grpSpPr>
        <p:sp>
          <p:nvSpPr>
            <p:cNvPr id="4" name="직사각형 3"/>
            <p:cNvSpPr/>
            <p:nvPr/>
          </p:nvSpPr>
          <p:spPr>
            <a:xfrm>
              <a:off x="-7500007" y="1151664"/>
              <a:ext cx="7402002" cy="2418655"/>
            </a:xfrm>
            <a:prstGeom prst="rect">
              <a:avLst/>
            </a:prstGeom>
            <a:solidFill>
              <a:schemeClr val="bg1"/>
            </a:solidFill>
            <a:ln w="57150">
              <a:solidFill>
                <a:schemeClr val="bg1">
                  <a:lumMod val="8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0523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208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HY견명조" panose="02030600000101010101" pitchFamily="18" charset="-127"/>
                  <a:ea typeface="HY견명조" panose="02030600000101010101" pitchFamily="18" charset="-127"/>
                  <a:cs typeface="+mn-cs"/>
                </a:rPr>
                <a:t>|</a:t>
              </a:r>
              <a:endParaRPr kumimoji="0" lang="ko-KR" altLang="en-US" sz="208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endParaRPr>
            </a:p>
          </p:txBody>
        </p:sp>
        <p:grpSp>
          <p:nvGrpSpPr>
            <p:cNvPr id="5" name="그룹 119"/>
            <p:cNvGrpSpPr/>
            <p:nvPr/>
          </p:nvGrpSpPr>
          <p:grpSpPr>
            <a:xfrm>
              <a:off x="-7328707" y="995229"/>
              <a:ext cx="7470269" cy="390526"/>
              <a:chOff x="3266902" y="2211185"/>
              <a:chExt cx="7469182" cy="590204"/>
            </a:xfrm>
          </p:grpSpPr>
          <p:pic>
            <p:nvPicPr>
              <p:cNvPr id="6" name="그림 5" descr="awsefrt5uy67p;[[.png"/>
              <p:cNvPicPr>
                <a:picLocks noChangeAspect="1"/>
              </p:cNvPicPr>
              <p:nvPr/>
            </p:nvPicPr>
            <p:blipFill>
              <a:blip r:embed="rId2" cstate="print"/>
              <a:srcRect t="-2618" b="84949"/>
              <a:stretch>
                <a:fillRect/>
              </a:stretch>
            </p:blipFill>
            <p:spPr>
              <a:xfrm>
                <a:off x="5975501" y="2211185"/>
                <a:ext cx="4760583" cy="590204"/>
              </a:xfrm>
              <a:prstGeom prst="rect">
                <a:avLst/>
              </a:prstGeom>
            </p:spPr>
          </p:pic>
          <p:pic>
            <p:nvPicPr>
              <p:cNvPr id="7" name="그림 6" descr="awsefrt5uy67p;[[.png"/>
              <p:cNvPicPr>
                <a:picLocks noChangeAspect="1"/>
              </p:cNvPicPr>
              <p:nvPr/>
            </p:nvPicPr>
            <p:blipFill>
              <a:blip r:embed="rId2" cstate="print"/>
              <a:srcRect l="35078" t="-2618" b="84949"/>
              <a:stretch>
                <a:fillRect/>
              </a:stretch>
            </p:blipFill>
            <p:spPr>
              <a:xfrm>
                <a:off x="3266902" y="2211185"/>
                <a:ext cx="3090679" cy="590204"/>
              </a:xfrm>
              <a:prstGeom prst="rect">
                <a:avLst/>
              </a:prstGeom>
            </p:spPr>
          </p:pic>
        </p:grpSp>
      </p:grpSp>
      <p:sp>
        <p:nvSpPr>
          <p:cNvPr id="8" name="덧셈 기호 7"/>
          <p:cNvSpPr/>
          <p:nvPr/>
        </p:nvSpPr>
        <p:spPr bwMode="auto">
          <a:xfrm>
            <a:off x="4765957" y="3019531"/>
            <a:ext cx="529176" cy="529176"/>
          </a:xfrm>
          <a:prstGeom prst="mathPlus">
            <a:avLst/>
          </a:prstGeom>
          <a:solidFill>
            <a:srgbClr val="1BB1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572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Y견명조" panose="02030600000101010101" pitchFamily="18" charset="-127"/>
              <a:ea typeface="HY견명조" panose="02030600000101010101" pitchFamily="18" charset="-127"/>
              <a:cs typeface="+mn-cs"/>
            </a:endParaRPr>
          </a:p>
        </p:txBody>
      </p:sp>
      <p:grpSp>
        <p:nvGrpSpPr>
          <p:cNvPr id="9" name="그룹 8"/>
          <p:cNvGrpSpPr/>
          <p:nvPr/>
        </p:nvGrpSpPr>
        <p:grpSpPr>
          <a:xfrm>
            <a:off x="667333" y="2010952"/>
            <a:ext cx="8804628" cy="1056688"/>
            <a:chOff x="1172856" y="2269826"/>
            <a:chExt cx="8399462" cy="1008062"/>
          </a:xfrm>
        </p:grpSpPr>
        <p:sp>
          <p:nvSpPr>
            <p:cNvPr id="10" name="직사각형 5"/>
            <p:cNvSpPr>
              <a:spLocks noChangeArrowheads="1"/>
            </p:cNvSpPr>
            <p:nvPr/>
          </p:nvSpPr>
          <p:spPr bwMode="auto">
            <a:xfrm>
              <a:off x="1172856" y="2269826"/>
              <a:ext cx="2736850" cy="100806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marL="0" marR="0" lvl="0" indent="0" algn="ctr" defTabSz="100523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57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HY견명조" panose="02030600000101010101" pitchFamily="18" charset="-127"/>
                  <a:ea typeface="HY견명조" panose="02030600000101010101" pitchFamily="18" charset="-127"/>
                  <a:cs typeface="+mn-cs"/>
                </a:rPr>
                <a:t>2019</a:t>
              </a:r>
              <a:r>
                <a:rPr kumimoji="0" lang="ko-KR" altLang="en-US" sz="157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HY견명조" panose="02030600000101010101" pitchFamily="18" charset="-127"/>
                  <a:ea typeface="HY견명조" panose="02030600000101010101" pitchFamily="18" charset="-127"/>
                  <a:cs typeface="+mn-cs"/>
                </a:rPr>
                <a:t>년 </a:t>
              </a:r>
              <a:r>
                <a:rPr kumimoji="0" lang="en-US" altLang="ko-KR" sz="157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HY견명조" panose="02030600000101010101" pitchFamily="18" charset="-127"/>
                  <a:ea typeface="HY견명조" panose="02030600000101010101" pitchFamily="18" charset="-127"/>
                  <a:cs typeface="+mn-cs"/>
                </a:rPr>
                <a:t>12</a:t>
              </a:r>
              <a:r>
                <a:rPr kumimoji="0" lang="ko-KR" altLang="en-US" sz="157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HY견명조" panose="02030600000101010101" pitchFamily="18" charset="-127"/>
                  <a:ea typeface="HY견명조" panose="02030600000101010101" pitchFamily="18" charset="-127"/>
                  <a:cs typeface="+mn-cs"/>
                </a:rPr>
                <a:t>월 </a:t>
              </a:r>
              <a:r>
                <a:rPr kumimoji="0" lang="en-US" altLang="ko-KR" sz="157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HY견명조" panose="02030600000101010101" pitchFamily="18" charset="-127"/>
                  <a:ea typeface="HY견명조" panose="02030600000101010101" pitchFamily="18" charset="-127"/>
                  <a:cs typeface="+mn-cs"/>
                </a:rPr>
                <a:t>31</a:t>
              </a:r>
              <a:r>
                <a:rPr kumimoji="0" lang="ko-KR" altLang="en-US" sz="157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HY견명조" panose="02030600000101010101" pitchFamily="18" charset="-127"/>
                  <a:ea typeface="HY견명조" panose="02030600000101010101" pitchFamily="18" charset="-127"/>
                  <a:cs typeface="+mn-cs"/>
                </a:rPr>
                <a:t>일부터</a:t>
              </a:r>
              <a:endParaRPr kumimoji="0" lang="en-US" altLang="ko-KR" sz="1572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endParaRPr>
            </a:p>
            <a:p>
              <a:pPr marL="0" marR="0" lvl="0" indent="0" algn="ctr" defTabSz="100523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57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HY견명조" panose="02030600000101010101" pitchFamily="18" charset="-127"/>
                  <a:ea typeface="HY견명조" panose="02030600000101010101" pitchFamily="18" charset="-127"/>
                  <a:cs typeface="+mn-cs"/>
                </a:rPr>
                <a:t>소급하여 </a:t>
              </a:r>
              <a:r>
                <a:rPr kumimoji="0" lang="en-US" altLang="ko-KR" sz="157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HY견명조" panose="02030600000101010101" pitchFamily="18" charset="-127"/>
                  <a:ea typeface="HY견명조" panose="02030600000101010101" pitchFamily="18" charset="-127"/>
                  <a:cs typeface="+mn-cs"/>
                </a:rPr>
                <a:t>3</a:t>
              </a:r>
              <a:r>
                <a:rPr kumimoji="0" lang="ko-KR" altLang="en-US" sz="157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HY견명조" panose="02030600000101010101" pitchFamily="18" charset="-127"/>
                  <a:ea typeface="HY견명조" panose="02030600000101010101" pitchFamily="18" charset="-127"/>
                  <a:cs typeface="+mn-cs"/>
                </a:rPr>
                <a:t>년간 </a:t>
              </a:r>
              <a:r>
                <a:rPr kumimoji="0" lang="ko-KR" altLang="en-US" sz="1572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HY견명조" panose="02030600000101010101" pitchFamily="18" charset="-127"/>
                  <a:ea typeface="HY견명조" panose="02030600000101010101" pitchFamily="18" charset="-127"/>
                  <a:cs typeface="+mn-cs"/>
                </a:rPr>
                <a:t>총급여의</a:t>
              </a:r>
              <a:endParaRPr kumimoji="0" lang="en-US" altLang="ko-KR" sz="1572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endParaRPr>
            </a:p>
            <a:p>
              <a:pPr marL="0" marR="0" lvl="0" indent="0" algn="ctr" defTabSz="100523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57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HY견명조" panose="02030600000101010101" pitchFamily="18" charset="-127"/>
                  <a:ea typeface="HY견명조" panose="02030600000101010101" pitchFamily="18" charset="-127"/>
                  <a:cs typeface="+mn-cs"/>
                </a:rPr>
                <a:t>연 </a:t>
              </a:r>
              <a:r>
                <a:rPr kumimoji="0" lang="ko-KR" altLang="en-US" sz="1572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HY견명조" panose="02030600000101010101" pitchFamily="18" charset="-127"/>
                  <a:ea typeface="HY견명조" panose="02030600000101010101" pitchFamily="18" charset="-127"/>
                  <a:cs typeface="+mn-cs"/>
                </a:rPr>
                <a:t>환산액</a:t>
              </a:r>
              <a:r>
                <a:rPr kumimoji="0" lang="ko-KR" altLang="en-US" sz="157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HY견명조" panose="02030600000101010101" pitchFamily="18" charset="-127"/>
                  <a:ea typeface="HY견명조" panose="02030600000101010101" pitchFamily="18" charset="-127"/>
                  <a:cs typeface="+mn-cs"/>
                </a:rPr>
                <a:t> </a:t>
              </a:r>
            </a:p>
          </p:txBody>
        </p:sp>
        <p:sp>
          <p:nvSpPr>
            <p:cNvPr id="11" name="직사각형 6"/>
            <p:cNvSpPr>
              <a:spLocks noChangeArrowheads="1"/>
            </p:cNvSpPr>
            <p:nvPr/>
          </p:nvSpPr>
          <p:spPr bwMode="auto">
            <a:xfrm>
              <a:off x="3989346" y="2449213"/>
              <a:ext cx="358775" cy="649288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</p:spPr>
          <p:txBody>
            <a:bodyPr lIns="3774" tIns="3774" rIns="3774" bIns="3774" anchor="ctr"/>
            <a:lstStyle/>
            <a:p>
              <a:pPr marL="0" marR="0" lvl="0" indent="0" algn="ctr" defTabSz="100523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208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Y견명조" panose="02030600000101010101" pitchFamily="18" charset="-127"/>
                  <a:ea typeface="HY견명조" panose="02030600000101010101" pitchFamily="18" charset="-127"/>
                  <a:cs typeface="+mn-cs"/>
                </a:rPr>
                <a:t>×</a:t>
              </a:r>
              <a:endParaRPr kumimoji="0" lang="ko-KR" altLang="en-US" sz="208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endParaRPr>
            </a:p>
          </p:txBody>
        </p:sp>
        <p:sp>
          <p:nvSpPr>
            <p:cNvPr id="12" name="직사각형 8"/>
            <p:cNvSpPr>
              <a:spLocks noChangeArrowheads="1"/>
            </p:cNvSpPr>
            <p:nvPr/>
          </p:nvSpPr>
          <p:spPr bwMode="auto">
            <a:xfrm>
              <a:off x="4427761" y="2485726"/>
              <a:ext cx="647700" cy="57626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marL="0" marR="0" lvl="0" indent="0" algn="ctr" defTabSz="100523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HY견명조" panose="02030600000101010101" pitchFamily="18" charset="-127"/>
                  <a:ea typeface="HY견명조" panose="02030600000101010101" pitchFamily="18" charset="-127"/>
                  <a:cs typeface="+mn-cs"/>
                </a:rPr>
                <a:t>1/10</a:t>
              </a:r>
              <a:endParaRPr kumimoji="0" lang="ko-KR" altLang="en-US" sz="1467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endParaRPr>
            </a:p>
          </p:txBody>
        </p:sp>
        <p:sp>
          <p:nvSpPr>
            <p:cNvPr id="13" name="직사각형 9"/>
            <p:cNvSpPr>
              <a:spLocks noChangeArrowheads="1"/>
            </p:cNvSpPr>
            <p:nvPr/>
          </p:nvSpPr>
          <p:spPr bwMode="auto">
            <a:xfrm>
              <a:off x="5595104" y="2361107"/>
              <a:ext cx="2808287" cy="8255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marL="0" marR="0" lvl="0" indent="0" algn="ctr" defTabSz="100523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67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HY견명조" panose="02030600000101010101" pitchFamily="18" charset="-127"/>
                  <a:ea typeface="HY견명조" panose="02030600000101010101" pitchFamily="18" charset="-127"/>
                  <a:cs typeface="+mn-cs"/>
                </a:rPr>
                <a:t>2012</a:t>
              </a:r>
              <a:r>
                <a:rPr kumimoji="0" lang="ko-KR" altLang="en-US" sz="167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HY견명조" panose="02030600000101010101" pitchFamily="18" charset="-127"/>
                  <a:ea typeface="HY견명조" panose="02030600000101010101" pitchFamily="18" charset="-127"/>
                  <a:cs typeface="+mn-cs"/>
                </a:rPr>
                <a:t>년</a:t>
              </a:r>
              <a:r>
                <a:rPr kumimoji="0" lang="en-US" altLang="ko-KR" sz="167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HY견명조" panose="02030600000101010101" pitchFamily="18" charset="-127"/>
                  <a:ea typeface="HY견명조" panose="02030600000101010101" pitchFamily="18" charset="-127"/>
                  <a:cs typeface="+mn-cs"/>
                </a:rPr>
                <a:t>~2019</a:t>
              </a:r>
              <a:r>
                <a:rPr kumimoji="0" lang="ko-KR" altLang="en-US" sz="167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HY견명조" panose="02030600000101010101" pitchFamily="18" charset="-127"/>
                  <a:ea typeface="HY견명조" panose="02030600000101010101" pitchFamily="18" charset="-127"/>
                  <a:cs typeface="+mn-cs"/>
                </a:rPr>
                <a:t>년</a:t>
              </a:r>
              <a:endParaRPr kumimoji="0" lang="en-US" altLang="ko-KR" sz="1677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endParaRPr>
            </a:p>
            <a:p>
              <a:pPr marL="0" marR="0" lvl="0" indent="0" algn="ctr" defTabSz="100523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67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HY견명조" panose="02030600000101010101" pitchFamily="18" charset="-127"/>
                  <a:ea typeface="HY견명조" panose="02030600000101010101" pitchFamily="18" charset="-127"/>
                  <a:cs typeface="+mn-cs"/>
                </a:rPr>
                <a:t>근속기간</a:t>
              </a:r>
              <a:r>
                <a:rPr kumimoji="0" lang="en-US" altLang="ko-KR" sz="167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HY견명조" panose="02030600000101010101" pitchFamily="18" charset="-127"/>
                  <a:ea typeface="HY견명조" panose="02030600000101010101" pitchFamily="18" charset="-127"/>
                  <a:cs typeface="+mn-cs"/>
                </a:rPr>
                <a:t>(8</a:t>
              </a:r>
              <a:r>
                <a:rPr kumimoji="0" lang="ko-KR" altLang="en-US" sz="167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HY견명조" panose="02030600000101010101" pitchFamily="18" charset="-127"/>
                  <a:ea typeface="HY견명조" panose="02030600000101010101" pitchFamily="18" charset="-127"/>
                  <a:cs typeface="+mn-cs"/>
                </a:rPr>
                <a:t>년</a:t>
              </a:r>
              <a:r>
                <a:rPr kumimoji="0" lang="en-US" altLang="ko-KR" sz="167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HY견명조" panose="02030600000101010101" pitchFamily="18" charset="-127"/>
                  <a:ea typeface="HY견명조" panose="02030600000101010101" pitchFamily="18" charset="-127"/>
                  <a:cs typeface="+mn-cs"/>
                </a:rPr>
                <a:t>)</a:t>
              </a:r>
              <a:endParaRPr kumimoji="0" lang="ko-KR" altLang="en-US" sz="1677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endParaRPr>
            </a:p>
          </p:txBody>
        </p:sp>
        <p:sp>
          <p:nvSpPr>
            <p:cNvPr id="14" name="직사각형 11"/>
            <p:cNvSpPr>
              <a:spLocks noChangeArrowheads="1"/>
            </p:cNvSpPr>
            <p:nvPr/>
          </p:nvSpPr>
          <p:spPr bwMode="auto">
            <a:xfrm>
              <a:off x="8996056" y="2485726"/>
              <a:ext cx="576262" cy="576262"/>
            </a:xfrm>
            <a:prstGeom prst="rect">
              <a:avLst/>
            </a:prstGeom>
            <a:solidFill>
              <a:srgbClr val="1BB1E6"/>
            </a:solidFill>
            <a:ln w="9525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marL="0" marR="0" lvl="0" indent="0" algn="ctr" defTabSz="100523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677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HY견명조" panose="02030600000101010101" pitchFamily="18" charset="-127"/>
                  <a:ea typeface="HY견명조" panose="02030600000101010101" pitchFamily="18" charset="-127"/>
                  <a:cs typeface="+mn-cs"/>
                </a:rPr>
                <a:t>3</a:t>
              </a:r>
              <a:endParaRPr kumimoji="0" lang="ko-KR" altLang="en-US" sz="1677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endParaRPr>
            </a:p>
          </p:txBody>
        </p:sp>
        <p:sp>
          <p:nvSpPr>
            <p:cNvPr id="15" name="직사각형 19"/>
            <p:cNvSpPr>
              <a:spLocks noChangeArrowheads="1"/>
            </p:cNvSpPr>
            <p:nvPr/>
          </p:nvSpPr>
          <p:spPr bwMode="auto">
            <a:xfrm>
              <a:off x="5155101" y="2449213"/>
              <a:ext cx="360363" cy="649288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</p:spPr>
          <p:txBody>
            <a:bodyPr lIns="3774" tIns="3774" rIns="3774" bIns="3774" anchor="ctr"/>
            <a:lstStyle/>
            <a:p>
              <a:pPr marL="0" marR="0" lvl="0" indent="0" algn="ctr" defTabSz="100523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208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Y견명조" panose="02030600000101010101" pitchFamily="18" charset="-127"/>
                  <a:ea typeface="HY견명조" panose="02030600000101010101" pitchFamily="18" charset="-127"/>
                  <a:cs typeface="+mn-cs"/>
                </a:rPr>
                <a:t>×</a:t>
              </a:r>
              <a:endParaRPr kumimoji="0" lang="ko-KR" altLang="en-US" sz="208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endParaRPr>
            </a:p>
          </p:txBody>
        </p:sp>
        <p:sp>
          <p:nvSpPr>
            <p:cNvPr id="16" name="곱셈 기호 15"/>
            <p:cNvSpPr/>
            <p:nvPr/>
          </p:nvSpPr>
          <p:spPr bwMode="auto">
            <a:xfrm>
              <a:off x="8483031" y="2522238"/>
              <a:ext cx="433388" cy="503238"/>
            </a:xfrm>
            <a:prstGeom prst="mathMultiply">
              <a:avLst/>
            </a:prstGeom>
            <a:solidFill>
              <a:srgbClr val="1BB1E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100523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08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endParaRPr>
            </a:p>
          </p:txBody>
        </p:sp>
      </p:grpSp>
      <p:grpSp>
        <p:nvGrpSpPr>
          <p:cNvPr id="17" name="그룹 16"/>
          <p:cNvGrpSpPr/>
          <p:nvPr/>
        </p:nvGrpSpPr>
        <p:grpSpPr>
          <a:xfrm>
            <a:off x="667333" y="3500595"/>
            <a:ext cx="8804628" cy="1056688"/>
            <a:chOff x="1172856" y="3652820"/>
            <a:chExt cx="8399462" cy="1008062"/>
          </a:xfrm>
        </p:grpSpPr>
        <p:sp>
          <p:nvSpPr>
            <p:cNvPr id="18" name="직사각형 5"/>
            <p:cNvSpPr>
              <a:spLocks noChangeArrowheads="1"/>
            </p:cNvSpPr>
            <p:nvPr/>
          </p:nvSpPr>
          <p:spPr bwMode="auto">
            <a:xfrm>
              <a:off x="1172856" y="3652820"/>
              <a:ext cx="2736850" cy="100806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marL="0" marR="0" lvl="0" indent="0" algn="ctr" defTabSz="100523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57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HY견명조" panose="02030600000101010101" pitchFamily="18" charset="-127"/>
                  <a:ea typeface="HY견명조" panose="02030600000101010101" pitchFamily="18" charset="-127"/>
                  <a:cs typeface="+mn-cs"/>
                </a:rPr>
                <a:t>퇴직한 날로부터 </a:t>
              </a:r>
            </a:p>
            <a:p>
              <a:pPr marL="0" marR="0" lvl="0" indent="0" algn="ctr" defTabSz="100523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57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HY견명조" panose="02030600000101010101" pitchFamily="18" charset="-127"/>
                  <a:ea typeface="HY견명조" panose="02030600000101010101" pitchFamily="18" charset="-127"/>
                  <a:cs typeface="+mn-cs"/>
                </a:rPr>
                <a:t>소급하여 </a:t>
              </a:r>
              <a:r>
                <a:rPr kumimoji="0" lang="en-US" altLang="ko-KR" sz="157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HY견명조" panose="02030600000101010101" pitchFamily="18" charset="-127"/>
                  <a:ea typeface="HY견명조" panose="02030600000101010101" pitchFamily="18" charset="-127"/>
                  <a:cs typeface="+mn-cs"/>
                </a:rPr>
                <a:t>3</a:t>
              </a:r>
              <a:r>
                <a:rPr kumimoji="0" lang="ko-KR" altLang="en-US" sz="157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HY견명조" panose="02030600000101010101" pitchFamily="18" charset="-127"/>
                  <a:ea typeface="HY견명조" panose="02030600000101010101" pitchFamily="18" charset="-127"/>
                  <a:cs typeface="+mn-cs"/>
                </a:rPr>
                <a:t>년간 </a:t>
              </a:r>
              <a:r>
                <a:rPr kumimoji="0" lang="ko-KR" altLang="en-US" sz="1572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HY견명조" panose="02030600000101010101" pitchFamily="18" charset="-127"/>
                  <a:ea typeface="HY견명조" panose="02030600000101010101" pitchFamily="18" charset="-127"/>
                  <a:cs typeface="+mn-cs"/>
                </a:rPr>
                <a:t>총급여의</a:t>
              </a:r>
              <a:endParaRPr kumimoji="0" lang="ko-KR" altLang="en-US" sz="1572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endParaRPr>
            </a:p>
            <a:p>
              <a:pPr marL="0" marR="0" lvl="0" indent="0" algn="ctr" defTabSz="100523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57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HY견명조" panose="02030600000101010101" pitchFamily="18" charset="-127"/>
                  <a:ea typeface="HY견명조" panose="02030600000101010101" pitchFamily="18" charset="-127"/>
                  <a:cs typeface="+mn-cs"/>
                </a:rPr>
                <a:t>연 </a:t>
              </a:r>
              <a:r>
                <a:rPr kumimoji="0" lang="ko-KR" altLang="en-US" sz="1572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HY견명조" panose="02030600000101010101" pitchFamily="18" charset="-127"/>
                  <a:ea typeface="HY견명조" panose="02030600000101010101" pitchFamily="18" charset="-127"/>
                  <a:cs typeface="+mn-cs"/>
                </a:rPr>
                <a:t>환산액</a:t>
              </a:r>
              <a:r>
                <a:rPr kumimoji="0" lang="ko-KR" altLang="en-US" sz="157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HY견명조" panose="02030600000101010101" pitchFamily="18" charset="-127"/>
                  <a:ea typeface="HY견명조" panose="02030600000101010101" pitchFamily="18" charset="-127"/>
                  <a:cs typeface="+mn-cs"/>
                </a:rPr>
                <a:t> </a:t>
              </a:r>
            </a:p>
          </p:txBody>
        </p:sp>
        <p:sp>
          <p:nvSpPr>
            <p:cNvPr id="19" name="직사각형 6"/>
            <p:cNvSpPr>
              <a:spLocks noChangeArrowheads="1"/>
            </p:cNvSpPr>
            <p:nvPr/>
          </p:nvSpPr>
          <p:spPr bwMode="auto">
            <a:xfrm>
              <a:off x="3989346" y="3832207"/>
              <a:ext cx="358775" cy="649288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</p:spPr>
          <p:txBody>
            <a:bodyPr lIns="3774" tIns="3774" rIns="3774" bIns="3774" anchor="ctr"/>
            <a:lstStyle/>
            <a:p>
              <a:pPr marL="0" marR="0" lvl="0" indent="0" algn="ctr" defTabSz="100523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208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Y견명조" panose="02030600000101010101" pitchFamily="18" charset="-127"/>
                  <a:ea typeface="HY견명조" panose="02030600000101010101" pitchFamily="18" charset="-127"/>
                  <a:cs typeface="+mn-cs"/>
                </a:rPr>
                <a:t>×</a:t>
              </a:r>
              <a:endParaRPr kumimoji="0" lang="ko-KR" altLang="en-US" sz="208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endParaRPr>
            </a:p>
          </p:txBody>
        </p:sp>
        <p:sp>
          <p:nvSpPr>
            <p:cNvPr id="20" name="직사각형 8"/>
            <p:cNvSpPr>
              <a:spLocks noChangeArrowheads="1"/>
            </p:cNvSpPr>
            <p:nvPr/>
          </p:nvSpPr>
          <p:spPr bwMode="auto">
            <a:xfrm>
              <a:off x="4427761" y="3868720"/>
              <a:ext cx="647700" cy="57626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marL="0" marR="0" lvl="0" indent="0" algn="ctr" defTabSz="100523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6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HY견명조" panose="02030600000101010101" pitchFamily="18" charset="-127"/>
                  <a:ea typeface="HY견명조" panose="02030600000101010101" pitchFamily="18" charset="-127"/>
                  <a:cs typeface="+mn-cs"/>
                </a:rPr>
                <a:t>1/10</a:t>
              </a:r>
            </a:p>
          </p:txBody>
        </p:sp>
        <p:sp>
          <p:nvSpPr>
            <p:cNvPr id="21" name="직사각형 9"/>
            <p:cNvSpPr>
              <a:spLocks noChangeArrowheads="1"/>
            </p:cNvSpPr>
            <p:nvPr/>
          </p:nvSpPr>
          <p:spPr bwMode="auto">
            <a:xfrm>
              <a:off x="5595104" y="3744101"/>
              <a:ext cx="2808287" cy="8255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marL="0" marR="0" lvl="0" indent="0" algn="ctr" defTabSz="100523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67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HY견명조" panose="02030600000101010101" pitchFamily="18" charset="-127"/>
                  <a:ea typeface="HY견명조" panose="02030600000101010101" pitchFamily="18" charset="-127"/>
                  <a:cs typeface="+mn-cs"/>
                </a:rPr>
                <a:t>2020</a:t>
              </a:r>
              <a:r>
                <a:rPr kumimoji="0" lang="ko-KR" altLang="en-US" sz="167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HY견명조" panose="02030600000101010101" pitchFamily="18" charset="-127"/>
                  <a:ea typeface="HY견명조" panose="02030600000101010101" pitchFamily="18" charset="-127"/>
                  <a:cs typeface="+mn-cs"/>
                </a:rPr>
                <a:t>년 이후</a:t>
              </a:r>
            </a:p>
            <a:p>
              <a:pPr marL="0" marR="0" lvl="0" indent="0" algn="ctr" defTabSz="100523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67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HY견명조" panose="02030600000101010101" pitchFamily="18" charset="-127"/>
                  <a:ea typeface="HY견명조" panose="02030600000101010101" pitchFamily="18" charset="-127"/>
                  <a:cs typeface="+mn-cs"/>
                </a:rPr>
                <a:t>근속기간</a:t>
              </a:r>
            </a:p>
          </p:txBody>
        </p:sp>
        <p:sp>
          <p:nvSpPr>
            <p:cNvPr id="22" name="직사각형 11"/>
            <p:cNvSpPr>
              <a:spLocks noChangeArrowheads="1"/>
            </p:cNvSpPr>
            <p:nvPr/>
          </p:nvSpPr>
          <p:spPr bwMode="auto">
            <a:xfrm>
              <a:off x="8996056" y="3868720"/>
              <a:ext cx="576262" cy="576262"/>
            </a:xfrm>
            <a:prstGeom prst="rect">
              <a:avLst/>
            </a:prstGeom>
            <a:solidFill>
              <a:srgbClr val="1BB1E6"/>
            </a:solidFill>
            <a:ln w="9525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marL="0" marR="0" lvl="0" indent="0" algn="ctr" defTabSz="100523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677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HY견명조" panose="02030600000101010101" pitchFamily="18" charset="-127"/>
                  <a:ea typeface="HY견명조" panose="02030600000101010101" pitchFamily="18" charset="-127"/>
                  <a:cs typeface="+mn-cs"/>
                </a:rPr>
                <a:t>2</a:t>
              </a:r>
              <a:endParaRPr kumimoji="0" lang="ko-KR" altLang="en-US" sz="167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endParaRPr>
            </a:p>
          </p:txBody>
        </p:sp>
        <p:sp>
          <p:nvSpPr>
            <p:cNvPr id="23" name="직사각형 19"/>
            <p:cNvSpPr>
              <a:spLocks noChangeArrowheads="1"/>
            </p:cNvSpPr>
            <p:nvPr/>
          </p:nvSpPr>
          <p:spPr bwMode="auto">
            <a:xfrm>
              <a:off x="5155101" y="3832207"/>
              <a:ext cx="360363" cy="649288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</p:spPr>
          <p:txBody>
            <a:bodyPr lIns="3774" tIns="3774" rIns="3774" bIns="3774" anchor="ctr"/>
            <a:lstStyle/>
            <a:p>
              <a:pPr marL="0" marR="0" lvl="0" indent="0" algn="ctr" defTabSz="100523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208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Y견명조" panose="02030600000101010101" pitchFamily="18" charset="-127"/>
                  <a:ea typeface="HY견명조" panose="02030600000101010101" pitchFamily="18" charset="-127"/>
                  <a:cs typeface="+mn-cs"/>
                </a:rPr>
                <a:t>×</a:t>
              </a:r>
              <a:endParaRPr kumimoji="0" lang="ko-KR" altLang="en-US" sz="208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endParaRPr>
            </a:p>
          </p:txBody>
        </p:sp>
        <p:sp>
          <p:nvSpPr>
            <p:cNvPr id="24" name="곱셈 기호 23"/>
            <p:cNvSpPr/>
            <p:nvPr/>
          </p:nvSpPr>
          <p:spPr bwMode="auto">
            <a:xfrm>
              <a:off x="8483031" y="3905232"/>
              <a:ext cx="433388" cy="503238"/>
            </a:xfrm>
            <a:prstGeom prst="mathMultiply">
              <a:avLst/>
            </a:prstGeom>
            <a:solidFill>
              <a:srgbClr val="1BB1E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100523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08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endParaRPr>
            </a:p>
          </p:txBody>
        </p:sp>
      </p:grpSp>
      <p:grpSp>
        <p:nvGrpSpPr>
          <p:cNvPr id="25" name="그룹 24">
            <a:extLst>
              <a:ext uri="{FF2B5EF4-FFF2-40B4-BE49-F238E27FC236}">
                <a16:creationId xmlns:a16="http://schemas.microsoft.com/office/drawing/2014/main" id="{894B5733-CCFA-4858-99E0-B993A233B139}"/>
              </a:ext>
            </a:extLst>
          </p:cNvPr>
          <p:cNvGrpSpPr/>
          <p:nvPr/>
        </p:nvGrpSpPr>
        <p:grpSpPr>
          <a:xfrm>
            <a:off x="221681" y="4986085"/>
            <a:ext cx="9688255" cy="396467"/>
            <a:chOff x="-1779780" y="2238411"/>
            <a:chExt cx="9476670" cy="378222"/>
          </a:xfrm>
        </p:grpSpPr>
        <p:cxnSp>
          <p:nvCxnSpPr>
            <p:cNvPr id="26" name="직선 연결선 25">
              <a:extLst>
                <a:ext uri="{FF2B5EF4-FFF2-40B4-BE49-F238E27FC236}">
                  <a16:creationId xmlns:a16="http://schemas.microsoft.com/office/drawing/2014/main" id="{799FDBCF-108D-4B41-920B-E1A4C92BD854}"/>
                </a:ext>
              </a:extLst>
            </p:cNvPr>
            <p:cNvCxnSpPr>
              <a:cxnSpLocks/>
            </p:cNvCxnSpPr>
            <p:nvPr/>
          </p:nvCxnSpPr>
          <p:spPr>
            <a:xfrm>
              <a:off x="-1779780" y="2616633"/>
              <a:ext cx="9476670" cy="0"/>
            </a:xfrm>
            <a:prstGeom prst="line">
              <a:avLst/>
            </a:prstGeom>
            <a:noFill/>
            <a:ln w="254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" name="직선 연결선 26">
              <a:extLst>
                <a:ext uri="{FF2B5EF4-FFF2-40B4-BE49-F238E27FC236}">
                  <a16:creationId xmlns:a16="http://schemas.microsoft.com/office/drawing/2014/main" id="{9DBE070E-DC36-41FF-920D-F3B05E974234}"/>
                </a:ext>
              </a:extLst>
            </p:cNvPr>
            <p:cNvCxnSpPr/>
            <p:nvPr/>
          </p:nvCxnSpPr>
          <p:spPr>
            <a:xfrm>
              <a:off x="2528152" y="2616633"/>
              <a:ext cx="813600" cy="0"/>
            </a:xfrm>
            <a:prstGeom prst="line">
              <a:avLst/>
            </a:prstGeom>
            <a:noFill/>
            <a:ln w="25400">
              <a:solidFill>
                <a:srgbClr val="004C8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4659AE0D-DDA7-4F26-9BB2-E6A57209C417}"/>
                </a:ext>
              </a:extLst>
            </p:cNvPr>
            <p:cNvSpPr txBox="1"/>
            <p:nvPr/>
          </p:nvSpPr>
          <p:spPr>
            <a:xfrm>
              <a:off x="815033" y="2238411"/>
              <a:ext cx="4239857" cy="27703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marL="0" marR="0" lvl="0" indent="0" algn="ctr" defTabSz="100523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887" b="0" i="0" u="none" strike="noStrike" kern="120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4C81"/>
                  </a:solidFill>
                  <a:effectLst/>
                  <a:uLnTx/>
                  <a:uFillTx/>
                  <a:latin typeface="HY견명조" panose="02030600000101010101" pitchFamily="18" charset="-127"/>
                  <a:ea typeface="HY견명조" panose="02030600000101010101" pitchFamily="18" charset="-127"/>
                  <a:cs typeface="Arial" panose="020B0604020202020204" pitchFamily="34" charset="0"/>
                </a:rPr>
                <a:t>임원의 퇴직소득</a:t>
              </a:r>
              <a:r>
                <a:rPr kumimoji="0" lang="en-US" altLang="ko-KR" sz="1887" b="0" i="0" u="none" strike="noStrike" kern="120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4C81"/>
                  </a:solidFill>
                  <a:effectLst/>
                  <a:uLnTx/>
                  <a:uFillTx/>
                  <a:latin typeface="HY견명조" panose="02030600000101010101" pitchFamily="18" charset="-127"/>
                  <a:ea typeface="HY견명조" panose="02030600000101010101" pitchFamily="18" charset="-127"/>
                  <a:cs typeface="Arial" panose="020B0604020202020204" pitchFamily="34" charset="0"/>
                </a:rPr>
                <a:t>(</a:t>
              </a:r>
              <a:r>
                <a:rPr kumimoji="0" lang="ko-KR" altLang="en-US" sz="1887" b="0" i="0" u="none" strike="noStrike" kern="120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4C81"/>
                  </a:solidFill>
                  <a:effectLst/>
                  <a:uLnTx/>
                  <a:uFillTx/>
                  <a:latin typeface="HY견명조" panose="02030600000101010101" pitchFamily="18" charset="-127"/>
                  <a:ea typeface="HY견명조" panose="02030600000101010101" pitchFamily="18" charset="-127"/>
                  <a:cs typeface="Arial" panose="020B0604020202020204" pitchFamily="34" charset="0"/>
                </a:rPr>
                <a:t>퇴직소득세 계산</a:t>
              </a:r>
              <a:r>
                <a:rPr kumimoji="0" lang="en-US" altLang="ko-KR" sz="1887" b="0" i="0" u="none" strike="noStrike" kern="120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4C81"/>
                  </a:solidFill>
                  <a:effectLst/>
                  <a:uLnTx/>
                  <a:uFillTx/>
                  <a:latin typeface="HY견명조" panose="02030600000101010101" pitchFamily="18" charset="-127"/>
                  <a:ea typeface="HY견명조" panose="02030600000101010101" pitchFamily="18" charset="-127"/>
                  <a:cs typeface="Arial" panose="020B0604020202020204" pitchFamily="34" charset="0"/>
                </a:rPr>
                <a:t>) </a:t>
              </a:r>
              <a:r>
                <a:rPr kumimoji="0" lang="ko-KR" altLang="en-US" sz="1887" b="0" i="0" u="none" strike="noStrike" kern="1200" cap="none" spc="0" normalizeH="0" baseline="0" noProof="0" dirty="0">
                  <a:ln>
                    <a:solidFill>
                      <a:prstClr val="black">
                        <a:alpha val="0"/>
                      </a:prstClr>
                    </a:solidFill>
                  </a:ln>
                  <a:solidFill>
                    <a:srgbClr val="004C81"/>
                  </a:solidFill>
                  <a:effectLst/>
                  <a:uLnTx/>
                  <a:uFillTx/>
                  <a:latin typeface="HY견명조" panose="02030600000101010101" pitchFamily="18" charset="-127"/>
                  <a:ea typeface="HY견명조" panose="02030600000101010101" pitchFamily="18" charset="-127"/>
                  <a:cs typeface="Arial" panose="020B0604020202020204" pitchFamily="34" charset="0"/>
                </a:rPr>
                <a:t>한도</a:t>
              </a:r>
            </a:p>
          </p:txBody>
        </p:sp>
      </p:grpSp>
      <p:cxnSp>
        <p:nvCxnSpPr>
          <p:cNvPr id="29" name="직선 화살표 연결선 28"/>
          <p:cNvCxnSpPr/>
          <p:nvPr/>
        </p:nvCxnSpPr>
        <p:spPr>
          <a:xfrm>
            <a:off x="280185" y="6259045"/>
            <a:ext cx="2727891" cy="16997"/>
          </a:xfrm>
          <a:prstGeom prst="straightConnector1">
            <a:avLst/>
          </a:prstGeom>
          <a:ln w="50800">
            <a:solidFill>
              <a:schemeClr val="bg1">
                <a:lumMod val="7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그룹 29"/>
          <p:cNvGrpSpPr/>
          <p:nvPr/>
        </p:nvGrpSpPr>
        <p:grpSpPr>
          <a:xfrm>
            <a:off x="225011" y="5683425"/>
            <a:ext cx="9427862" cy="785113"/>
            <a:chOff x="1197228" y="3311208"/>
            <a:chExt cx="9939197" cy="1029018"/>
          </a:xfrm>
        </p:grpSpPr>
        <p:cxnSp>
          <p:nvCxnSpPr>
            <p:cNvPr id="31" name="직선 연결선 30"/>
            <p:cNvCxnSpPr/>
            <p:nvPr/>
          </p:nvCxnSpPr>
          <p:spPr>
            <a:xfrm>
              <a:off x="1197228" y="3311208"/>
              <a:ext cx="0" cy="1029018"/>
            </a:xfrm>
            <a:prstGeom prst="line">
              <a:avLst/>
            </a:prstGeom>
            <a:ln w="12700">
              <a:solidFill>
                <a:srgbClr val="1376C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직선 연결선 31"/>
            <p:cNvCxnSpPr/>
            <p:nvPr/>
          </p:nvCxnSpPr>
          <p:spPr>
            <a:xfrm>
              <a:off x="4161334" y="3311208"/>
              <a:ext cx="0" cy="1029018"/>
            </a:xfrm>
            <a:prstGeom prst="line">
              <a:avLst/>
            </a:prstGeom>
            <a:ln w="12700">
              <a:solidFill>
                <a:srgbClr val="1B71B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직선 연결선 32"/>
            <p:cNvCxnSpPr/>
            <p:nvPr/>
          </p:nvCxnSpPr>
          <p:spPr>
            <a:xfrm>
              <a:off x="7680150" y="3311208"/>
              <a:ext cx="0" cy="1029018"/>
            </a:xfrm>
            <a:prstGeom prst="line">
              <a:avLst/>
            </a:prstGeom>
            <a:ln w="12700">
              <a:solidFill>
                <a:srgbClr val="2063A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직선 연결선 33"/>
            <p:cNvCxnSpPr/>
            <p:nvPr/>
          </p:nvCxnSpPr>
          <p:spPr>
            <a:xfrm>
              <a:off x="11136425" y="3311208"/>
              <a:ext cx="0" cy="1029018"/>
            </a:xfrm>
            <a:prstGeom prst="line">
              <a:avLst/>
            </a:prstGeom>
            <a:ln w="12700">
              <a:solidFill>
                <a:srgbClr val="234D7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5" name="직선 화살표 연결선 34"/>
          <p:cNvCxnSpPr/>
          <p:nvPr/>
        </p:nvCxnSpPr>
        <p:spPr>
          <a:xfrm>
            <a:off x="221684" y="6468538"/>
            <a:ext cx="9688254" cy="0"/>
          </a:xfrm>
          <a:prstGeom prst="straightConnector1">
            <a:avLst/>
          </a:prstGeom>
          <a:ln w="50800">
            <a:gradFill>
              <a:gsLst>
                <a:gs pos="0">
                  <a:srgbClr val="1276C8"/>
                </a:gs>
                <a:gs pos="100000">
                  <a:srgbClr val="234A70"/>
                </a:gs>
              </a:gsLst>
              <a:lin ang="2700000" scaled="0"/>
            </a:gra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그룹 35"/>
          <p:cNvGrpSpPr/>
          <p:nvPr/>
        </p:nvGrpSpPr>
        <p:grpSpPr>
          <a:xfrm>
            <a:off x="134661" y="6371188"/>
            <a:ext cx="180699" cy="199689"/>
            <a:chOff x="1902461" y="3126580"/>
            <a:chExt cx="190500" cy="190500"/>
          </a:xfrm>
        </p:grpSpPr>
        <p:sp>
          <p:nvSpPr>
            <p:cNvPr id="37" name="타원 36"/>
            <p:cNvSpPr/>
            <p:nvPr/>
          </p:nvSpPr>
          <p:spPr>
            <a:xfrm>
              <a:off x="1902461" y="3126580"/>
              <a:ext cx="190500" cy="1905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0523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08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endParaRPr>
            </a:p>
          </p:txBody>
        </p:sp>
        <p:sp>
          <p:nvSpPr>
            <p:cNvPr id="38" name="타원 37"/>
            <p:cNvSpPr/>
            <p:nvPr/>
          </p:nvSpPr>
          <p:spPr>
            <a:xfrm>
              <a:off x="1953579" y="3177698"/>
              <a:ext cx="88265" cy="88265"/>
            </a:xfrm>
            <a:prstGeom prst="ellipse">
              <a:avLst/>
            </a:prstGeom>
            <a:solidFill>
              <a:srgbClr val="1376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0523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08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endParaRPr>
            </a:p>
          </p:txBody>
        </p:sp>
      </p:grpSp>
      <p:grpSp>
        <p:nvGrpSpPr>
          <p:cNvPr id="39" name="그룹 38"/>
          <p:cNvGrpSpPr/>
          <p:nvPr/>
        </p:nvGrpSpPr>
        <p:grpSpPr>
          <a:xfrm>
            <a:off x="9573274" y="6371188"/>
            <a:ext cx="180699" cy="199689"/>
            <a:chOff x="1902461" y="3126580"/>
            <a:chExt cx="190500" cy="190500"/>
          </a:xfrm>
        </p:grpSpPr>
        <p:sp>
          <p:nvSpPr>
            <p:cNvPr id="40" name="타원 39"/>
            <p:cNvSpPr/>
            <p:nvPr/>
          </p:nvSpPr>
          <p:spPr>
            <a:xfrm>
              <a:off x="1902461" y="3126580"/>
              <a:ext cx="190500" cy="1905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0523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08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endParaRPr>
            </a:p>
          </p:txBody>
        </p:sp>
        <p:sp>
          <p:nvSpPr>
            <p:cNvPr id="41" name="타원 40"/>
            <p:cNvSpPr/>
            <p:nvPr/>
          </p:nvSpPr>
          <p:spPr>
            <a:xfrm>
              <a:off x="1953579" y="3177698"/>
              <a:ext cx="88265" cy="88265"/>
            </a:xfrm>
            <a:prstGeom prst="ellipse">
              <a:avLst/>
            </a:prstGeom>
            <a:solidFill>
              <a:srgbClr val="234A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0523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08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endParaRPr>
            </a:p>
          </p:txBody>
        </p:sp>
      </p:grpSp>
      <p:grpSp>
        <p:nvGrpSpPr>
          <p:cNvPr id="42" name="그룹 41"/>
          <p:cNvGrpSpPr/>
          <p:nvPr/>
        </p:nvGrpSpPr>
        <p:grpSpPr>
          <a:xfrm>
            <a:off x="6293056" y="6371188"/>
            <a:ext cx="180699" cy="199689"/>
            <a:chOff x="1902461" y="3126580"/>
            <a:chExt cx="190500" cy="190500"/>
          </a:xfrm>
        </p:grpSpPr>
        <p:sp>
          <p:nvSpPr>
            <p:cNvPr id="43" name="타원 42"/>
            <p:cNvSpPr/>
            <p:nvPr/>
          </p:nvSpPr>
          <p:spPr>
            <a:xfrm>
              <a:off x="1902461" y="3126580"/>
              <a:ext cx="190500" cy="1905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0523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08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endParaRPr>
            </a:p>
          </p:txBody>
        </p:sp>
        <p:sp>
          <p:nvSpPr>
            <p:cNvPr id="44" name="타원 43"/>
            <p:cNvSpPr/>
            <p:nvPr/>
          </p:nvSpPr>
          <p:spPr>
            <a:xfrm>
              <a:off x="1953579" y="3177698"/>
              <a:ext cx="88265" cy="88265"/>
            </a:xfrm>
            <a:prstGeom prst="ellipse">
              <a:avLst/>
            </a:prstGeom>
            <a:solidFill>
              <a:srgbClr val="2064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0523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08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endParaRPr>
            </a:p>
          </p:txBody>
        </p:sp>
      </p:grpSp>
      <p:sp>
        <p:nvSpPr>
          <p:cNvPr id="45" name="TextBox 44"/>
          <p:cNvSpPr txBox="1"/>
          <p:nvPr/>
        </p:nvSpPr>
        <p:spPr>
          <a:xfrm>
            <a:off x="2375011" y="6566852"/>
            <a:ext cx="1486304" cy="3504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77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2011.12.31</a:t>
            </a:r>
            <a:endParaRPr kumimoji="0" lang="ko-KR" altLang="en-US" sz="1677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HY견명조" panose="02030600000101010101" pitchFamily="18" charset="-127"/>
              <a:ea typeface="HY견명조" panose="02030600000101010101" pitchFamily="18" charset="-127"/>
              <a:cs typeface="+mn-cs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5670514" y="6566852"/>
            <a:ext cx="1486304" cy="3504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77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2019.12.31</a:t>
            </a:r>
            <a:endParaRPr kumimoji="0" lang="ko-KR" altLang="en-US" sz="1677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HY견명조" panose="02030600000101010101" pitchFamily="18" charset="-127"/>
              <a:ea typeface="HY견명조" panose="02030600000101010101" pitchFamily="18" charset="-127"/>
              <a:cs typeface="+mn-cs"/>
            </a:endParaRPr>
          </a:p>
        </p:txBody>
      </p:sp>
      <p:grpSp>
        <p:nvGrpSpPr>
          <p:cNvPr id="47" name="그룹 46"/>
          <p:cNvGrpSpPr/>
          <p:nvPr/>
        </p:nvGrpSpPr>
        <p:grpSpPr>
          <a:xfrm>
            <a:off x="2946275" y="6371188"/>
            <a:ext cx="180699" cy="199689"/>
            <a:chOff x="1902461" y="3126580"/>
            <a:chExt cx="190500" cy="190500"/>
          </a:xfrm>
        </p:grpSpPr>
        <p:sp>
          <p:nvSpPr>
            <p:cNvPr id="48" name="타원 47"/>
            <p:cNvSpPr/>
            <p:nvPr/>
          </p:nvSpPr>
          <p:spPr>
            <a:xfrm>
              <a:off x="1902461" y="3126580"/>
              <a:ext cx="190500" cy="1905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0523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08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endParaRPr>
            </a:p>
          </p:txBody>
        </p:sp>
        <p:sp>
          <p:nvSpPr>
            <p:cNvPr id="49" name="타원 48"/>
            <p:cNvSpPr/>
            <p:nvPr/>
          </p:nvSpPr>
          <p:spPr>
            <a:xfrm>
              <a:off x="1953579" y="3177698"/>
              <a:ext cx="88265" cy="88265"/>
            </a:xfrm>
            <a:prstGeom prst="ellipse">
              <a:avLst/>
            </a:prstGeom>
            <a:solidFill>
              <a:srgbClr val="1B71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05234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08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endParaRPr>
            </a:p>
          </p:txBody>
        </p:sp>
      </p:grpSp>
      <p:cxnSp>
        <p:nvCxnSpPr>
          <p:cNvPr id="50" name="직선 화살표 연결선 49"/>
          <p:cNvCxnSpPr/>
          <p:nvPr/>
        </p:nvCxnSpPr>
        <p:spPr>
          <a:xfrm>
            <a:off x="3089874" y="6272355"/>
            <a:ext cx="3230248" cy="19929"/>
          </a:xfrm>
          <a:prstGeom prst="straightConnector1">
            <a:avLst/>
          </a:prstGeom>
          <a:ln w="50800">
            <a:solidFill>
              <a:schemeClr val="bg1">
                <a:lumMod val="7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직선 화살표 연결선 50"/>
          <p:cNvCxnSpPr/>
          <p:nvPr/>
        </p:nvCxnSpPr>
        <p:spPr>
          <a:xfrm>
            <a:off x="6414796" y="6285668"/>
            <a:ext cx="3198418" cy="19929"/>
          </a:xfrm>
          <a:prstGeom prst="straightConnector1">
            <a:avLst/>
          </a:prstGeom>
          <a:ln w="50800">
            <a:solidFill>
              <a:schemeClr val="bg1">
                <a:lumMod val="7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직사각형 31"/>
          <p:cNvSpPr>
            <a:spLocks noChangeArrowheads="1"/>
          </p:cNvSpPr>
          <p:nvPr/>
        </p:nvSpPr>
        <p:spPr bwMode="auto">
          <a:xfrm>
            <a:off x="436846" y="5638118"/>
            <a:ext cx="2414576" cy="527513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3774" tIns="3774" rIns="3774" bIns="3774" anchor="ctr"/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58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지급배율에 관계없이</a:t>
            </a:r>
            <a:endParaRPr kumimoji="0" lang="en-US" altLang="ko-KR" sz="1258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HY견명조" panose="02030600000101010101" pitchFamily="18" charset="-127"/>
              <a:ea typeface="HY견명조" panose="02030600000101010101" pitchFamily="18" charset="-127"/>
              <a:cs typeface="+mn-cs"/>
            </a:endParaRPr>
          </a:p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58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한도 </a:t>
            </a:r>
            <a:r>
              <a:rPr kumimoji="0" lang="ko-KR" altLang="en-US" sz="1258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미적용</a:t>
            </a:r>
            <a:r>
              <a:rPr kumimoji="0" lang="ko-KR" altLang="en-US" sz="1258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 퇴직소득</a:t>
            </a:r>
            <a:endParaRPr kumimoji="0" lang="en-US" altLang="ko-KR" sz="1258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HY견명조" panose="02030600000101010101" pitchFamily="18" charset="-127"/>
              <a:ea typeface="HY견명조" panose="02030600000101010101" pitchFamily="18" charset="-127"/>
              <a:cs typeface="+mn-cs"/>
            </a:endParaRPr>
          </a:p>
        </p:txBody>
      </p:sp>
      <p:sp>
        <p:nvSpPr>
          <p:cNvPr id="53" name="직사각형 32"/>
          <p:cNvSpPr>
            <a:spLocks noChangeArrowheads="1"/>
          </p:cNvSpPr>
          <p:nvPr/>
        </p:nvSpPr>
        <p:spPr bwMode="auto">
          <a:xfrm>
            <a:off x="2965933" y="5638118"/>
            <a:ext cx="3472927" cy="527513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3774" tIns="3774" rIns="3774" bIns="3774" anchor="ctr"/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58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2019</a:t>
            </a:r>
            <a:r>
              <a:rPr kumimoji="0" lang="ko-KR" altLang="en-US" sz="1258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년 말부터 소급 </a:t>
            </a:r>
            <a:r>
              <a:rPr kumimoji="0" lang="en-US" altLang="ko-KR" sz="1258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3</a:t>
            </a:r>
            <a:r>
              <a:rPr kumimoji="0" lang="ko-KR" altLang="en-US" sz="1258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년 </a:t>
            </a:r>
            <a:r>
              <a:rPr kumimoji="0" lang="ko-KR" altLang="en-US" sz="1258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총급여의</a:t>
            </a:r>
            <a:r>
              <a:rPr kumimoji="0" lang="ko-KR" altLang="en-US" sz="1258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 </a:t>
            </a:r>
            <a:r>
              <a:rPr kumimoji="0" lang="ko-KR" altLang="en-US" sz="1258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연환산액</a:t>
            </a:r>
            <a:endParaRPr kumimoji="0" lang="en-US" altLang="ko-KR" sz="1258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HY견명조" panose="02030600000101010101" pitchFamily="18" charset="-127"/>
              <a:ea typeface="HY견명조" panose="02030600000101010101" pitchFamily="18" charset="-127"/>
              <a:cs typeface="+mn-cs"/>
            </a:endParaRPr>
          </a:p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58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 </a:t>
            </a:r>
            <a:r>
              <a:rPr kumimoji="0" lang="en-US" altLang="ko-KR" sz="1258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× 10% × 8</a:t>
            </a:r>
            <a:r>
              <a:rPr kumimoji="0" lang="ko-KR" altLang="en-US" sz="1258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년 </a:t>
            </a:r>
            <a:r>
              <a:rPr kumimoji="0" lang="en-US" altLang="ko-KR" sz="1258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× </a:t>
            </a:r>
            <a:r>
              <a:rPr kumimoji="0" lang="en-US" altLang="ko-KR" sz="1258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3</a:t>
            </a:r>
            <a:r>
              <a:rPr kumimoji="0" lang="ko-KR" altLang="en-US" sz="1258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배</a:t>
            </a:r>
            <a:endParaRPr kumimoji="0" lang="en-US" altLang="ko-KR" sz="1258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HY견명조" panose="02030600000101010101" pitchFamily="18" charset="-127"/>
              <a:ea typeface="HY견명조" panose="02030600000101010101" pitchFamily="18" charset="-127"/>
              <a:cs typeface="+mn-cs"/>
            </a:endParaRPr>
          </a:p>
        </p:txBody>
      </p:sp>
      <p:sp>
        <p:nvSpPr>
          <p:cNvPr id="54" name="직사각형 33"/>
          <p:cNvSpPr>
            <a:spLocks noChangeArrowheads="1"/>
          </p:cNvSpPr>
          <p:nvPr/>
        </p:nvSpPr>
        <p:spPr bwMode="auto">
          <a:xfrm>
            <a:off x="6414075" y="5638118"/>
            <a:ext cx="3213370" cy="527513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3774" tIns="3774" rIns="3774" bIns="3774" anchor="ctr"/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58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퇴직직전 소급 </a:t>
            </a:r>
            <a:r>
              <a:rPr kumimoji="0" lang="en-US" altLang="ko-KR" sz="1258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3</a:t>
            </a:r>
            <a:r>
              <a:rPr kumimoji="0" lang="ko-KR" altLang="en-US" sz="1258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년 </a:t>
            </a:r>
            <a:r>
              <a:rPr kumimoji="0" lang="ko-KR" altLang="en-US" sz="1258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총급여의</a:t>
            </a:r>
            <a:r>
              <a:rPr kumimoji="0" lang="ko-KR" altLang="en-US" sz="1258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 </a:t>
            </a:r>
            <a:r>
              <a:rPr kumimoji="0" lang="ko-KR" altLang="en-US" sz="1258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연환산액</a:t>
            </a:r>
            <a:endParaRPr kumimoji="0" lang="en-US" altLang="ko-KR" sz="1258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HY견명조" panose="02030600000101010101" pitchFamily="18" charset="-127"/>
              <a:ea typeface="HY견명조" panose="02030600000101010101" pitchFamily="18" charset="-127"/>
              <a:cs typeface="+mn-cs"/>
            </a:endParaRPr>
          </a:p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258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 </a:t>
            </a:r>
            <a:r>
              <a:rPr kumimoji="0" lang="en-US" altLang="ko-KR" sz="1258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× 10% × 2020</a:t>
            </a:r>
            <a:r>
              <a:rPr kumimoji="0" lang="ko-KR" altLang="en-US" sz="1258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년 이후 근속기간 </a:t>
            </a:r>
            <a:r>
              <a:rPr kumimoji="0" lang="en-US" altLang="ko-KR" sz="1258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× </a:t>
            </a:r>
            <a:r>
              <a:rPr kumimoji="0" lang="en-US" altLang="ko-KR" sz="1258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2</a:t>
            </a:r>
            <a:r>
              <a:rPr kumimoji="0" lang="ko-KR" altLang="en-US" sz="1258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배</a:t>
            </a:r>
            <a:endParaRPr kumimoji="0" lang="en-US" altLang="ko-KR" sz="1258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HY견명조" panose="02030600000101010101" pitchFamily="18" charset="-127"/>
              <a:ea typeface="HY견명조" panose="02030600000101010101" pitchFamily="18" charset="-127"/>
              <a:cs typeface="+mn-cs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274320" y="202629"/>
            <a:ext cx="842287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58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임원 </a:t>
            </a:r>
            <a:r>
              <a:rPr kumimoji="0" lang="ko-KR" altLang="en-US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퇴직금 </a:t>
            </a:r>
            <a:r>
              <a:rPr kumimoji="0" lang="ko-KR" altLang="en-US" sz="22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지급규정</a:t>
            </a:r>
            <a:endParaRPr kumimoji="0" lang="ko-KR" altLang="en-US" sz="2200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나눔고딕 ExtraBold" panose="020D0904000000000000" pitchFamily="50" charset="-127"/>
              <a:ea typeface="나눔고딕 ExtraBold" panose="020D0904000000000000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8801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>
            <p:extLst/>
          </p:nvPr>
        </p:nvGraphicFramePr>
        <p:xfrm>
          <a:off x="471877" y="2211071"/>
          <a:ext cx="4554684" cy="275160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6437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9031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1907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700" dirty="0">
                          <a:solidFill>
                            <a:schemeClr val="bg1"/>
                          </a:solidFill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과세표준</a:t>
                      </a:r>
                    </a:p>
                  </a:txBody>
                  <a:tcPr marL="112084" marR="112084" marT="51721" marB="5172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5E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700" dirty="0">
                          <a:solidFill>
                            <a:schemeClr val="bg1"/>
                          </a:solidFill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세율</a:t>
                      </a:r>
                    </a:p>
                  </a:txBody>
                  <a:tcPr marL="112084" marR="112084" marT="51721" marB="5172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5EA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982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500" b="1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2</a:t>
                      </a:r>
                      <a:r>
                        <a:rPr lang="ko-KR" altLang="en-US" sz="1500" b="1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억원 이하</a:t>
                      </a:r>
                    </a:p>
                  </a:txBody>
                  <a:tcPr marL="95851" marR="95851" marT="47925" marB="4792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500" b="1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9%</a:t>
                      </a:r>
                      <a:endParaRPr lang="ko-KR" altLang="en-US" sz="1500" b="1" dirty="0">
                        <a:latin typeface="HY견명조" panose="02030600000101010101" pitchFamily="18" charset="-127"/>
                        <a:ea typeface="HY견명조" panose="02030600000101010101" pitchFamily="18" charset="-127"/>
                      </a:endParaRPr>
                    </a:p>
                  </a:txBody>
                  <a:tcPr marL="95851" marR="95851" marT="47925" marB="4792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5982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500" b="1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2</a:t>
                      </a:r>
                      <a:r>
                        <a:rPr lang="ko-KR" altLang="en-US" sz="1500" b="1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억원</a:t>
                      </a:r>
                      <a:r>
                        <a:rPr lang="en-US" altLang="ko-KR" sz="1500" b="1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~200</a:t>
                      </a:r>
                      <a:r>
                        <a:rPr lang="ko-KR" altLang="en-US" sz="1500" b="1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억원 이하</a:t>
                      </a:r>
                    </a:p>
                  </a:txBody>
                  <a:tcPr marL="95851" marR="95851" marT="47925" marB="4792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500" b="1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19%</a:t>
                      </a:r>
                      <a:endParaRPr lang="ko-KR" altLang="en-US" sz="1500" b="1" dirty="0">
                        <a:latin typeface="HY견명조" panose="02030600000101010101" pitchFamily="18" charset="-127"/>
                        <a:ea typeface="HY견명조" panose="02030600000101010101" pitchFamily="18" charset="-127"/>
                      </a:endParaRPr>
                    </a:p>
                  </a:txBody>
                  <a:tcPr marL="95851" marR="95851" marT="47925" marB="4792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19070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500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200</a:t>
                      </a:r>
                      <a:r>
                        <a:rPr lang="ko-KR" altLang="en-US" sz="1500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억원</a:t>
                      </a:r>
                      <a:r>
                        <a:rPr lang="en-US" altLang="ko-KR" sz="1500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~3,000</a:t>
                      </a:r>
                      <a:r>
                        <a:rPr lang="ko-KR" altLang="en-US" sz="1500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억원 이하</a:t>
                      </a:r>
                    </a:p>
                  </a:txBody>
                  <a:tcPr marL="95851" marR="95851" marT="47925" marB="4792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500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21%</a:t>
                      </a:r>
                      <a:endParaRPr lang="ko-KR" altLang="en-US" sz="1500" dirty="0">
                        <a:latin typeface="HY견명조" panose="02030600000101010101" pitchFamily="18" charset="-127"/>
                        <a:ea typeface="HY견명조" panose="02030600000101010101" pitchFamily="18" charset="-127"/>
                      </a:endParaRPr>
                    </a:p>
                  </a:txBody>
                  <a:tcPr marL="95851" marR="95851" marT="47925" marB="4792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59829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500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3,000</a:t>
                      </a:r>
                      <a:r>
                        <a:rPr lang="ko-KR" altLang="en-US" sz="1500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억원 초과</a:t>
                      </a:r>
                    </a:p>
                  </a:txBody>
                  <a:tcPr marL="95851" marR="95851" marT="47925" marB="4792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500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24%</a:t>
                      </a:r>
                      <a:endParaRPr lang="ko-KR" altLang="en-US" sz="1500" dirty="0">
                        <a:latin typeface="HY견명조" panose="02030600000101010101" pitchFamily="18" charset="-127"/>
                        <a:ea typeface="HY견명조" panose="02030600000101010101" pitchFamily="18" charset="-127"/>
                      </a:endParaRPr>
                    </a:p>
                  </a:txBody>
                  <a:tcPr marL="95851" marR="95851" marT="47925" marB="4792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34661" y="1595225"/>
            <a:ext cx="1398140" cy="3708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566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1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○ 법인세율</a:t>
            </a:r>
          </a:p>
        </p:txBody>
      </p:sp>
      <p:graphicFrame>
        <p:nvGraphicFramePr>
          <p:cNvPr id="4" name="표 3"/>
          <p:cNvGraphicFramePr>
            <a:graphicFrameLocks noGrp="1"/>
          </p:cNvGraphicFramePr>
          <p:nvPr>
            <p:extLst/>
          </p:nvPr>
        </p:nvGraphicFramePr>
        <p:xfrm>
          <a:off x="5537563" y="2216229"/>
          <a:ext cx="4554684" cy="4579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2457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3010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79552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700" dirty="0">
                          <a:solidFill>
                            <a:schemeClr val="bg1"/>
                          </a:solidFill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과세표준</a:t>
                      </a:r>
                    </a:p>
                  </a:txBody>
                  <a:tcPr marL="112084" marR="112084" marT="51721" marB="5172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5EAA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700" dirty="0">
                          <a:solidFill>
                            <a:schemeClr val="bg1"/>
                          </a:solidFill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세율</a:t>
                      </a:r>
                    </a:p>
                  </a:txBody>
                  <a:tcPr marL="112084" marR="112084" marT="51721" marB="51721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5EA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72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500" dirty="0" smtClean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1,400</a:t>
                      </a:r>
                      <a:r>
                        <a:rPr lang="ko-KR" altLang="en-US" sz="1500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만원 이하</a:t>
                      </a:r>
                    </a:p>
                  </a:txBody>
                  <a:tcPr marL="95851" marR="95851" marT="47925" marB="4792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500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6%</a:t>
                      </a:r>
                      <a:endParaRPr lang="ko-KR" altLang="en-US" sz="1500" dirty="0">
                        <a:latin typeface="HY견명조" panose="02030600000101010101" pitchFamily="18" charset="-127"/>
                        <a:ea typeface="HY견명조" panose="02030600000101010101" pitchFamily="18" charset="-127"/>
                      </a:endParaRPr>
                    </a:p>
                  </a:txBody>
                  <a:tcPr marL="95851" marR="95851" marT="47925" marB="4792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72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500" dirty="0" smtClean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1,400</a:t>
                      </a:r>
                      <a:r>
                        <a:rPr lang="ko-KR" altLang="en-US" sz="1500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만원</a:t>
                      </a:r>
                      <a:r>
                        <a:rPr lang="en-US" altLang="ko-KR" sz="1500" dirty="0" smtClean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~5,000</a:t>
                      </a:r>
                      <a:r>
                        <a:rPr lang="ko-KR" altLang="en-US" sz="1500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만원 이하</a:t>
                      </a:r>
                    </a:p>
                  </a:txBody>
                  <a:tcPr marL="95851" marR="95851" marT="47925" marB="4792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500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15%</a:t>
                      </a:r>
                      <a:endParaRPr lang="ko-KR" altLang="en-US" sz="1500" dirty="0">
                        <a:latin typeface="HY견명조" panose="02030600000101010101" pitchFamily="18" charset="-127"/>
                        <a:ea typeface="HY견명조" panose="02030600000101010101" pitchFamily="18" charset="-127"/>
                      </a:endParaRPr>
                    </a:p>
                  </a:txBody>
                  <a:tcPr marL="95851" marR="95851" marT="47925" marB="4792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7955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500" dirty="0" smtClean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5,000</a:t>
                      </a:r>
                      <a:r>
                        <a:rPr lang="ko-KR" altLang="en-US" sz="1500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만원</a:t>
                      </a:r>
                      <a:r>
                        <a:rPr lang="en-US" altLang="ko-KR" sz="1500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~8,800</a:t>
                      </a:r>
                      <a:r>
                        <a:rPr lang="ko-KR" altLang="en-US" sz="1500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만원 이하</a:t>
                      </a:r>
                    </a:p>
                  </a:txBody>
                  <a:tcPr marL="95851" marR="95851" marT="47925" marB="4792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500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24%</a:t>
                      </a:r>
                      <a:endParaRPr lang="ko-KR" altLang="en-US" sz="1500" dirty="0">
                        <a:latin typeface="HY견명조" panose="02030600000101010101" pitchFamily="18" charset="-127"/>
                        <a:ea typeface="HY견명조" panose="02030600000101010101" pitchFamily="18" charset="-127"/>
                      </a:endParaRPr>
                    </a:p>
                  </a:txBody>
                  <a:tcPr marL="95851" marR="95851" marT="47925" marB="4792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172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500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8,800</a:t>
                      </a:r>
                      <a:r>
                        <a:rPr lang="ko-KR" altLang="en-US" sz="1500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만원 </a:t>
                      </a:r>
                      <a:r>
                        <a:rPr lang="en-US" altLang="ko-KR" sz="1500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~ 1,5</a:t>
                      </a:r>
                      <a:r>
                        <a:rPr lang="ko-KR" altLang="en-US" sz="1500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억원 이하</a:t>
                      </a:r>
                    </a:p>
                  </a:txBody>
                  <a:tcPr marL="95851" marR="95851" marT="47925" marB="4792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500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35%</a:t>
                      </a:r>
                    </a:p>
                  </a:txBody>
                  <a:tcPr marL="95851" marR="95851" marT="47925" marB="4792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5172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500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1.5</a:t>
                      </a:r>
                      <a:r>
                        <a:rPr lang="ko-KR" altLang="en-US" sz="1500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억원</a:t>
                      </a:r>
                      <a:r>
                        <a:rPr lang="en-US" altLang="ko-KR" sz="1500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~3</a:t>
                      </a:r>
                      <a:r>
                        <a:rPr lang="ko-KR" altLang="en-US" sz="1500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억원 이하</a:t>
                      </a:r>
                    </a:p>
                  </a:txBody>
                  <a:tcPr marL="95851" marR="95851" marT="47925" marB="4792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500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38%</a:t>
                      </a:r>
                      <a:endParaRPr lang="ko-KR" altLang="en-US" sz="1500" dirty="0">
                        <a:latin typeface="HY견명조" panose="02030600000101010101" pitchFamily="18" charset="-127"/>
                        <a:ea typeface="HY견명조" panose="02030600000101010101" pitchFamily="18" charset="-127"/>
                      </a:endParaRPr>
                    </a:p>
                  </a:txBody>
                  <a:tcPr marL="95851" marR="95851" marT="47925" marB="4792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0013439"/>
                  </a:ext>
                </a:extLst>
              </a:tr>
              <a:tr h="5172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500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3</a:t>
                      </a:r>
                      <a:r>
                        <a:rPr lang="ko-KR" altLang="en-US" sz="1500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억원</a:t>
                      </a:r>
                      <a:r>
                        <a:rPr lang="en-US" altLang="ko-KR" sz="1500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~5</a:t>
                      </a:r>
                      <a:r>
                        <a:rPr lang="ko-KR" altLang="en-US" sz="1500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억원 이하</a:t>
                      </a:r>
                    </a:p>
                  </a:txBody>
                  <a:tcPr marL="95851" marR="95851" marT="47925" marB="4792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500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40%</a:t>
                      </a:r>
                      <a:endParaRPr lang="ko-KR" altLang="en-US" sz="1500" dirty="0">
                        <a:latin typeface="HY견명조" panose="02030600000101010101" pitchFamily="18" charset="-127"/>
                        <a:ea typeface="HY견명조" panose="02030600000101010101" pitchFamily="18" charset="-127"/>
                      </a:endParaRPr>
                    </a:p>
                  </a:txBody>
                  <a:tcPr marL="95851" marR="95851" marT="47925" marB="4792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0745665"/>
                  </a:ext>
                </a:extLst>
              </a:tr>
              <a:tr h="5172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500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5</a:t>
                      </a:r>
                      <a:r>
                        <a:rPr lang="ko-KR" altLang="en-US" sz="1500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억원</a:t>
                      </a:r>
                      <a:r>
                        <a:rPr lang="en-US" altLang="ko-KR" sz="1500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~10</a:t>
                      </a:r>
                      <a:r>
                        <a:rPr lang="ko-KR" altLang="en-US" sz="1500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억원 이하</a:t>
                      </a:r>
                    </a:p>
                  </a:txBody>
                  <a:tcPr marL="95851" marR="95851" marT="47925" marB="4792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500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42%</a:t>
                      </a:r>
                      <a:endParaRPr lang="ko-KR" altLang="en-US" sz="1500" dirty="0">
                        <a:latin typeface="HY견명조" panose="02030600000101010101" pitchFamily="18" charset="-127"/>
                        <a:ea typeface="HY견명조" panose="02030600000101010101" pitchFamily="18" charset="-127"/>
                      </a:endParaRPr>
                    </a:p>
                  </a:txBody>
                  <a:tcPr marL="95851" marR="95851" marT="47925" marB="4792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1232068"/>
                  </a:ext>
                </a:extLst>
              </a:tr>
              <a:tr h="51720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500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10</a:t>
                      </a:r>
                      <a:r>
                        <a:rPr lang="ko-KR" altLang="en-US" sz="1500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억원 초과</a:t>
                      </a:r>
                    </a:p>
                  </a:txBody>
                  <a:tcPr marL="95851" marR="95851" marT="47925" marB="4792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500" dirty="0">
                          <a:latin typeface="HY견명조" panose="02030600000101010101" pitchFamily="18" charset="-127"/>
                          <a:ea typeface="HY견명조" panose="02030600000101010101" pitchFamily="18" charset="-127"/>
                        </a:rPr>
                        <a:t>45%</a:t>
                      </a:r>
                      <a:endParaRPr lang="ko-KR" altLang="en-US" sz="1500" dirty="0">
                        <a:latin typeface="HY견명조" panose="02030600000101010101" pitchFamily="18" charset="-127"/>
                        <a:ea typeface="HY견명조" panose="02030600000101010101" pitchFamily="18" charset="-127"/>
                      </a:endParaRPr>
                    </a:p>
                  </a:txBody>
                  <a:tcPr marL="95851" marR="95851" marT="47925" marB="47925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6622226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5200347" y="1600382"/>
            <a:ext cx="1398140" cy="3708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566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1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○ 소득세율</a:t>
            </a:r>
          </a:p>
        </p:txBody>
      </p:sp>
      <p:sp>
        <p:nvSpPr>
          <p:cNvPr id="6" name="모서리가 둥근 직사각형 18"/>
          <p:cNvSpPr/>
          <p:nvPr/>
        </p:nvSpPr>
        <p:spPr>
          <a:xfrm>
            <a:off x="210142" y="1066854"/>
            <a:ext cx="4531171" cy="415102"/>
          </a:xfrm>
          <a:prstGeom prst="roundRect">
            <a:avLst>
              <a:gd name="adj" fmla="val 50000"/>
            </a:avLst>
          </a:prstGeom>
          <a:noFill/>
          <a:ln w="19050">
            <a:solidFill>
              <a:srgbClr val="395EA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87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법인세율 </a:t>
            </a:r>
            <a:r>
              <a:rPr kumimoji="0" lang="en-US" altLang="ko-KR" sz="1887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Vs </a:t>
            </a:r>
            <a:r>
              <a:rPr kumimoji="0" lang="ko-KR" altLang="en-US" sz="1887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소득세율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74320" y="202629"/>
            <a:ext cx="842287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58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법인 </a:t>
            </a:r>
            <a:r>
              <a:rPr kumimoji="0" lang="ko-KR" altLang="en-US" sz="22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상담시</a:t>
            </a:r>
            <a:r>
              <a:rPr kumimoji="0" lang="ko-KR" altLang="en-US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 </a:t>
            </a:r>
            <a:r>
              <a:rPr kumimoji="0" lang="ko-KR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알아야할 </a:t>
            </a:r>
            <a:r>
              <a:rPr kumimoji="0" lang="ko-KR" altLang="en-US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기본 세무</a:t>
            </a:r>
            <a:endParaRPr kumimoji="0" lang="ko-KR" altLang="en-US" sz="2200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나눔고딕 ExtraBold" panose="020D0904000000000000" pitchFamily="50" charset="-127"/>
              <a:ea typeface="나눔고딕 ExtraBold" panose="020D0904000000000000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1704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타원 3"/>
          <p:cNvSpPr/>
          <p:nvPr/>
        </p:nvSpPr>
        <p:spPr>
          <a:xfrm>
            <a:off x="2861714" y="3051375"/>
            <a:ext cx="1034063" cy="1034063"/>
          </a:xfrm>
          <a:prstGeom prst="ellipse">
            <a:avLst/>
          </a:prstGeom>
          <a:solidFill>
            <a:srgbClr val="4DB8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3273"/>
            <a:r>
              <a:rPr lang="en-US" altLang="ko-KR" sz="6400" dirty="0">
                <a:solidFill>
                  <a:prstClr val="white"/>
                </a:solidFill>
                <a:latin typeface="나눔고딕 ExtraBold" pitchFamily="50" charset="-127"/>
                <a:ea typeface="나눔고딕 ExtraBold" pitchFamily="50" charset="-127"/>
              </a:rPr>
              <a:t>1</a:t>
            </a:r>
            <a:endParaRPr lang="ko-KR" altLang="en-US" sz="6400" dirty="0">
              <a:solidFill>
                <a:prstClr val="white"/>
              </a:solidFill>
              <a:latin typeface="나눔고딕 ExtraBold" pitchFamily="50" charset="-127"/>
              <a:ea typeface="나눔고딕 ExtraBold" pitchFamily="50" charset="-127"/>
            </a:endParaRPr>
          </a:p>
        </p:txBody>
      </p:sp>
      <p:sp>
        <p:nvSpPr>
          <p:cNvPr id="5" name="Rectangle 91"/>
          <p:cNvSpPr>
            <a:spLocks noChangeArrowheads="1"/>
          </p:cNvSpPr>
          <p:nvPr/>
        </p:nvSpPr>
        <p:spPr bwMode="gray">
          <a:xfrm>
            <a:off x="4255815" y="3123383"/>
            <a:ext cx="6048672" cy="7821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45892" tIns="21545" rIns="45892" bIns="21545">
            <a:spAutoFit/>
          </a:bodyPr>
          <a:lstStyle/>
          <a:p>
            <a:pPr defTabSz="911920"/>
            <a:r>
              <a:rPr lang="ko-KR" altLang="en-US" sz="4800" kern="0" dirty="0" smtClean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latin typeface="나눔고딕 ExtraBold" pitchFamily="50" charset="-127"/>
                <a:ea typeface="나눔고딕 ExtraBold" pitchFamily="50" charset="-127"/>
                <a:cs typeface="Verdana" panose="020B0604030504040204" pitchFamily="34" charset="0"/>
              </a:rPr>
              <a:t>상품판매 준수사항</a:t>
            </a:r>
            <a:endParaRPr lang="en-US" altLang="ko-KR" sz="4800" kern="0" dirty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solidFill>
                <a:srgbClr val="1408FE"/>
              </a:solidFill>
              <a:latin typeface="나눔고딕 ExtraBold" pitchFamily="50" charset="-127"/>
              <a:ea typeface="나눔고딕 ExtraBold" pitchFamily="50" charset="-127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9716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>
            <p:extLst/>
          </p:nvPr>
        </p:nvGraphicFramePr>
        <p:xfrm>
          <a:off x="359091" y="1827237"/>
          <a:ext cx="9737109" cy="38884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525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0425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48034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9560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  <a:cs typeface="+mn-cs"/>
                        </a:rPr>
                        <a:t>구분</a:t>
                      </a:r>
                    </a:p>
                  </a:txBody>
                  <a:tcPr marL="95851" marR="95851" marT="47925" marB="47925" anchor="ctr">
                    <a:lnL w="12700" cmpd="sng">
                      <a:noFill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3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2F5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  <a:cs typeface="+mn-cs"/>
                        </a:rPr>
                        <a:t>보험료</a:t>
                      </a:r>
                      <a:r>
                        <a:rPr lang="en-US" altLang="ko-KR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  <a:cs typeface="+mn-cs"/>
                        </a:rPr>
                        <a:t>(</a:t>
                      </a:r>
                      <a:r>
                        <a:rPr lang="ko-KR" altLang="en-US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  <a:cs typeface="+mn-cs"/>
                        </a:rPr>
                        <a:t>예시</a:t>
                      </a:r>
                      <a:r>
                        <a:rPr lang="en-US" altLang="ko-KR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  <a:cs typeface="+mn-cs"/>
                        </a:rPr>
                        <a:t>)</a:t>
                      </a:r>
                      <a:endParaRPr lang="ko-KR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KoPub돋움체 Bold" panose="02020603020101020101" pitchFamily="18" charset="-127"/>
                        <a:ea typeface="KoPub돋움체 Bold" panose="02020603020101020101" pitchFamily="18" charset="-127"/>
                        <a:cs typeface="+mn-cs"/>
                      </a:endParaRPr>
                    </a:p>
                  </a:txBody>
                  <a:tcPr marL="95851" marR="95851" marT="47925" marB="4792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3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2F5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  <a:cs typeface="+mn-cs"/>
                        </a:rPr>
                        <a:t>활용</a:t>
                      </a:r>
                      <a:r>
                        <a:rPr lang="en-US" altLang="ko-KR" sz="12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Bold" panose="02020603020101020101" pitchFamily="18" charset="-127"/>
                          <a:ea typeface="KoPub돋움체 Bold" panose="02020603020101020101" pitchFamily="18" charset="-127"/>
                          <a:cs typeface="+mn-cs"/>
                        </a:rPr>
                        <a:t>Point</a:t>
                      </a:r>
                      <a:endParaRPr lang="ko-KR" altLang="en-US" sz="12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KoPub돋움체 Bold" panose="02020603020101020101" pitchFamily="18" charset="-127"/>
                        <a:ea typeface="KoPub돋움체 Bold" panose="02020603020101020101" pitchFamily="18" charset="-127"/>
                        <a:cs typeface="+mn-cs"/>
                      </a:endParaRPr>
                    </a:p>
                  </a:txBody>
                  <a:tcPr marL="95851" marR="95851" marT="47925" marB="4792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234A7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2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92828">
                <a:tc>
                  <a:txBody>
                    <a:bodyPr/>
                    <a:lstStyle/>
                    <a:p>
                      <a:pPr marL="144000" indent="-144000" algn="l" defTabSz="914400" rtl="0" eaLnBrk="1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buClr>
                          <a:srgbClr val="234A7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계약자 </a:t>
                      </a:r>
                      <a:r>
                        <a:rPr lang="en-US" altLang="ko-KR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:</a:t>
                      </a:r>
                      <a:r>
                        <a:rPr lang="ko-KR" altLang="en-US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법인</a:t>
                      </a:r>
                    </a:p>
                    <a:p>
                      <a:pPr marL="144000" indent="-144000" algn="l" defTabSz="914400" rtl="0" eaLnBrk="1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buClr>
                          <a:srgbClr val="234A7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 피보험자 </a:t>
                      </a:r>
                      <a:r>
                        <a:rPr lang="en-US" altLang="ko-KR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: </a:t>
                      </a:r>
                      <a:r>
                        <a:rPr lang="ko-KR" altLang="en-US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대표님</a:t>
                      </a:r>
                    </a:p>
                    <a:p>
                      <a:pPr marL="144000" indent="-144000" algn="l" defTabSz="914400" rtl="0" eaLnBrk="1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buClr>
                          <a:srgbClr val="234A7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 수익자 </a:t>
                      </a:r>
                      <a:r>
                        <a:rPr lang="en-US" altLang="ko-KR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: </a:t>
                      </a:r>
                      <a:r>
                        <a:rPr lang="ko-KR" altLang="en-US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법인</a:t>
                      </a:r>
                    </a:p>
                  </a:txBody>
                  <a:tcPr marL="95851" marR="95851" marT="47925" marB="47925" anchor="ctr">
                    <a:lnL w="12700" cmpd="sng">
                      <a:noFill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buClr>
                          <a:srgbClr val="234A70"/>
                        </a:buClr>
                        <a:buFontTx/>
                        <a:buNone/>
                      </a:pPr>
                      <a:r>
                        <a:rPr lang="ko-KR" altLang="en-US" sz="1400" b="1" kern="12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주계약</a:t>
                      </a:r>
                      <a:r>
                        <a:rPr lang="ko-KR" altLang="en-US" sz="14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 </a:t>
                      </a:r>
                      <a:r>
                        <a:rPr lang="en-US" altLang="ko-KR" sz="14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: </a:t>
                      </a:r>
                      <a:r>
                        <a:rPr lang="en-US" altLang="ko-KR" sz="14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5</a:t>
                      </a:r>
                      <a:r>
                        <a:rPr lang="ko-KR" altLang="en-US" sz="14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억</a:t>
                      </a:r>
                      <a:endParaRPr lang="en-US" altLang="ko-KR" sz="1400" b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  <a:cs typeface="+mn-cs"/>
                      </a:endParaRPr>
                    </a:p>
                    <a:p>
                      <a:pPr marL="0" indent="0" algn="ctr" defTabSz="914400" rtl="0" eaLnBrk="1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buClr>
                          <a:srgbClr val="234A70"/>
                        </a:buClr>
                        <a:buFontTx/>
                        <a:buNone/>
                      </a:pPr>
                      <a:r>
                        <a:rPr lang="ko-KR" altLang="en-US" sz="1400" b="1" kern="12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월납</a:t>
                      </a:r>
                      <a:r>
                        <a:rPr lang="ko-KR" altLang="en-US" sz="14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 </a:t>
                      </a:r>
                      <a:r>
                        <a:rPr lang="en-US" altLang="ko-KR" sz="14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: </a:t>
                      </a:r>
                      <a:r>
                        <a:rPr lang="en-US" altLang="ko-KR" sz="14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510</a:t>
                      </a:r>
                      <a:r>
                        <a:rPr lang="ko-KR" altLang="en-US" sz="1400" b="1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만원</a:t>
                      </a:r>
                      <a:endParaRPr lang="ko-KR" altLang="en-US" sz="1400" b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  <a:cs typeface="+mn-cs"/>
                      </a:endParaRPr>
                    </a:p>
                    <a:p>
                      <a:pPr marL="0" indent="0" algn="ctr" defTabSz="914400" rtl="0" eaLnBrk="1" latinLnBrk="1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buClr>
                          <a:srgbClr val="234A70"/>
                        </a:buClr>
                        <a:buFontTx/>
                        <a:buNone/>
                      </a:pPr>
                      <a:r>
                        <a:rPr lang="en-US" altLang="ko-KR" sz="14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(90</a:t>
                      </a:r>
                      <a:r>
                        <a:rPr lang="ko-KR" altLang="en-US" sz="14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세납</a:t>
                      </a:r>
                      <a:r>
                        <a:rPr lang="en-US" altLang="ko-KR" sz="14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/90</a:t>
                      </a:r>
                      <a:r>
                        <a:rPr lang="ko-KR" altLang="en-US" sz="1400" b="1" kern="12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세만기</a:t>
                      </a:r>
                      <a:r>
                        <a:rPr lang="en-US" altLang="ko-KR" sz="1400" b="1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)</a:t>
                      </a:r>
                    </a:p>
                  </a:txBody>
                  <a:tcPr marL="95851" marR="95851" marT="47925" marB="4792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44000" indent="-144000" algn="l" defTabSz="914400" rtl="0" eaLnBrk="1" latinLnBrk="1" hangingPunct="1">
                        <a:lnSpc>
                          <a:spcPct val="120000"/>
                        </a:lnSpc>
                        <a:spcBef>
                          <a:spcPts val="2400"/>
                        </a:spcBef>
                        <a:buClr>
                          <a:srgbClr val="234A7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법인 임원으로 </a:t>
                      </a:r>
                      <a:r>
                        <a:rPr lang="ko-KR" altLang="en-US" sz="1200" kern="12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퇴직시</a:t>
                      </a:r>
                      <a:r>
                        <a:rPr lang="ko-KR" altLang="en-US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 </a:t>
                      </a:r>
                      <a:r>
                        <a:rPr lang="ko-KR" altLang="en-US" sz="1200" b="1" kern="1200" dirty="0">
                          <a:solidFill>
                            <a:srgbClr val="0000FF"/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퇴직금 재원마련</a:t>
                      </a:r>
                      <a:r>
                        <a:rPr lang="ko-KR" altLang="en-US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 상품으로 은퇴 생활비 및 유동자금</a:t>
                      </a:r>
                    </a:p>
                    <a:p>
                      <a:pPr marL="144000" indent="-144000" algn="l" defTabSz="914400" rtl="0" eaLnBrk="1" latinLnBrk="1" hangingPunct="1">
                        <a:lnSpc>
                          <a:spcPct val="120000"/>
                        </a:lnSpc>
                        <a:spcBef>
                          <a:spcPts val="2400"/>
                        </a:spcBef>
                        <a:buClr>
                          <a:srgbClr val="234A7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b="1" kern="1200" dirty="0">
                          <a:solidFill>
                            <a:srgbClr val="0000FF"/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가지급금 및 </a:t>
                      </a:r>
                      <a:r>
                        <a:rPr lang="ko-KR" altLang="en-US" sz="1200" b="1" kern="1200" dirty="0" err="1">
                          <a:solidFill>
                            <a:srgbClr val="0000FF"/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미처분이익잉여금</a:t>
                      </a:r>
                      <a:r>
                        <a:rPr lang="ko-KR" altLang="en-US" sz="1200" b="1" kern="1200" dirty="0">
                          <a:solidFill>
                            <a:srgbClr val="0000FF"/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 처리 </a:t>
                      </a:r>
                      <a:r>
                        <a:rPr lang="ko-KR" altLang="en-US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부담 축소할 수 있는 재원으로 활용 가능</a:t>
                      </a:r>
                    </a:p>
                    <a:p>
                      <a:pPr marL="144000" indent="-144000" algn="l" defTabSz="914400" rtl="0" eaLnBrk="1" latinLnBrk="1" hangingPunct="1">
                        <a:lnSpc>
                          <a:spcPct val="120000"/>
                        </a:lnSpc>
                        <a:spcBef>
                          <a:spcPts val="2400"/>
                        </a:spcBef>
                        <a:buClr>
                          <a:srgbClr val="234A7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사망보험금은 대표님 </a:t>
                      </a:r>
                      <a:r>
                        <a:rPr lang="ko-KR" altLang="en-US" sz="1200" kern="12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유고시</a:t>
                      </a:r>
                      <a:r>
                        <a:rPr lang="ko-KR" altLang="en-US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 발생될 수 있는 </a:t>
                      </a:r>
                      <a:r>
                        <a:rPr lang="en-US" altLang="ko-KR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/>
                      </a:r>
                      <a:br>
                        <a:rPr lang="en-US" altLang="ko-KR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</a:br>
                      <a:r>
                        <a:rPr lang="ko-KR" altLang="en-US" sz="1200" b="1" kern="1200" dirty="0">
                          <a:solidFill>
                            <a:srgbClr val="0000FF"/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퇴직금</a:t>
                      </a:r>
                      <a:r>
                        <a:rPr lang="en-US" altLang="ko-KR" sz="1200" b="1" kern="1200" dirty="0">
                          <a:solidFill>
                            <a:srgbClr val="0000FF"/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, </a:t>
                      </a:r>
                      <a:r>
                        <a:rPr lang="ko-KR" altLang="en-US" sz="1200" b="1" kern="1200" dirty="0">
                          <a:solidFill>
                            <a:srgbClr val="0000FF"/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유족보상금</a:t>
                      </a:r>
                      <a:r>
                        <a:rPr lang="en-US" altLang="ko-KR" sz="1200" b="1" kern="1200" dirty="0">
                          <a:solidFill>
                            <a:srgbClr val="0000FF"/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, </a:t>
                      </a:r>
                      <a:r>
                        <a:rPr lang="ko-KR" altLang="en-US" sz="1200" b="1" kern="1200" dirty="0">
                          <a:solidFill>
                            <a:srgbClr val="0000FF"/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기타 상속세 납부 재원</a:t>
                      </a:r>
                      <a:r>
                        <a:rPr lang="ko-KR" altLang="en-US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 등</a:t>
                      </a:r>
                      <a:r>
                        <a:rPr lang="en-US" altLang="ko-KR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/>
                      </a:r>
                      <a:br>
                        <a:rPr lang="en-US" altLang="ko-KR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</a:br>
                      <a:r>
                        <a:rPr lang="ko-KR" altLang="en-US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으로 활용 가능</a:t>
                      </a:r>
                    </a:p>
                    <a:p>
                      <a:pPr marL="144000" indent="-144000" algn="l" defTabSz="914400" rtl="0" eaLnBrk="1" latinLnBrk="1" hangingPunct="1">
                        <a:lnSpc>
                          <a:spcPct val="120000"/>
                        </a:lnSpc>
                        <a:spcBef>
                          <a:spcPts val="2400"/>
                        </a:spcBef>
                        <a:buClr>
                          <a:srgbClr val="234A7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ko-KR" altLang="en-US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납입보험료의 </a:t>
                      </a:r>
                      <a:r>
                        <a:rPr lang="en-US" altLang="ko-KR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100%</a:t>
                      </a:r>
                      <a:r>
                        <a:rPr lang="ko-KR" altLang="en-US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를 법인세 비용처리 가능</a:t>
                      </a:r>
                      <a:r>
                        <a:rPr lang="en-US" altLang="ko-KR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/>
                      </a:r>
                      <a:br>
                        <a:rPr lang="en-US" altLang="ko-KR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</a:br>
                      <a:r>
                        <a:rPr lang="en-US" altLang="ko-KR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※ </a:t>
                      </a:r>
                      <a:r>
                        <a:rPr lang="en-US" altLang="ko-KR" sz="12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510</a:t>
                      </a:r>
                      <a:r>
                        <a:rPr lang="ko-KR" altLang="en-US" sz="12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만원 </a:t>
                      </a:r>
                      <a:r>
                        <a:rPr lang="en-US" altLang="ko-KR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× 12</a:t>
                      </a:r>
                      <a:r>
                        <a:rPr lang="ko-KR" altLang="en-US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회 </a:t>
                      </a:r>
                      <a:r>
                        <a:rPr lang="en-US" altLang="ko-KR" sz="12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=</a:t>
                      </a:r>
                      <a:r>
                        <a:rPr lang="en-US" altLang="ko-KR" sz="1200" kern="12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 </a:t>
                      </a:r>
                      <a:r>
                        <a:rPr lang="ko-KR" altLang="en-US" sz="1200" kern="12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연간 </a:t>
                      </a:r>
                      <a:r>
                        <a:rPr lang="en-US" altLang="ko-KR" sz="120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6,120</a:t>
                      </a:r>
                      <a:r>
                        <a:rPr lang="ko-KR" altLang="en-US" sz="120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만원씩 </a:t>
                      </a:r>
                      <a:r>
                        <a:rPr lang="ko-KR" altLang="en-US" sz="1200" kern="12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비용처리</a:t>
                      </a:r>
                      <a:r>
                        <a:rPr lang="en-US" altLang="ko-KR" sz="1200" kern="12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/>
                      </a:r>
                      <a:br>
                        <a:rPr lang="en-US" altLang="ko-KR" sz="1200" kern="12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</a:br>
                      <a:r>
                        <a:rPr lang="en-US" altLang="ko-KR" sz="1200" kern="12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   </a:t>
                      </a:r>
                      <a:r>
                        <a:rPr lang="ko-KR" altLang="en-US" sz="1200" kern="12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→ 법인세율 </a:t>
                      </a:r>
                      <a:r>
                        <a:rPr lang="en-US" altLang="ko-KR" sz="1200" kern="12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19% </a:t>
                      </a:r>
                      <a:r>
                        <a:rPr lang="ko-KR" altLang="en-US" sz="1200" kern="1200" baseline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가정시</a:t>
                      </a:r>
                      <a:r>
                        <a:rPr lang="ko-KR" altLang="en-US" sz="1200" kern="12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 매년 </a:t>
                      </a:r>
                      <a:r>
                        <a:rPr lang="en-US" altLang="ko-KR" sz="120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1,162</a:t>
                      </a:r>
                      <a:r>
                        <a:rPr lang="ko-KR" altLang="en-US" sz="120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만원 </a:t>
                      </a:r>
                      <a:r>
                        <a:rPr lang="ko-KR" altLang="en-US" sz="1200" kern="12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KoPub돋움체 Medium" panose="02020603020101020101" pitchFamily="18" charset="-127"/>
                          <a:ea typeface="KoPub돋움체 Medium" panose="02020603020101020101" pitchFamily="18" charset="-127"/>
                          <a:cs typeface="+mn-cs"/>
                        </a:rPr>
                        <a:t>감면 예상</a:t>
                      </a:r>
                      <a:endParaRPr lang="en-US" altLang="ko-KR" sz="12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KoPub돋움체 Medium" panose="02020603020101020101" pitchFamily="18" charset="-127"/>
                        <a:ea typeface="KoPub돋움체 Medium" panose="02020603020101020101" pitchFamily="18" charset="-127"/>
                        <a:cs typeface="+mn-cs"/>
                      </a:endParaRPr>
                    </a:p>
                  </a:txBody>
                  <a:tcPr marL="95851" marR="95851" marT="47925" marB="4792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361105" y="1061068"/>
            <a:ext cx="5910272" cy="52322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□ </a:t>
            </a:r>
            <a:r>
              <a:rPr kumimoji="0" lang="ko-KR" alt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제안상품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 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: (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무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)</a:t>
            </a:r>
            <a:r>
              <a:rPr kumimoji="0" lang="ko-KR" alt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교보경영인정기보험</a:t>
            </a:r>
            <a:r>
              <a:rPr kumimoji="0" lang="en-US" altLang="ko-KR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(1020</a:t>
            </a:r>
            <a:r>
              <a:rPr kumimoji="0" lang="ko-KR" alt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플랜</a:t>
            </a:r>
            <a:r>
              <a:rPr kumimoji="0" lang="en-US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)</a:t>
            </a:r>
          </a:p>
          <a:p>
            <a:pPr marL="0" marR="0" lvl="0" indent="0" algn="l" defTabSz="1005234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    - </a:t>
            </a:r>
            <a:r>
              <a:rPr kumimoji="0" lang="ko-KR" alt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가입후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 </a:t>
            </a:r>
            <a:r>
              <a:rPr kumimoji="0" lang="en-US" altLang="ko-KR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10</a:t>
            </a:r>
            <a:r>
              <a:rPr kumimoji="0" lang="ko-KR" altLang="en-US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년후부터</a:t>
            </a:r>
            <a:r>
              <a:rPr kumimoji="0" lang="ko-KR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 </a:t>
            </a:r>
            <a:r>
              <a:rPr kumimoji="0" lang="en-US" altLang="ko-KR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10%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씩 체증</a:t>
            </a:r>
            <a:r>
              <a:rPr kumimoji="0" lang="en-US" altLang="ko-KR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/20</a:t>
            </a:r>
            <a:r>
              <a:rPr kumimoji="0" lang="ko-KR" altLang="en-US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년후부터</a:t>
            </a:r>
            <a:r>
              <a:rPr kumimoji="0" lang="ko-KR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 </a:t>
            </a:r>
            <a:r>
              <a:rPr kumimoji="0" lang="en-US" altLang="ko-KR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20%</a:t>
            </a:r>
            <a:r>
              <a:rPr kumimoji="0" lang="ko-KR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Y견명조" panose="02030600000101010101" pitchFamily="18" charset="-127"/>
                <a:ea typeface="HY견명조" panose="02030600000101010101" pitchFamily="18" charset="-127"/>
                <a:cs typeface="+mn-cs"/>
              </a:rPr>
              <a:t>씩 체증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74320" y="202629"/>
            <a:ext cx="842287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58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「 ㈜ </a:t>
            </a:r>
            <a:r>
              <a:rPr kumimoji="0" lang="ko-KR" altLang="en-US" sz="22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법인회사</a:t>
            </a:r>
            <a:r>
              <a:rPr kumimoji="0" lang="ko-KR" altLang="en-US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 </a:t>
            </a:r>
            <a:r>
              <a:rPr kumimoji="0" lang="en-US" altLang="ko-KR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O </a:t>
            </a:r>
            <a:r>
              <a:rPr kumimoji="0" lang="en-US" altLang="ko-KR" sz="22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O</a:t>
            </a:r>
            <a:r>
              <a:rPr kumimoji="0" lang="en-US" altLang="ko-KR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 </a:t>
            </a:r>
            <a:r>
              <a:rPr kumimoji="0" lang="ko-KR" altLang="en-US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대표님 </a:t>
            </a:r>
            <a:r>
              <a:rPr kumimoji="0" lang="ko-KR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」 을 위한 제안서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21383" y="5731115"/>
            <a:ext cx="973710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dirty="0" smtClean="0"/>
              <a:t>※ </a:t>
            </a:r>
            <a:r>
              <a:rPr lang="ko-KR" altLang="en-US" sz="900" dirty="0" smtClean="0"/>
              <a:t>비용처리 및 </a:t>
            </a:r>
            <a:r>
              <a:rPr lang="ko-KR" altLang="en-US" sz="900" dirty="0" err="1" smtClean="0"/>
              <a:t>손비인정</a:t>
            </a:r>
            <a:r>
              <a:rPr lang="ko-KR" altLang="en-US" sz="900" dirty="0" smtClean="0"/>
              <a:t> 등의 </a:t>
            </a:r>
            <a:r>
              <a:rPr lang="ko-KR" altLang="en-US" sz="900" dirty="0" err="1" smtClean="0"/>
              <a:t>세무적인</a:t>
            </a:r>
            <a:r>
              <a:rPr lang="ko-KR" altLang="en-US" sz="900" dirty="0" smtClean="0"/>
              <a:t> 부분은 </a:t>
            </a:r>
            <a:r>
              <a:rPr lang="ko-KR" altLang="en-US" sz="900" dirty="0" err="1" smtClean="0"/>
              <a:t>법인회사의</a:t>
            </a:r>
            <a:r>
              <a:rPr lang="ko-KR" altLang="en-US" sz="900" dirty="0" smtClean="0"/>
              <a:t> 세무사와 충분한 상담 후 진행 必</a:t>
            </a:r>
            <a:endParaRPr lang="ko-KR" altLang="en-US" sz="900" dirty="0"/>
          </a:p>
        </p:txBody>
      </p:sp>
    </p:spTree>
    <p:extLst>
      <p:ext uri="{BB962C8B-B14F-4D97-AF65-F5344CB8AC3E}">
        <p14:creationId xmlns:p14="http://schemas.microsoft.com/office/powerpoint/2010/main" val="2930381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245458" y="891133"/>
            <a:ext cx="10173697" cy="87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>
            <a:spAutoFit/>
          </a:bodyPr>
          <a:lstStyle/>
          <a:p>
            <a:pPr marL="0" marR="0" lvl="0" indent="0" algn="l" defTabSz="1005234" rtl="0" eaLnBrk="1" fontAlgn="auto" latinLnBrk="1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000" b="1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간편가입</a:t>
            </a:r>
            <a:r>
              <a:rPr kumimoji="0" lang="ko-KR" altLang="en-US" sz="20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 경영인정기보험 </a:t>
            </a:r>
            <a:r>
              <a:rPr kumimoji="0" lang="ko-KR" altLang="en-US" sz="20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월납</a:t>
            </a:r>
            <a:r>
              <a:rPr kumimoji="0" lang="ko-KR" alt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20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510</a:t>
            </a:r>
            <a:r>
              <a:rPr lang="ko-KR" altLang="en-US" sz="2000" b="1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만</a:t>
            </a:r>
            <a:r>
              <a:rPr kumimoji="0" lang="ko-KR" altLang="en-US" sz="20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원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kumimoji="0" lang="ko-KR" altLang="en-US" sz="18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주계약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5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억 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/ </a:t>
            </a:r>
            <a:r>
              <a:rPr kumimoji="0" lang="en-US" altLang="ko-KR" sz="18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5,100,000</a:t>
            </a:r>
            <a:r>
              <a:rPr kumimoji="0" lang="ko-KR" alt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원</a:t>
            </a:r>
            <a:r>
              <a:rPr kumimoji="0" lang="en-US" altLang="ko-KR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  <a:p>
            <a:pPr marL="0" marR="0" lvl="0" indent="0" algn="l" defTabSz="1005234" rtl="0" eaLnBrk="1" fontAlgn="auto" latinLnBrk="1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※ </a:t>
            </a:r>
            <a:r>
              <a:rPr kumimoji="0" lang="ko-KR" alt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가입요건 </a:t>
            </a: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kumimoji="0" lang="en-US" altLang="ko-KR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1020</a:t>
            </a:r>
            <a:r>
              <a:rPr kumimoji="0" lang="ko-KR" altLang="en-U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플랜 </a:t>
            </a:r>
            <a:r>
              <a:rPr kumimoji="0" lang="en-US" altLang="ko-KR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/ </a:t>
            </a:r>
            <a:r>
              <a:rPr kumimoji="0" lang="ko-KR" altLang="en-U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체증형플러스 </a:t>
            </a:r>
            <a:r>
              <a:rPr kumimoji="0" lang="en-US" altLang="ko-KR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/ 90</a:t>
            </a:r>
            <a:r>
              <a:rPr kumimoji="0" lang="ko-KR" altLang="en-US" sz="1400" b="1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세만기</a:t>
            </a:r>
            <a:r>
              <a:rPr kumimoji="0" lang="ko-KR" altLang="en-U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kumimoji="0" lang="en-US" altLang="ko-KR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/ </a:t>
            </a:r>
            <a:r>
              <a:rPr kumimoji="0" lang="ko-KR" altLang="en-US" sz="1400" b="1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전기납</a:t>
            </a:r>
            <a:r>
              <a:rPr kumimoji="0" lang="ko-KR" altLang="en-U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kumimoji="0" lang="en-US" altLang="ko-KR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/ 50</a:t>
            </a:r>
            <a:r>
              <a:rPr kumimoji="0" lang="ko-KR" altLang="en-U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세 남자 </a:t>
            </a:r>
            <a:r>
              <a:rPr kumimoji="0" lang="en-US" altLang="ko-KR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/ </a:t>
            </a:r>
            <a:r>
              <a:rPr kumimoji="0" lang="ko-KR" alt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법인세율 </a:t>
            </a: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19% </a:t>
            </a:r>
            <a:r>
              <a:rPr kumimoji="0" lang="ko-KR" altLang="en-US" sz="14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나눔고딕" panose="020D0604000000000000" pitchFamily="50" charset="-127"/>
                <a:ea typeface="나눔고딕" panose="020D0604000000000000" pitchFamily="50" charset="-127"/>
              </a:rPr>
              <a:t>가정시</a:t>
            </a: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aphicFrame>
        <p:nvGraphicFramePr>
          <p:cNvPr id="7" name="표 6">
            <a:extLst>
              <a:ext uri="{FF2B5EF4-FFF2-40B4-BE49-F238E27FC236}">
                <a16:creationId xmlns:a16="http://schemas.microsoft.com/office/drawing/2014/main" id="{5ADDE495-3CCF-AF5F-A425-21CB76B9C400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08349" y="1899244"/>
          <a:ext cx="9820308" cy="46085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95171">
                  <a:extLst>
                    <a:ext uri="{9D8B030D-6E8A-4147-A177-3AD203B41FA5}">
                      <a16:colId xmlns:a16="http://schemas.microsoft.com/office/drawing/2014/main" val="3073684511"/>
                    </a:ext>
                  </a:extLst>
                </a:gridCol>
                <a:gridCol w="595498">
                  <a:extLst>
                    <a:ext uri="{9D8B030D-6E8A-4147-A177-3AD203B41FA5}">
                      <a16:colId xmlns:a16="http://schemas.microsoft.com/office/drawing/2014/main" val="1157396997"/>
                    </a:ext>
                  </a:extLst>
                </a:gridCol>
                <a:gridCol w="1636388">
                  <a:extLst>
                    <a:ext uri="{9D8B030D-6E8A-4147-A177-3AD203B41FA5}">
                      <a16:colId xmlns:a16="http://schemas.microsoft.com/office/drawing/2014/main" val="1840713754"/>
                    </a:ext>
                  </a:extLst>
                </a:gridCol>
                <a:gridCol w="1190339">
                  <a:extLst>
                    <a:ext uri="{9D8B030D-6E8A-4147-A177-3AD203B41FA5}">
                      <a16:colId xmlns:a16="http://schemas.microsoft.com/office/drawing/2014/main" val="553782222"/>
                    </a:ext>
                  </a:extLst>
                </a:gridCol>
                <a:gridCol w="1172058">
                  <a:extLst>
                    <a:ext uri="{9D8B030D-6E8A-4147-A177-3AD203B41FA5}">
                      <a16:colId xmlns:a16="http://schemas.microsoft.com/office/drawing/2014/main" val="595052095"/>
                    </a:ext>
                  </a:extLst>
                </a:gridCol>
                <a:gridCol w="1059829">
                  <a:extLst>
                    <a:ext uri="{9D8B030D-6E8A-4147-A177-3AD203B41FA5}">
                      <a16:colId xmlns:a16="http://schemas.microsoft.com/office/drawing/2014/main" val="2488322891"/>
                    </a:ext>
                  </a:extLst>
                </a:gridCol>
                <a:gridCol w="1264736">
                  <a:extLst>
                    <a:ext uri="{9D8B030D-6E8A-4147-A177-3AD203B41FA5}">
                      <a16:colId xmlns:a16="http://schemas.microsoft.com/office/drawing/2014/main" val="2607451706"/>
                    </a:ext>
                  </a:extLst>
                </a:gridCol>
                <a:gridCol w="1215143">
                  <a:extLst>
                    <a:ext uri="{9D8B030D-6E8A-4147-A177-3AD203B41FA5}">
                      <a16:colId xmlns:a16="http://schemas.microsoft.com/office/drawing/2014/main" val="3493939727"/>
                    </a:ext>
                  </a:extLst>
                </a:gridCol>
                <a:gridCol w="1091146">
                  <a:extLst>
                    <a:ext uri="{9D8B030D-6E8A-4147-A177-3AD203B41FA5}">
                      <a16:colId xmlns:a16="http://schemas.microsoft.com/office/drawing/2014/main" val="1487270514"/>
                    </a:ext>
                  </a:extLst>
                </a:gridCol>
              </a:tblGrid>
              <a:tr h="431792"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기간</a:t>
                      </a: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나이</a:t>
                      </a: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사망보험금</a:t>
                      </a:r>
                      <a:endParaRPr lang="en-US" altLang="ko-KR" sz="1100" dirty="0">
                        <a:solidFill>
                          <a:srgbClr val="0000FF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 latinLnBrk="1"/>
                      <a:r>
                        <a:rPr lang="en-US" altLang="ko-KR" sz="1100" dirty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100" dirty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유족보상금등</a:t>
                      </a:r>
                      <a:r>
                        <a:rPr lang="en-US" altLang="ko-KR" sz="1100" dirty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  <a:endParaRPr lang="ko-KR" altLang="en-US" sz="1100" dirty="0">
                        <a:solidFill>
                          <a:srgbClr val="0000FF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납입보험료</a:t>
                      </a: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 err="1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해약환급금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저보증이율</a:t>
                      </a:r>
                      <a:endParaRPr lang="en-US" altLang="ko-KR" sz="1200" dirty="0" smtClean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 latinLnBrk="1"/>
                      <a:r>
                        <a:rPr lang="en-US" altLang="ko-KR" sz="12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.75%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가정</a:t>
                      </a:r>
                      <a:endParaRPr lang="en-US" altLang="ko-KR" sz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err="1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환급률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 err="1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손비처리</a:t>
                      </a:r>
                      <a:r>
                        <a:rPr lang="en-US" altLang="ko-KR" sz="11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100" dirty="0" err="1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지방세포함</a:t>
                      </a:r>
                      <a:r>
                        <a:rPr lang="ko-KR" altLang="en-US" sz="11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en-US" altLang="ko-KR" sz="11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.9%)</a:t>
                      </a:r>
                      <a:endParaRPr lang="ko-KR" altLang="en-US" sz="11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050" b="1" dirty="0" err="1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최종환급률</a:t>
                      </a:r>
                      <a:endParaRPr lang="en-US" altLang="ko-KR" sz="1050" b="1" dirty="0">
                        <a:solidFill>
                          <a:srgbClr val="C00000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 latinLnBrk="1"/>
                      <a:r>
                        <a:rPr lang="en-US" altLang="ko-KR" sz="1050" b="1" dirty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050" b="1" dirty="0" err="1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절세포함</a:t>
                      </a:r>
                      <a:r>
                        <a:rPr lang="en-US" altLang="ko-KR" sz="1050" b="1" dirty="0">
                          <a:solidFill>
                            <a:srgbClr val="C0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  <a:endParaRPr lang="ko-KR" altLang="en-US" sz="1050" b="1" dirty="0">
                        <a:solidFill>
                          <a:srgbClr val="C00000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6552851"/>
                  </a:ext>
                </a:extLst>
              </a:tr>
              <a:tr h="732099"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비용처리금액</a:t>
                      </a:r>
                      <a:endParaRPr lang="en-US" altLang="ko-KR" sz="11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누계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법인세절감액</a:t>
                      </a:r>
                      <a:endParaRPr lang="en-US" altLang="ko-KR" sz="11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누계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29312499"/>
                  </a:ext>
                </a:extLst>
              </a:tr>
              <a:tr h="43057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1</a:t>
                      </a: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4"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</a:t>
                      </a:r>
                      <a:r>
                        <a:rPr lang="ko-KR" altLang="en-US" sz="1100" b="1" dirty="0" smtClean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억</a:t>
                      </a:r>
                      <a:endParaRPr lang="ko-KR" altLang="en-US" sz="1100" b="1" dirty="0">
                        <a:solidFill>
                          <a:srgbClr val="0000FF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,120</a:t>
                      </a: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-</a:t>
                      </a:r>
                      <a:endParaRPr lang="ko-KR" altLang="en-US" sz="1100" b="1" dirty="0">
                        <a:solidFill>
                          <a:srgbClr val="0000FF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-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,120</a:t>
                      </a: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279</a:t>
                      </a: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</a:t>
                      </a: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endParaRPr lang="en-US" altLang="ko-KR" sz="1200" b="1" i="0" u="none" strike="noStrike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984" marR="9984" marT="9984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>
                          <a:solidFill>
                            <a:srgbClr val="FF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.9%</a:t>
                      </a:r>
                    </a:p>
                  </a:txBody>
                  <a:tcPr marL="9984" marR="9984" marT="9984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2608268"/>
                  </a:ext>
                </a:extLst>
              </a:tr>
              <a:tr h="43057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2</a:t>
                      </a: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b="1" dirty="0">
                        <a:solidFill>
                          <a:srgbClr val="0000FF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2,240</a:t>
                      </a: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,488</a:t>
                      </a:r>
                      <a:r>
                        <a:rPr lang="ko-KR" altLang="en-US" sz="1100" b="1" dirty="0" smtClean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</a:t>
                      </a:r>
                      <a:endParaRPr lang="ko-KR" altLang="en-US" sz="1100" b="1" dirty="0">
                        <a:solidFill>
                          <a:srgbClr val="0000FF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8.5%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2,240</a:t>
                      </a: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,558</a:t>
                      </a: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</a:t>
                      </a: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endParaRPr lang="en-US" altLang="ko-KR" sz="1200" b="1" i="0" u="none" strike="noStrike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984" marR="9984" marT="9984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9.4%</a:t>
                      </a:r>
                      <a:endParaRPr lang="en-US" altLang="ko-KR" sz="1200" b="1" i="0" u="none" strike="noStrike" dirty="0">
                        <a:solidFill>
                          <a:srgbClr val="FF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984" marR="9984" marT="9984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0218395"/>
                  </a:ext>
                </a:extLst>
              </a:tr>
              <a:tr h="43057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3</a:t>
                      </a: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200" b="1" dirty="0">
                        <a:solidFill>
                          <a:srgbClr val="0000FF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8,360</a:t>
                      </a: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,280</a:t>
                      </a:r>
                      <a:r>
                        <a:rPr lang="ko-KR" altLang="en-US" sz="1100" b="1" dirty="0" smtClean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</a:t>
                      </a:r>
                      <a:endParaRPr lang="ko-KR" altLang="en-US" sz="1100" b="1" dirty="0">
                        <a:solidFill>
                          <a:srgbClr val="0000FF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5.1%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8,360</a:t>
                      </a: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,837</a:t>
                      </a: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</a:t>
                      </a: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endParaRPr lang="en-US" altLang="ko-KR" sz="1200" b="1" i="0" u="none" strike="noStrike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984" marR="9984" marT="9984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6.0%</a:t>
                      </a:r>
                      <a:endParaRPr lang="en-US" altLang="ko-KR" sz="1200" b="1" i="0" u="none" strike="noStrike" dirty="0">
                        <a:solidFill>
                          <a:srgbClr val="FF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984" marR="9984" marT="9984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5658104"/>
                  </a:ext>
                </a:extLst>
              </a:tr>
              <a:tr h="43057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</a:t>
                      </a: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4</a:t>
                      </a: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4,480</a:t>
                      </a: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7,552</a:t>
                      </a:r>
                      <a:r>
                        <a:rPr lang="ko-KR" altLang="en-US" sz="1100" b="1" dirty="0" smtClean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</a:t>
                      </a:r>
                      <a:endParaRPr lang="ko-KR" altLang="en-US" sz="1100" b="1" dirty="0">
                        <a:solidFill>
                          <a:srgbClr val="0000FF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1.7%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4,480</a:t>
                      </a: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,116</a:t>
                      </a: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</a:t>
                      </a:r>
                      <a:endParaRPr lang="en-US" altLang="ko-KR" sz="1200" b="1" i="0" u="none" strike="noStrike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984" marR="9984" marT="9984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2.6%</a:t>
                      </a:r>
                      <a:endParaRPr lang="en-US" altLang="ko-KR" sz="1200" b="1" i="0" u="none" strike="noStrike" dirty="0">
                        <a:solidFill>
                          <a:srgbClr val="FF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984" marR="9984" marT="9984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4845048"/>
                  </a:ext>
                </a:extLst>
              </a:tr>
              <a:tr h="43057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</a:p>
                  </a:txBody>
                  <a:tcPr marL="95851" marR="95851" marT="47925" marB="47925" anchor="ctr">
                    <a:lnL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5</a:t>
                      </a: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</a:t>
                      </a:r>
                      <a:r>
                        <a:rPr lang="ko-KR" altLang="en-US" sz="1100" b="1" dirty="0" smtClean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억</a:t>
                      </a:r>
                      <a:endParaRPr lang="ko-KR" altLang="en-US" sz="1100" b="1" dirty="0">
                        <a:solidFill>
                          <a:srgbClr val="0000FF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0,600</a:t>
                      </a: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6,897</a:t>
                      </a:r>
                      <a:r>
                        <a:rPr lang="ko-KR" altLang="en-US" sz="1100" b="1" dirty="0" smtClean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</a:t>
                      </a:r>
                      <a:endParaRPr lang="ko-KR" altLang="en-US" sz="1100" b="1" dirty="0">
                        <a:solidFill>
                          <a:srgbClr val="0000FF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7.9%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0,600</a:t>
                      </a: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,395</a:t>
                      </a: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</a:t>
                      </a: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endParaRPr lang="en-US" altLang="ko-KR" sz="1200" b="1" i="0" u="none" strike="noStrike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984" marR="9984" marT="9984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8.8%</a:t>
                      </a:r>
                      <a:endParaRPr lang="en-US" altLang="ko-KR" sz="1200" b="1" i="0" u="none" strike="noStrike" dirty="0">
                        <a:solidFill>
                          <a:srgbClr val="0000FF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984" marR="9984" marT="9984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1170911"/>
                  </a:ext>
                </a:extLst>
              </a:tr>
              <a:tr h="43057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</a:p>
                  </a:txBody>
                  <a:tcPr marL="95851" marR="95851" marT="47925" marB="47925" anchor="ctr">
                    <a:lnL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7</a:t>
                      </a: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latinLnBrk="1"/>
                      <a:endParaRPr lang="ko-KR" altLang="en-US" sz="1100" b="1" dirty="0">
                        <a:solidFill>
                          <a:srgbClr val="0000FF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2,840</a:t>
                      </a: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100" b="1" dirty="0" smtClean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1,126</a:t>
                      </a:r>
                      <a:r>
                        <a:rPr lang="ko-KR" altLang="en-US" sz="1100" b="1" dirty="0" smtClean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</a:t>
                      </a:r>
                      <a:endParaRPr lang="ko-KR" altLang="en-US" sz="1100" b="1" dirty="0">
                        <a:solidFill>
                          <a:srgbClr val="0000FF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6.0%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2,840</a:t>
                      </a: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,954</a:t>
                      </a: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</a:t>
                      </a: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endParaRPr lang="en-US" altLang="ko-KR" sz="1200" b="1" i="0" u="none" strike="noStrike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984" marR="9984" marT="9984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16.9%</a:t>
                      </a:r>
                      <a:endParaRPr lang="en-US" altLang="ko-KR" sz="1200" b="1" i="0" u="none" strike="noStrike" dirty="0">
                        <a:solidFill>
                          <a:srgbClr val="0000FF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984" marR="9984" marT="9984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0223965"/>
                  </a:ext>
                </a:extLst>
              </a:tr>
              <a:tr h="43057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</a:p>
                  </a:txBody>
                  <a:tcPr marL="95851" marR="95851" marT="47925" marB="47925" anchor="ctr">
                    <a:lnL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0</a:t>
                      </a: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</a:t>
                      </a:r>
                      <a:r>
                        <a:rPr lang="ko-KR" altLang="en-US" sz="1100" b="1" dirty="0" smtClean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억 </a:t>
                      </a:r>
                      <a:r>
                        <a:rPr lang="en-US" altLang="ko-KR" sz="1100" b="1" dirty="0" smtClean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</a:t>
                      </a:r>
                      <a:r>
                        <a:rPr lang="ko-KR" altLang="en-US" sz="1100" b="1" dirty="0" smtClean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만</a:t>
                      </a:r>
                      <a:endParaRPr lang="ko-KR" altLang="en-US" sz="1100" b="1" dirty="0">
                        <a:solidFill>
                          <a:srgbClr val="0000FF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1,200</a:t>
                      </a: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9,180</a:t>
                      </a:r>
                      <a:r>
                        <a:rPr lang="ko-KR" altLang="en-US" sz="1100" b="1" dirty="0" smtClean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</a:t>
                      </a:r>
                      <a:endParaRPr lang="ko-KR" altLang="en-US" sz="1100" b="1" dirty="0">
                        <a:solidFill>
                          <a:srgbClr val="0000FF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6.7%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1,200</a:t>
                      </a: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2,791</a:t>
                      </a: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</a:t>
                      </a: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endParaRPr lang="en-US" altLang="ko-KR" sz="1200" b="1" i="0" u="none" strike="noStrike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984" marR="9984" marT="9984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17.6%</a:t>
                      </a:r>
                      <a:endParaRPr lang="en-US" altLang="ko-KR" sz="1200" b="1" i="0" u="none" strike="noStrike" dirty="0">
                        <a:solidFill>
                          <a:srgbClr val="0000FF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984" marR="9984" marT="9984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5336353"/>
                  </a:ext>
                </a:extLst>
              </a:tr>
              <a:tr h="430578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5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5</a:t>
                      </a: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</a:t>
                      </a:r>
                      <a:r>
                        <a:rPr lang="ko-KR" altLang="en-US" sz="1100" b="1" dirty="0" smtClean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억</a:t>
                      </a:r>
                      <a:endParaRPr lang="ko-KR" altLang="en-US" sz="1100" b="1" dirty="0">
                        <a:solidFill>
                          <a:srgbClr val="0000FF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1,800</a:t>
                      </a: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9,413</a:t>
                      </a:r>
                      <a:r>
                        <a:rPr lang="ko-KR" altLang="en-US" sz="1100" b="1" dirty="0" smtClean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</a:t>
                      </a:r>
                      <a:endParaRPr lang="ko-KR" altLang="en-US" sz="1100" b="1" dirty="0">
                        <a:solidFill>
                          <a:srgbClr val="0000FF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7.4%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1,800</a:t>
                      </a:r>
                      <a:r>
                        <a:rPr lang="ko-KR" altLang="en-US" sz="11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5851" marR="95851" marT="47925" marB="47925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9,186</a:t>
                      </a: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</a:t>
                      </a: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endParaRPr lang="en-US" altLang="ko-KR" sz="1200" b="1" i="0" u="none" strike="noStrike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984" marR="9984" marT="9984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200" b="1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18.3%</a:t>
                      </a:r>
                      <a:endParaRPr lang="en-US" altLang="ko-KR" sz="1200" b="1" i="0" u="none" strike="noStrike" dirty="0">
                        <a:solidFill>
                          <a:srgbClr val="0000FF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9984" marR="9984" marT="9984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0150341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274320" y="202629"/>
            <a:ext cx="842287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583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「 ㈜ </a:t>
            </a:r>
            <a:r>
              <a:rPr kumimoji="0" lang="ko-KR" altLang="en-US" sz="22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법인회사</a:t>
            </a:r>
            <a:r>
              <a:rPr kumimoji="0" lang="ko-KR" altLang="en-US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 </a:t>
            </a:r>
            <a:r>
              <a:rPr kumimoji="0" lang="en-US" altLang="ko-KR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O </a:t>
            </a:r>
            <a:r>
              <a:rPr kumimoji="0" lang="en-US" altLang="ko-KR" sz="22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O</a:t>
            </a:r>
            <a:r>
              <a:rPr kumimoji="0" lang="en-US" altLang="ko-KR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 </a:t>
            </a:r>
            <a:r>
              <a:rPr kumimoji="0" lang="ko-KR" altLang="en-US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대표님 </a:t>
            </a:r>
            <a:r>
              <a:rPr kumimoji="0" lang="ko-KR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  <a:cs typeface="+mn-cs"/>
              </a:rPr>
              <a:t>」 을 위한 제안서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51359" y="6492949"/>
            <a:ext cx="973710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900" dirty="0" smtClean="0"/>
              <a:t>※ </a:t>
            </a:r>
            <a:r>
              <a:rPr lang="ko-KR" altLang="en-US" sz="900" dirty="0" err="1" smtClean="0"/>
              <a:t>손비처리는</a:t>
            </a:r>
            <a:r>
              <a:rPr lang="ko-KR" altLang="en-US" sz="900" dirty="0" smtClean="0"/>
              <a:t> 단순계산으로 </a:t>
            </a:r>
            <a:r>
              <a:rPr lang="ko-KR" altLang="en-US" sz="900" dirty="0" err="1" smtClean="0"/>
              <a:t>세무기관에</a:t>
            </a:r>
            <a:r>
              <a:rPr lang="ko-KR" altLang="en-US" sz="900" dirty="0" smtClean="0"/>
              <a:t> 따라 내용이 상이할 수 있습니다</a:t>
            </a:r>
            <a:r>
              <a:rPr lang="en-US" altLang="ko-KR" sz="900" dirty="0" smtClean="0"/>
              <a:t>. </a:t>
            </a:r>
            <a:r>
              <a:rPr lang="ko-KR" altLang="en-US" sz="900" dirty="0" smtClean="0"/>
              <a:t>정확한 내용은 담당 세무사를 통해서 확인하시기 바랍니다</a:t>
            </a:r>
            <a:r>
              <a:rPr lang="en-US" altLang="ko-KR" sz="900" dirty="0" smtClean="0"/>
              <a:t>.</a:t>
            </a:r>
            <a:endParaRPr lang="ko-KR" altLang="en-US" sz="900" dirty="0"/>
          </a:p>
        </p:txBody>
      </p:sp>
    </p:spTree>
    <p:extLst>
      <p:ext uri="{BB962C8B-B14F-4D97-AF65-F5344CB8AC3E}">
        <p14:creationId xmlns:p14="http://schemas.microsoft.com/office/powerpoint/2010/main" val="3674327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그림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457" y="2916122"/>
            <a:ext cx="8640961" cy="1287381"/>
          </a:xfrm>
          <a:prstGeom prst="rect">
            <a:avLst/>
          </a:prstGeom>
        </p:spPr>
      </p:pic>
      <p:sp>
        <p:nvSpPr>
          <p:cNvPr id="6" name="Rectangle 91"/>
          <p:cNvSpPr>
            <a:spLocks noChangeArrowheads="1"/>
          </p:cNvSpPr>
          <p:nvPr/>
        </p:nvSpPr>
        <p:spPr bwMode="gray">
          <a:xfrm>
            <a:off x="1852885" y="3168724"/>
            <a:ext cx="6665342" cy="7821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45892" tIns="21545" rIns="45892" bIns="21545">
            <a:spAutoFit/>
          </a:bodyPr>
          <a:lstStyle/>
          <a:p>
            <a:pPr marL="0" marR="0" lvl="0" indent="0" algn="ctr" defTabSz="91192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o-KR" altLang="en-US" sz="4800" kern="0" noProof="0" dirty="0" smtClean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black"/>
                </a:solidFill>
                <a:latin typeface="나눔고딕 ExtraBold" pitchFamily="50" charset="-127"/>
                <a:ea typeface="나눔고딕 ExtraBold" pitchFamily="50" charset="-127"/>
                <a:cs typeface="Verdana" panose="020B0604030504040204" pitchFamily="34" charset="0"/>
              </a:rPr>
              <a:t>실속종신보험</a:t>
            </a:r>
            <a:r>
              <a:rPr lang="en-US" altLang="ko-KR" sz="4800" kern="0" noProof="0" dirty="0" smtClean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black"/>
                </a:solidFill>
                <a:latin typeface="나눔고딕 ExtraBold" pitchFamily="50" charset="-127"/>
                <a:ea typeface="나눔고딕 ExtraBold" pitchFamily="50" charset="-127"/>
                <a:cs typeface="Verdana" panose="020B0604030504040204" pitchFamily="34" charset="0"/>
              </a:rPr>
              <a:t>Plus</a:t>
            </a:r>
            <a:r>
              <a:rPr lang="en-US" altLang="ko-KR" sz="2800" kern="0" noProof="0" dirty="0" smtClean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black"/>
                </a:solidFill>
                <a:latin typeface="나눔고딕 ExtraBold" pitchFamily="50" charset="-127"/>
                <a:ea typeface="나눔고딕 ExtraBold" pitchFamily="50" charset="-127"/>
                <a:cs typeface="Verdana" panose="020B0604030504040204" pitchFamily="34" charset="0"/>
              </a:rPr>
              <a:t>(</a:t>
            </a:r>
            <a:r>
              <a:rPr lang="ko-KR" altLang="en-US" sz="2800" kern="0" noProof="0" dirty="0" err="1" smtClean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black"/>
                </a:solidFill>
                <a:latin typeface="나눔고딕 ExtraBold" pitchFamily="50" charset="-127"/>
                <a:ea typeface="나눔고딕 ExtraBold" pitchFamily="50" charset="-127"/>
                <a:cs typeface="Verdana" panose="020B0604030504040204" pitchFamily="34" charset="0"/>
              </a:rPr>
              <a:t>간편포함</a:t>
            </a:r>
            <a:r>
              <a:rPr lang="en-US" altLang="ko-KR" sz="2800" kern="0" noProof="0" dirty="0" smtClean="0">
                <a:ln>
                  <a:solidFill>
                    <a:prstClr val="white">
                      <a:lumMod val="75000"/>
                      <a:alpha val="0"/>
                    </a:prstClr>
                  </a:solidFill>
                </a:ln>
                <a:solidFill>
                  <a:prstClr val="black"/>
                </a:solidFill>
                <a:latin typeface="나눔고딕 ExtraBold" pitchFamily="50" charset="-127"/>
                <a:ea typeface="나눔고딕 ExtraBold" pitchFamily="50" charset="-127"/>
                <a:cs typeface="Verdana" panose="020B0604030504040204" pitchFamily="34" charset="0"/>
              </a:rPr>
              <a:t>)</a:t>
            </a:r>
            <a:endParaRPr kumimoji="0" lang="en-US" altLang="ko-KR" sz="2400" b="0" i="0" u="none" strike="noStrike" kern="0" cap="none" spc="0" normalizeH="0" baseline="0" noProof="0" dirty="0">
              <a:ln>
                <a:solidFill>
                  <a:prstClr val="white">
                    <a:lumMod val="75000"/>
                    <a:alpha val="0"/>
                  </a:prstClr>
                </a:solidFill>
              </a:ln>
              <a:solidFill>
                <a:srgbClr val="1408FE"/>
              </a:solidFill>
              <a:effectLst/>
              <a:uLnTx/>
              <a:uFillTx/>
              <a:latin typeface="나눔고딕 ExtraBold" pitchFamily="50" charset="-127"/>
              <a:ea typeface="나눔고딕 ExtraBold" pitchFamily="50" charset="-127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0277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직사각형 36"/>
          <p:cNvSpPr/>
          <p:nvPr/>
        </p:nvSpPr>
        <p:spPr>
          <a:xfrm>
            <a:off x="583407" y="1107157"/>
            <a:ext cx="9289032" cy="583264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29" name="그림 28" descr="화면 캡처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00" r="9101" b="17492"/>
          <a:stretch/>
        </p:blipFill>
        <p:spPr>
          <a:xfrm>
            <a:off x="2403063" y="1432110"/>
            <a:ext cx="5184576" cy="3609113"/>
          </a:xfrm>
          <a:prstGeom prst="rect">
            <a:avLst/>
          </a:prstGeom>
        </p:spPr>
      </p:pic>
      <p:sp>
        <p:nvSpPr>
          <p:cNvPr id="31" name="직사각형 30"/>
          <p:cNvSpPr/>
          <p:nvPr/>
        </p:nvSpPr>
        <p:spPr>
          <a:xfrm>
            <a:off x="1062772" y="891133"/>
            <a:ext cx="7898571" cy="540977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 defTabSz="778733"/>
            <a:fld id="{2747D207-944B-4363-884F-A02296F6E65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 defTabSz="778733"/>
              <a:t>33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40757" y="128492"/>
            <a:ext cx="7354035" cy="483960"/>
          </a:xfrm>
          <a:prstGeom prst="rect">
            <a:avLst/>
          </a:prstGeom>
          <a:noFill/>
        </p:spPr>
        <p:txBody>
          <a:bodyPr wrap="square" lIns="108000" tIns="108000" bIns="36000" rtlCol="0" anchor="ctr" anchorCtr="0">
            <a:spAutoFit/>
          </a:bodyPr>
          <a:lstStyle/>
          <a:p>
            <a:r>
              <a:rPr lang="ko-KR" altLang="en-US" sz="2200" b="1" dirty="0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현실로 다가오는 노후 빈곤</a:t>
            </a:r>
            <a:endParaRPr lang="en-US" altLang="ko-KR" sz="2200" b="1" dirty="0">
              <a:solidFill>
                <a:srgbClr val="141450"/>
              </a:solidFill>
              <a:latin typeface="교보서체 Bold" panose="020B0600000101010101" pitchFamily="50" charset="-127"/>
              <a:ea typeface="교보서체 Bold" panose="020B0600000101010101" pitchFamily="50" charset="-127"/>
            </a:endParaRPr>
          </a:p>
        </p:txBody>
      </p:sp>
      <p:pic>
        <p:nvPicPr>
          <p:cNvPr id="28" name="그림 27" descr="화면 캡처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1566"/>
          <a:stretch/>
        </p:blipFill>
        <p:spPr>
          <a:xfrm>
            <a:off x="1231479" y="931422"/>
            <a:ext cx="7710409" cy="424810"/>
          </a:xfrm>
          <a:prstGeom prst="rect">
            <a:avLst/>
          </a:prstGeom>
        </p:spPr>
      </p:pic>
      <p:pic>
        <p:nvPicPr>
          <p:cNvPr id="30" name="그림 29" descr="화면 캡처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447" y="3699445"/>
            <a:ext cx="8479801" cy="3106900"/>
          </a:xfrm>
          <a:prstGeom prst="rect">
            <a:avLst/>
          </a:prstGeom>
          <a:ln w="6350" cap="sq">
            <a:solidFill>
              <a:schemeClr val="bg1">
                <a:lumMod val="5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cxnSp>
        <p:nvCxnSpPr>
          <p:cNvPr id="32" name="직선 연결선 31"/>
          <p:cNvCxnSpPr/>
          <p:nvPr/>
        </p:nvCxnSpPr>
        <p:spPr>
          <a:xfrm flipV="1">
            <a:off x="1591519" y="6053053"/>
            <a:ext cx="7607794" cy="320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직선 연결선 32"/>
          <p:cNvCxnSpPr/>
          <p:nvPr/>
        </p:nvCxnSpPr>
        <p:spPr>
          <a:xfrm flipV="1">
            <a:off x="1091190" y="6403247"/>
            <a:ext cx="2084505" cy="13047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직선 연결선 33"/>
          <p:cNvCxnSpPr/>
          <p:nvPr/>
        </p:nvCxnSpPr>
        <p:spPr>
          <a:xfrm>
            <a:off x="8432279" y="6383792"/>
            <a:ext cx="767034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직선 연결선 34"/>
          <p:cNvCxnSpPr/>
          <p:nvPr/>
        </p:nvCxnSpPr>
        <p:spPr>
          <a:xfrm>
            <a:off x="1075388" y="6734104"/>
            <a:ext cx="5186172" cy="9613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모서리가 둥근 직사각형 35"/>
          <p:cNvSpPr/>
          <p:nvPr/>
        </p:nvSpPr>
        <p:spPr>
          <a:xfrm>
            <a:off x="2243318" y="1523198"/>
            <a:ext cx="5468881" cy="393457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o-KR" altLang="en-US" sz="1600" b="1" dirty="0" smtClean="0">
                <a:solidFill>
                  <a:schemeClr val="tx1"/>
                </a:solidFill>
              </a:rPr>
              <a:t>대표적인 구조개혁 </a:t>
            </a:r>
            <a:r>
              <a:rPr lang="en-US" altLang="ko-KR" sz="1600" b="1" dirty="0" smtClean="0">
                <a:solidFill>
                  <a:schemeClr val="tx1"/>
                </a:solidFill>
              </a:rPr>
              <a:t>-&gt; </a:t>
            </a:r>
            <a:r>
              <a:rPr lang="ko-KR" altLang="en-US" sz="1600" b="1" dirty="0" smtClean="0">
                <a:solidFill>
                  <a:schemeClr val="tx1"/>
                </a:solidFill>
              </a:rPr>
              <a:t>국민연금</a:t>
            </a:r>
            <a:r>
              <a:rPr lang="en-US" altLang="ko-KR" sz="1600" b="1" dirty="0" smtClean="0">
                <a:solidFill>
                  <a:schemeClr val="tx1"/>
                </a:solidFill>
              </a:rPr>
              <a:t>, </a:t>
            </a:r>
            <a:r>
              <a:rPr lang="ko-KR" altLang="en-US" sz="1600" b="1" dirty="0" smtClean="0">
                <a:solidFill>
                  <a:schemeClr val="tx1"/>
                </a:solidFill>
              </a:rPr>
              <a:t>건강보험</a:t>
            </a:r>
            <a:r>
              <a:rPr lang="en-US" altLang="ko-KR" sz="1600" b="1" dirty="0" smtClean="0">
                <a:solidFill>
                  <a:schemeClr val="tx1"/>
                </a:solidFill>
              </a:rPr>
              <a:t>,</a:t>
            </a:r>
            <a:r>
              <a:rPr lang="ko-KR" altLang="en-US" sz="1600" b="1" dirty="0" smtClean="0">
                <a:solidFill>
                  <a:schemeClr val="tx1"/>
                </a:solidFill>
              </a:rPr>
              <a:t> 노동시장 등</a:t>
            </a:r>
            <a:endParaRPr lang="ko-KR" altLang="en-US" sz="16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8409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오른쪽 화살표 22"/>
          <p:cNvSpPr/>
          <p:nvPr/>
        </p:nvSpPr>
        <p:spPr>
          <a:xfrm>
            <a:off x="87606" y="1578266"/>
            <a:ext cx="7696601" cy="4794887"/>
          </a:xfrm>
          <a:prstGeom prst="rightArrow">
            <a:avLst>
              <a:gd name="adj1" fmla="val 75817"/>
              <a:gd name="adj2" fmla="val 21834"/>
            </a:avLst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2" name="직사각형 21"/>
          <p:cNvSpPr/>
          <p:nvPr/>
        </p:nvSpPr>
        <p:spPr>
          <a:xfrm>
            <a:off x="312347" y="3987477"/>
            <a:ext cx="6336704" cy="293021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6" name="직사각형 15"/>
          <p:cNvSpPr/>
          <p:nvPr/>
        </p:nvSpPr>
        <p:spPr>
          <a:xfrm>
            <a:off x="312347" y="1179142"/>
            <a:ext cx="6336704" cy="265117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 defTabSz="778733"/>
            <a:fld id="{2747D207-944B-4363-884F-A02296F6E65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 defTabSz="778733"/>
              <a:t>34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40757" y="128492"/>
            <a:ext cx="7354035" cy="483960"/>
          </a:xfrm>
          <a:prstGeom prst="rect">
            <a:avLst/>
          </a:prstGeom>
          <a:noFill/>
        </p:spPr>
        <p:txBody>
          <a:bodyPr wrap="square" lIns="108000" tIns="108000" bIns="36000" rtlCol="0" anchor="ctr" anchorCtr="0">
            <a:spAutoFit/>
          </a:bodyPr>
          <a:lstStyle/>
          <a:p>
            <a:r>
              <a:rPr lang="ko-KR" altLang="en-US" sz="2200" b="1" dirty="0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가장 문제는 빠른 고령화와 심화되는 소득불평등</a:t>
            </a:r>
            <a:endParaRPr lang="en-US" altLang="ko-KR" sz="2200" b="1" dirty="0">
              <a:solidFill>
                <a:srgbClr val="141450"/>
              </a:solidFill>
              <a:latin typeface="교보서체 Bold" panose="020B0600000101010101" pitchFamily="50" charset="-127"/>
              <a:ea typeface="교보서체 Bold" panose="020B0600000101010101" pitchFamily="50" charset="-127"/>
            </a:endParaRPr>
          </a:p>
        </p:txBody>
      </p:sp>
      <p:pic>
        <p:nvPicPr>
          <p:cNvPr id="13" name="그림 12" descr="화면 캡처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079" y="1323181"/>
            <a:ext cx="3077229" cy="2377174"/>
          </a:xfrm>
          <a:prstGeom prst="rect">
            <a:avLst/>
          </a:prstGeom>
          <a:ln>
            <a:noFill/>
          </a:ln>
        </p:spPr>
      </p:pic>
      <p:pic>
        <p:nvPicPr>
          <p:cNvPr id="14" name="그림 13" descr="화면 캡처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3727" y="1358346"/>
            <a:ext cx="3168352" cy="2342009"/>
          </a:xfrm>
          <a:prstGeom prst="rect">
            <a:avLst/>
          </a:prstGeom>
          <a:ln>
            <a:noFill/>
          </a:ln>
        </p:spPr>
      </p:pic>
      <p:pic>
        <p:nvPicPr>
          <p:cNvPr id="19" name="그림 18" descr="화면 캡처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8"/>
          <a:stretch/>
        </p:blipFill>
        <p:spPr>
          <a:xfrm>
            <a:off x="360311" y="4233981"/>
            <a:ext cx="3103416" cy="2568163"/>
          </a:xfrm>
          <a:prstGeom prst="rect">
            <a:avLst/>
          </a:prstGeom>
        </p:spPr>
      </p:pic>
      <p:pic>
        <p:nvPicPr>
          <p:cNvPr id="20" name="그림 19" descr="화면 캡처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80" r="4940"/>
          <a:stretch/>
        </p:blipFill>
        <p:spPr>
          <a:xfrm>
            <a:off x="3551524" y="4233981"/>
            <a:ext cx="2981356" cy="2568163"/>
          </a:xfrm>
          <a:prstGeom prst="rect">
            <a:avLst/>
          </a:prstGeom>
        </p:spPr>
      </p:pic>
      <p:pic>
        <p:nvPicPr>
          <p:cNvPr id="21" name="그림 20" descr="화면 캡처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57" t="19802" r="61130" b="46841"/>
          <a:stretch/>
        </p:blipFill>
        <p:spPr>
          <a:xfrm>
            <a:off x="637548" y="4275509"/>
            <a:ext cx="737947" cy="702806"/>
          </a:xfrm>
          <a:prstGeom prst="rect">
            <a:avLst/>
          </a:prstGeom>
        </p:spPr>
      </p:pic>
      <p:sp>
        <p:nvSpPr>
          <p:cNvPr id="25" name="모서리가 둥근 직사각형 24"/>
          <p:cNvSpPr/>
          <p:nvPr/>
        </p:nvSpPr>
        <p:spPr>
          <a:xfrm>
            <a:off x="2372770" y="1179142"/>
            <a:ext cx="2215267" cy="214868"/>
          </a:xfrm>
          <a:prstGeom prst="round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 smtClean="0"/>
              <a:t>우리나라 </a:t>
            </a:r>
            <a:r>
              <a:rPr lang="ko-KR" altLang="en-US" sz="1200" b="1" smtClean="0"/>
              <a:t>고령화 추이</a:t>
            </a:r>
            <a:endParaRPr lang="en-US" altLang="ko-KR" sz="1200" b="1" dirty="0" smtClean="0"/>
          </a:p>
        </p:txBody>
      </p:sp>
      <p:sp>
        <p:nvSpPr>
          <p:cNvPr id="26" name="모서리가 둥근 직사각형 25"/>
          <p:cNvSpPr/>
          <p:nvPr/>
        </p:nvSpPr>
        <p:spPr>
          <a:xfrm>
            <a:off x="2372770" y="3997637"/>
            <a:ext cx="2215267" cy="214868"/>
          </a:xfrm>
          <a:prstGeom prst="round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200" b="1" dirty="0" smtClean="0"/>
              <a:t>소득불평등 현황</a:t>
            </a:r>
            <a:endParaRPr lang="en-US" altLang="ko-KR" sz="1200" b="1" dirty="0" smtClean="0"/>
          </a:p>
        </p:txBody>
      </p:sp>
      <p:sp>
        <p:nvSpPr>
          <p:cNvPr id="28" name="직사각형 27"/>
          <p:cNvSpPr/>
          <p:nvPr/>
        </p:nvSpPr>
        <p:spPr>
          <a:xfrm>
            <a:off x="6992119" y="1409711"/>
            <a:ext cx="3168352" cy="893122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한국은 </a:t>
            </a:r>
            <a:r>
              <a:rPr lang="en-US" altLang="ko-KR" sz="14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65</a:t>
            </a:r>
            <a:r>
              <a:rPr lang="ko-KR" altLang="en-US" sz="1400" dirty="0" err="1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세이상</a:t>
            </a:r>
            <a:r>
              <a:rPr lang="ko-KR" altLang="en-US" sz="14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고형화 진행속도가</a:t>
            </a:r>
            <a:endParaRPr lang="en-US" altLang="ko-KR" sz="14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 algn="ctr"/>
            <a:r>
              <a:rPr lang="en-US" altLang="ko-KR" sz="14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OECD</a:t>
            </a:r>
            <a:r>
              <a:rPr lang="ko-KR" altLang="en-US" sz="14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국가중에서도 가장 빠름</a:t>
            </a:r>
            <a:endParaRPr lang="ko-KR" altLang="en-US" sz="14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331157" y="4252146"/>
            <a:ext cx="22568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" panose="020D0604000000000000" pitchFamily="50" charset="-127"/>
                <a:ea typeface="나눔고딕" panose="020D0604000000000000" pitchFamily="50" charset="-127"/>
              </a:rPr>
              <a:t>※ </a:t>
            </a:r>
            <a:r>
              <a:rPr lang="ko-KR" altLang="en-US" sz="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" panose="020D0604000000000000" pitchFamily="50" charset="-127"/>
                <a:ea typeface="나눔고딕" panose="020D0604000000000000" pitchFamily="50" charset="-127"/>
              </a:rPr>
              <a:t>각 </a:t>
            </a:r>
            <a:r>
              <a:rPr lang="ko-KR" altLang="en-US" sz="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" panose="020D0604000000000000" pitchFamily="50" charset="-127"/>
                <a:ea typeface="나눔고딕" panose="020D0604000000000000" pitchFamily="50" charset="-127"/>
              </a:rPr>
              <a:t>소득별</a:t>
            </a:r>
            <a:r>
              <a:rPr lang="ko-KR" altLang="en-US" sz="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" panose="020D0604000000000000" pitchFamily="50" charset="-127"/>
                <a:ea typeface="나눔고딕" panose="020D0604000000000000" pitchFamily="50" charset="-127"/>
              </a:rPr>
              <a:t> 그래프가 길수록 소득불평등이</a:t>
            </a:r>
            <a:endParaRPr lang="en-US" altLang="ko-KR" sz="8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r>
              <a:rPr lang="en-US" altLang="ko-KR" sz="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" panose="020D0604000000000000" pitchFamily="50" charset="-127"/>
                <a:ea typeface="나눔고딕" panose="020D0604000000000000" pitchFamily="50" charset="-127"/>
              </a:rPr>
              <a:t>  </a:t>
            </a:r>
            <a:r>
              <a:rPr lang="ko-KR" altLang="en-US" sz="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나눔고딕" panose="020D0604000000000000" pitchFamily="50" charset="-127"/>
                <a:ea typeface="나눔고딕" panose="020D0604000000000000" pitchFamily="50" charset="-127"/>
              </a:rPr>
              <a:t> 심하다는 뜻</a:t>
            </a:r>
            <a:endParaRPr lang="ko-KR" altLang="en-US" sz="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30" name="직사각형 29"/>
          <p:cNvSpPr/>
          <p:nvPr/>
        </p:nvSpPr>
        <p:spPr>
          <a:xfrm>
            <a:off x="6992119" y="2454101"/>
            <a:ext cx="3168352" cy="893122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빠른 고령화로 국민연금은 줄어들고</a:t>
            </a:r>
            <a:endParaRPr lang="en-US" altLang="ko-KR" sz="14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 algn="ctr"/>
            <a:r>
              <a:rPr lang="ko-KR" altLang="en-US" sz="14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건강보험료는 증가하게 됨</a:t>
            </a:r>
            <a:endParaRPr lang="ko-KR" altLang="en-US" sz="14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31" name="직사각형 30"/>
          <p:cNvSpPr/>
          <p:nvPr/>
        </p:nvSpPr>
        <p:spPr>
          <a:xfrm>
            <a:off x="6992119" y="5735116"/>
            <a:ext cx="3168352" cy="893122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60</a:t>
            </a:r>
            <a:r>
              <a:rPr lang="ko-KR" altLang="en-US" sz="14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세부터 소득불평등이 심화되고 있음</a:t>
            </a:r>
            <a:endParaRPr lang="en-US" altLang="ko-KR" sz="14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 algn="ctr"/>
            <a:r>
              <a:rPr lang="en-US" altLang="ko-KR" sz="14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70</a:t>
            </a:r>
            <a:r>
              <a:rPr lang="ko-KR" altLang="en-US" sz="14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세부터 소득양극화가 </a:t>
            </a:r>
            <a:r>
              <a:rPr lang="ko-KR" altLang="en-US" sz="1400" dirty="0" err="1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극심해짐</a:t>
            </a:r>
            <a:endParaRPr lang="ko-KR" altLang="en-US" sz="14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32" name="직사각형 31"/>
          <p:cNvSpPr/>
          <p:nvPr/>
        </p:nvSpPr>
        <p:spPr>
          <a:xfrm>
            <a:off x="6992119" y="4652869"/>
            <a:ext cx="3168352" cy="893122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4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소득불평등의 심화는 노년층의</a:t>
            </a:r>
            <a:endParaRPr lang="en-US" altLang="ko-KR" sz="14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 algn="ctr"/>
            <a:r>
              <a:rPr lang="ko-KR" altLang="en-US" sz="1400" dirty="0" err="1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빈곤도가</a:t>
            </a:r>
            <a:r>
              <a:rPr lang="ko-KR" altLang="en-US" sz="14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높음을 뜻함</a:t>
            </a:r>
            <a:endParaRPr lang="ko-KR" altLang="en-US" sz="14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33" name="타원 32"/>
          <p:cNvSpPr/>
          <p:nvPr/>
        </p:nvSpPr>
        <p:spPr>
          <a:xfrm>
            <a:off x="7753875" y="3594612"/>
            <a:ext cx="1804435" cy="843090"/>
          </a:xfrm>
          <a:prstGeom prst="ellipse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600" dirty="0" err="1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노후파산</a:t>
            </a:r>
            <a:endParaRPr lang="en-US" altLang="ko-KR" sz="16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 algn="ctr"/>
            <a:r>
              <a:rPr lang="ko-KR" altLang="en-US" sz="16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가능성↑</a:t>
            </a:r>
            <a:endParaRPr lang="ko-KR" altLang="en-US" sz="1600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34" name="아래쪽 화살표 33"/>
          <p:cNvSpPr/>
          <p:nvPr/>
        </p:nvSpPr>
        <p:spPr>
          <a:xfrm>
            <a:off x="8144247" y="2145749"/>
            <a:ext cx="792088" cy="494147"/>
          </a:xfrm>
          <a:prstGeom prst="downArrow">
            <a:avLst/>
          </a:prstGeom>
          <a:solidFill>
            <a:schemeClr val="bg2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7" name="위쪽 화살표 36"/>
          <p:cNvSpPr/>
          <p:nvPr/>
        </p:nvSpPr>
        <p:spPr>
          <a:xfrm>
            <a:off x="8144247" y="5376821"/>
            <a:ext cx="885304" cy="431717"/>
          </a:xfrm>
          <a:prstGeom prst="upArrow">
            <a:avLst/>
          </a:prstGeom>
          <a:solidFill>
            <a:schemeClr val="bg2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9" name="아래쪽 화살표 38"/>
          <p:cNvSpPr/>
          <p:nvPr/>
        </p:nvSpPr>
        <p:spPr>
          <a:xfrm>
            <a:off x="8144247" y="3156453"/>
            <a:ext cx="792088" cy="494147"/>
          </a:xfrm>
          <a:prstGeom prst="downArrow">
            <a:avLst/>
          </a:prstGeom>
          <a:solidFill>
            <a:schemeClr val="bg2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0" name="위쪽 화살표 39"/>
          <p:cNvSpPr/>
          <p:nvPr/>
        </p:nvSpPr>
        <p:spPr>
          <a:xfrm>
            <a:off x="8144247" y="4404513"/>
            <a:ext cx="885304" cy="431717"/>
          </a:xfrm>
          <a:prstGeom prst="upArrow">
            <a:avLst/>
          </a:prstGeom>
          <a:solidFill>
            <a:schemeClr val="bg2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12579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 defTabSz="778733"/>
            <a:fld id="{2747D207-944B-4363-884F-A02296F6E65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 defTabSz="778733"/>
              <a:t>35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40757" y="128492"/>
            <a:ext cx="7354035" cy="483960"/>
          </a:xfrm>
          <a:prstGeom prst="rect">
            <a:avLst/>
          </a:prstGeom>
          <a:noFill/>
        </p:spPr>
        <p:txBody>
          <a:bodyPr wrap="square" lIns="108000" tIns="108000" bIns="36000" rtlCol="0" anchor="ctr" anchorCtr="0">
            <a:spAutoFit/>
          </a:bodyPr>
          <a:lstStyle/>
          <a:p>
            <a:r>
              <a:rPr lang="ko-KR" altLang="en-US" sz="2200" b="1" dirty="0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노후 빈곤을 극복하기 위한 궁여지책</a:t>
            </a:r>
            <a:endParaRPr lang="en-US" altLang="ko-KR" sz="2200" b="1" dirty="0">
              <a:solidFill>
                <a:srgbClr val="141450"/>
              </a:solidFill>
              <a:latin typeface="교보서체 Bold" panose="020B0600000101010101" pitchFamily="50" charset="-127"/>
              <a:ea typeface="교보서체 Bold" panose="020B0600000101010101" pitchFamily="50" charset="-127"/>
            </a:endParaRPr>
          </a:p>
        </p:txBody>
      </p:sp>
      <p:pic>
        <p:nvPicPr>
          <p:cNvPr id="8" name="그림 7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rcRect t="3284"/>
          <a:stretch/>
        </p:blipFill>
        <p:spPr>
          <a:xfrm>
            <a:off x="395442" y="1488907"/>
            <a:ext cx="4826959" cy="5027834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5" name="그림 4"/>
          <p:cNvPicPr>
            <a:picLocks noChangeAspect="1"/>
          </p:cNvPicPr>
          <p:nvPr/>
        </p:nvPicPr>
        <p:blipFill rotWithShape="1">
          <a:blip r:embed="rId4"/>
          <a:srcRect b="47840"/>
          <a:stretch/>
        </p:blipFill>
        <p:spPr>
          <a:xfrm rot="1087637">
            <a:off x="2099684" y="2755589"/>
            <a:ext cx="2790288" cy="238609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그림 5" descr="화면 캡처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192616">
            <a:off x="475184" y="4073674"/>
            <a:ext cx="2432312" cy="233040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" name="오각형 12"/>
          <p:cNvSpPr/>
          <p:nvPr/>
        </p:nvSpPr>
        <p:spPr>
          <a:xfrm>
            <a:off x="5242189" y="1492339"/>
            <a:ext cx="1151607" cy="5001306"/>
          </a:xfrm>
          <a:prstGeom prst="homePlate">
            <a:avLst>
              <a:gd name="adj" fmla="val 100000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12" name="모서리가 둥근 직사각형 11"/>
          <p:cNvSpPr/>
          <p:nvPr/>
        </p:nvSpPr>
        <p:spPr>
          <a:xfrm>
            <a:off x="5517205" y="2072100"/>
            <a:ext cx="4427242" cy="3861448"/>
          </a:xfrm>
          <a:prstGeom prst="roundRect">
            <a:avLst>
              <a:gd name="adj" fmla="val 0"/>
            </a:avLst>
          </a:prstGeom>
          <a:solidFill>
            <a:srgbClr val="FEF4CE"/>
          </a:solidFill>
          <a:ln>
            <a:solidFill>
              <a:schemeClr val="bg1"/>
            </a:solidFill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o-KR" altLang="en-US" sz="1800" b="1" u="sng" dirty="0" smtClean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국민연금 </a:t>
            </a:r>
            <a:r>
              <a:rPr lang="ko-KR" altLang="en-US" sz="1800" b="1" u="sng" dirty="0" err="1" smtClean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조기수령</a:t>
            </a:r>
            <a:r>
              <a:rPr lang="ko-KR" altLang="en-US" sz="1800" b="1" u="sng" dirty="0" smtClean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이유</a:t>
            </a:r>
            <a:r>
              <a:rPr lang="en-US" altLang="ko-KR" sz="1800" b="1" dirty="0" smtClean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?</a:t>
            </a:r>
          </a:p>
          <a:p>
            <a:pPr algn="ctr"/>
            <a:endParaRPr lang="en-US" altLang="ko-KR" sz="1400" b="1" dirty="0" smtClean="0">
              <a:solidFill>
                <a:schemeClr val="tx1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b="1" dirty="0" smtClean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  ① 노후준비 안되어</a:t>
            </a:r>
            <a:r>
              <a:rPr lang="en-US" altLang="ko-KR" sz="1600" b="1" dirty="0" smtClean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600" b="1" dirty="0" smtClean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소득 공백기</a:t>
            </a:r>
            <a:r>
              <a:rPr lang="ko-KR" altLang="en-US" sz="1600" b="1" dirty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600" b="1" dirty="0" smtClean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발생</a:t>
            </a:r>
            <a:endParaRPr lang="en-US" altLang="ko-KR" sz="1600" b="1" dirty="0">
              <a:solidFill>
                <a:schemeClr val="tx1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b="1" dirty="0" smtClean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      </a:t>
            </a:r>
            <a:r>
              <a:rPr lang="ko-KR" altLang="en-US" sz="1600" b="1" i="1" dirty="0" smtClean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→ </a:t>
            </a:r>
            <a:r>
              <a:rPr lang="ko-KR" altLang="en-US" sz="1600" b="1" i="1" dirty="0" err="1" smtClean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조기수령시</a:t>
            </a:r>
            <a:r>
              <a:rPr lang="ko-KR" altLang="en-US" sz="1600" b="1" i="1" dirty="0" smtClean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600" b="1" i="1" dirty="0" smtClean="0">
                <a:solidFill>
                  <a:srgbClr val="FF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연간 </a:t>
            </a:r>
            <a:r>
              <a:rPr lang="en-US" altLang="ko-KR" sz="1600" b="1" i="1" dirty="0" smtClean="0">
                <a:solidFill>
                  <a:srgbClr val="FF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6% </a:t>
            </a:r>
            <a:r>
              <a:rPr lang="ko-KR" altLang="en-US" sz="1600" b="1" i="1" dirty="0" smtClean="0">
                <a:solidFill>
                  <a:srgbClr val="FF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정도 수령액 감소</a:t>
            </a:r>
            <a:endParaRPr lang="en-US" altLang="ko-KR" sz="1600" b="1" i="1" dirty="0" smtClean="0">
              <a:solidFill>
                <a:srgbClr val="FF0000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b="1" dirty="0" smtClean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  ② 생활비도 없는데 </a:t>
            </a:r>
            <a:r>
              <a:rPr lang="ko-KR" altLang="en-US" sz="1600" b="1" dirty="0" err="1" smtClean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건보료를</a:t>
            </a:r>
            <a:r>
              <a:rPr lang="ko-KR" altLang="en-US" sz="1600" b="1" dirty="0" smtClean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낼 수 없어서</a:t>
            </a:r>
            <a:endParaRPr lang="en-US" altLang="ko-KR" sz="1600" b="1" dirty="0" smtClean="0">
              <a:solidFill>
                <a:schemeClr val="tx1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b="1" dirty="0" smtClean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      </a:t>
            </a:r>
            <a:r>
              <a:rPr lang="ko-KR" altLang="en-US" sz="1600" b="1" i="1" dirty="0" smtClean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→ 조기수령으로 소득을 줄여 </a:t>
            </a:r>
            <a:r>
              <a:rPr lang="ko-KR" altLang="en-US" sz="1600" b="1" i="1" dirty="0" smtClean="0">
                <a:solidFill>
                  <a:srgbClr val="FF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피부양자 유지</a:t>
            </a:r>
            <a:endParaRPr lang="en-US" altLang="ko-KR" sz="1600" b="1" i="1" dirty="0" smtClean="0">
              <a:solidFill>
                <a:srgbClr val="FF0000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 algn="ctr">
              <a:lnSpc>
                <a:spcPct val="150000"/>
              </a:lnSpc>
            </a:pPr>
            <a:endParaRPr lang="en-US" altLang="ko-KR" sz="1600" b="1" dirty="0" smtClean="0">
              <a:solidFill>
                <a:schemeClr val="tx1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 algn="ctr">
              <a:lnSpc>
                <a:spcPct val="150000"/>
              </a:lnSpc>
            </a:pPr>
            <a:endParaRPr lang="en-US" altLang="ko-KR" sz="800" b="1" dirty="0" smtClean="0">
              <a:solidFill>
                <a:schemeClr val="tx1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600" b="1" dirty="0" smtClean="0"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소득을 줄이지 말고 미리 비과세 </a:t>
            </a:r>
            <a:r>
              <a:rPr lang="ko-KR" altLang="en-US" sz="1600" b="1" dirty="0" err="1" smtClean="0"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자산를</a:t>
            </a:r>
            <a:r>
              <a:rPr lang="ko-KR" altLang="en-US" sz="1600" b="1" dirty="0" smtClean="0"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준비</a:t>
            </a:r>
            <a:endParaRPr lang="en-US" altLang="ko-KR" sz="1600" b="1" dirty="0" smtClean="0">
              <a:solidFill>
                <a:srgbClr val="0000FF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1600" b="1" dirty="0" smtClean="0"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해지환급금과</a:t>
            </a:r>
            <a:r>
              <a:rPr lang="en-US" altLang="ko-KR" sz="1600" b="1" dirty="0" smtClean="0"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600" b="1" dirty="0" smtClean="0"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중도인출 기능 활용</a:t>
            </a:r>
            <a:endParaRPr lang="en-US" altLang="ko-KR" sz="1600" b="1" dirty="0" smtClean="0">
              <a:solidFill>
                <a:srgbClr val="0000FF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4" name="이등변 삼각형 13"/>
          <p:cNvSpPr/>
          <p:nvPr/>
        </p:nvSpPr>
        <p:spPr>
          <a:xfrm rot="10800000">
            <a:off x="6218658" y="4438379"/>
            <a:ext cx="3024336" cy="360040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87017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 defTabSz="778733"/>
            <a:fld id="{2747D207-944B-4363-884F-A02296F6E65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 defTabSz="778733"/>
              <a:t>36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40757" y="128492"/>
            <a:ext cx="7354035" cy="483960"/>
          </a:xfrm>
          <a:prstGeom prst="rect">
            <a:avLst/>
          </a:prstGeom>
          <a:noFill/>
        </p:spPr>
        <p:txBody>
          <a:bodyPr wrap="square" lIns="108000" tIns="108000" bIns="36000" rtlCol="0" anchor="ctr" anchorCtr="0">
            <a:spAutoFit/>
          </a:bodyPr>
          <a:lstStyle/>
          <a:p>
            <a:r>
              <a:rPr lang="ko-KR" altLang="en-US" sz="2200" b="1" dirty="0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노후 준비는 빠를수록 좋다</a:t>
            </a:r>
            <a:endParaRPr lang="en-US" altLang="ko-KR" sz="2200" b="1" dirty="0">
              <a:solidFill>
                <a:srgbClr val="141450"/>
              </a:solidFill>
              <a:latin typeface="교보서체 Bold" panose="020B0600000101010101" pitchFamily="50" charset="-127"/>
              <a:ea typeface="교보서체 Bold" panose="020B0600000101010101" pitchFamily="50" charset="-127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223367" y="1035150"/>
            <a:ext cx="9793088" cy="381642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" name="모서리가 둥근 직사각형 5"/>
          <p:cNvSpPr/>
          <p:nvPr/>
        </p:nvSpPr>
        <p:spPr>
          <a:xfrm>
            <a:off x="317185" y="5052096"/>
            <a:ext cx="9555254" cy="1809808"/>
          </a:xfrm>
          <a:prstGeom prst="roundRect">
            <a:avLst>
              <a:gd name="adj" fmla="val 1508"/>
            </a:avLst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○ 대부분 </a:t>
            </a:r>
            <a:r>
              <a:rPr lang="ko-KR" altLang="en-US" sz="1600" dirty="0" err="1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노후준비는</a:t>
            </a:r>
            <a:r>
              <a:rPr lang="ko-KR" altLang="en-US" sz="16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국민연금으로 준비하고 있으며 과거 대비 국민연금 의존도가 더 높아짐</a:t>
            </a:r>
            <a:endParaRPr lang="en-US" altLang="ko-KR" sz="16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○ 국민연금 의존도에 비해 전체 국민연금 수급자의 </a:t>
            </a:r>
            <a:r>
              <a:rPr lang="en-US" altLang="ko-KR" sz="16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84%</a:t>
            </a:r>
            <a:r>
              <a:rPr lang="ko-KR" altLang="en-US" sz="16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가 </a:t>
            </a:r>
            <a:r>
              <a:rPr lang="en-US" altLang="ko-KR" sz="16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80</a:t>
            </a:r>
            <a:r>
              <a:rPr lang="ko-KR" altLang="en-US" sz="1600" dirty="0" err="1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만이하로</a:t>
            </a:r>
            <a:r>
              <a:rPr lang="ko-KR" altLang="en-US" sz="16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연금을 </a:t>
            </a:r>
            <a:r>
              <a:rPr lang="ko-KR" altLang="en-US" sz="1600" dirty="0" err="1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수령중임</a:t>
            </a:r>
            <a:endParaRPr lang="en-US" altLang="ko-KR" sz="16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○ 노후 생활비는 부부 기준 최저가 </a:t>
            </a:r>
            <a:r>
              <a:rPr lang="en-US" altLang="ko-KR" sz="16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198</a:t>
            </a:r>
            <a:r>
              <a:rPr lang="ko-KR" altLang="en-US" sz="16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만원</a:t>
            </a:r>
            <a:r>
              <a:rPr lang="en-US" altLang="ko-KR" sz="16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6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개인 기준 </a:t>
            </a:r>
            <a:r>
              <a:rPr lang="en-US" altLang="ko-KR" sz="16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124</a:t>
            </a:r>
            <a:r>
              <a:rPr lang="ko-KR" altLang="en-US" sz="16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만원이므로 국민연금만으로는 많이 부족함</a:t>
            </a:r>
            <a:endParaRPr lang="en-US" altLang="ko-KR" sz="1600" dirty="0" smtClean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600" dirty="0" smtClean="0"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   </a:t>
            </a:r>
            <a:r>
              <a:rPr lang="ko-KR" altLang="en-US" sz="1600" dirty="0" smtClean="0"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→ </a:t>
            </a:r>
            <a:r>
              <a:rPr lang="ko-KR" altLang="en-US" sz="1600" dirty="0" err="1" smtClean="0"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노후준비는</a:t>
            </a:r>
            <a:r>
              <a:rPr lang="ko-KR" altLang="en-US" sz="1600" dirty="0" smtClean="0"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빠를수록 도움이 되며 높은 수익률과 비과세 자산으로 </a:t>
            </a:r>
            <a:r>
              <a:rPr lang="ko-KR" altLang="en-US" sz="1600" dirty="0" err="1" smtClean="0"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준비하는것이</a:t>
            </a:r>
            <a:r>
              <a:rPr lang="ko-KR" altLang="en-US" sz="1600" dirty="0" smtClean="0"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우선순위임</a:t>
            </a:r>
            <a:endParaRPr lang="en-US" altLang="ko-KR" sz="1600" dirty="0" smtClean="0">
              <a:solidFill>
                <a:srgbClr val="0000FF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pic>
        <p:nvPicPr>
          <p:cNvPr id="8" name="그림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99831" y="1209371"/>
            <a:ext cx="2652096" cy="351416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4" name="그림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4558" y="1209370"/>
            <a:ext cx="3923266" cy="3514162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10" name="직사각형 9"/>
          <p:cNvSpPr/>
          <p:nvPr/>
        </p:nvSpPr>
        <p:spPr>
          <a:xfrm>
            <a:off x="511399" y="1899245"/>
            <a:ext cx="1656184" cy="239937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1" name="그림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37604" y="1209370"/>
            <a:ext cx="2734835" cy="351416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429708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 defTabSz="778733"/>
            <a:fld id="{2747D207-944B-4363-884F-A02296F6E65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 defTabSz="778733"/>
              <a:t>37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40757" y="128492"/>
            <a:ext cx="7354035" cy="483960"/>
          </a:xfrm>
          <a:prstGeom prst="rect">
            <a:avLst/>
          </a:prstGeom>
          <a:noFill/>
        </p:spPr>
        <p:txBody>
          <a:bodyPr wrap="square" lIns="108000" tIns="108000" bIns="36000" rtlCol="0" anchor="ctr" anchorCtr="0">
            <a:spAutoFit/>
          </a:bodyPr>
          <a:lstStyle/>
          <a:p>
            <a:r>
              <a:rPr lang="ko-KR" altLang="en-US" sz="2200" b="1" dirty="0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노후 준비를 위한 최고의 선택 실</a:t>
            </a:r>
            <a:r>
              <a:rPr lang="ko-KR" altLang="en-US" sz="2200" b="1" dirty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속</a:t>
            </a:r>
            <a:r>
              <a:rPr lang="ko-KR" altLang="en-US" sz="2200" b="1" dirty="0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종신보험</a:t>
            </a:r>
            <a:r>
              <a:rPr lang="en-US" altLang="ko-KR" sz="2200" b="1" dirty="0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Plus</a:t>
            </a:r>
            <a:endParaRPr lang="en-US" altLang="ko-KR" sz="2200" b="1" dirty="0">
              <a:solidFill>
                <a:srgbClr val="141450"/>
              </a:solidFill>
              <a:latin typeface="교보서체 Bold" panose="020B0600000101010101" pitchFamily="50" charset="-127"/>
              <a:ea typeface="교보서체 Bold" panose="020B0600000101010101" pitchFamily="50" charset="-127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563EAC2B-5672-4376-B47D-440345F40CD6}"/>
              </a:ext>
            </a:extLst>
          </p:cNvPr>
          <p:cNvSpPr/>
          <p:nvPr/>
        </p:nvSpPr>
        <p:spPr>
          <a:xfrm>
            <a:off x="522465" y="1467197"/>
            <a:ext cx="124836" cy="4890512"/>
          </a:xfrm>
          <a:prstGeom prst="rect">
            <a:avLst/>
          </a:prstGeom>
          <a:solidFill>
            <a:srgbClr val="002A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61" dirty="0">
              <a:latin typeface="맑은 고딕" panose="020B0503020000020004" pitchFamily="50" charset="-127"/>
            </a:endParaRPr>
          </a:p>
        </p:txBody>
      </p:sp>
      <p:pic>
        <p:nvPicPr>
          <p:cNvPr id="5" name="그림 4">
            <a:extLst>
              <a:ext uri="{FF2B5EF4-FFF2-40B4-BE49-F238E27FC236}">
                <a16:creationId xmlns:a16="http://schemas.microsoft.com/office/drawing/2014/main" id="{67158CB4-3823-4543-A201-5677E9FDEDF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2265" y="1500591"/>
            <a:ext cx="1906638" cy="4847424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</p:pic>
      <p:sp>
        <p:nvSpPr>
          <p:cNvPr id="6" name="양쪽 모서리가 둥근 사각형 9">
            <a:extLst>
              <a:ext uri="{FF2B5EF4-FFF2-40B4-BE49-F238E27FC236}">
                <a16:creationId xmlns:a16="http://schemas.microsoft.com/office/drawing/2014/main" id="{4BBFCC0F-4A35-4441-B6EC-3AAB651EA03D}"/>
              </a:ext>
            </a:extLst>
          </p:cNvPr>
          <p:cNvSpPr/>
          <p:nvPr/>
        </p:nvSpPr>
        <p:spPr>
          <a:xfrm rot="16200000">
            <a:off x="1690259" y="1767734"/>
            <a:ext cx="796375" cy="8451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84423" tIns="42212" rIns="84423" bIns="42212" numCol="1" anchor="t" anchorCtr="0" compatLnSpc="1">
            <a:prstTxWarp prst="textNoShape">
              <a:avLst/>
            </a:prstTxWarp>
          </a:bodyPr>
          <a:lstStyle/>
          <a:p>
            <a:endParaRPr lang="ko-KR" altLang="en-US" sz="1661" dirty="0">
              <a:latin typeface="맑은 고딕" panose="020B0503020000020004" pitchFamily="50" charset="-127"/>
            </a:endParaRPr>
          </a:p>
        </p:txBody>
      </p:sp>
      <p:sp>
        <p:nvSpPr>
          <p:cNvPr id="7" name="양쪽 모서리가 둥근 사각형 14">
            <a:extLst>
              <a:ext uri="{FF2B5EF4-FFF2-40B4-BE49-F238E27FC236}">
                <a16:creationId xmlns:a16="http://schemas.microsoft.com/office/drawing/2014/main" id="{D01F8625-F9E0-4362-8428-EC566D0F1FE0}"/>
              </a:ext>
            </a:extLst>
          </p:cNvPr>
          <p:cNvSpPr/>
          <p:nvPr/>
        </p:nvSpPr>
        <p:spPr>
          <a:xfrm rot="5400000" flipH="1">
            <a:off x="5252423" y="-951384"/>
            <a:ext cx="796375" cy="6283420"/>
          </a:xfrm>
          <a:prstGeom prst="rect">
            <a:avLst/>
          </a:prstGeom>
          <a:solidFill>
            <a:srgbClr val="8FC36B"/>
          </a:solidFill>
          <a:ln>
            <a:noFill/>
          </a:ln>
        </p:spPr>
        <p:txBody>
          <a:bodyPr vert="horz" wrap="square" lIns="84423" tIns="42212" rIns="84423" bIns="42212" numCol="1" anchor="t" anchorCtr="0" compatLnSpc="1">
            <a:prstTxWarp prst="textNoShape">
              <a:avLst/>
            </a:prstTxWarp>
          </a:bodyPr>
          <a:lstStyle/>
          <a:p>
            <a:endParaRPr lang="ko-KR" altLang="en-US" sz="1661" dirty="0">
              <a:latin typeface="맑은 고딕" panose="020B0503020000020004" pitchFamily="50" charset="-127"/>
            </a:endParaRPr>
          </a:p>
        </p:txBody>
      </p:sp>
      <p:sp>
        <p:nvSpPr>
          <p:cNvPr id="8" name="Text Box 8">
            <a:extLst>
              <a:ext uri="{FF2B5EF4-FFF2-40B4-BE49-F238E27FC236}">
                <a16:creationId xmlns:a16="http://schemas.microsoft.com/office/drawing/2014/main" id="{2F8559CB-3C30-4A9F-B7C8-CB51A2A7D2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69785" y="1977498"/>
            <a:ext cx="637320" cy="4474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pPr algn="ctr">
              <a:defRPr/>
            </a:pPr>
            <a:r>
              <a:rPr lang="en-US" altLang="ko-KR" sz="2308" b="1" dirty="0">
                <a:solidFill>
                  <a:srgbClr val="8FC36B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0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1499C48-9115-4705-8712-C7EA9A7E8148}"/>
              </a:ext>
            </a:extLst>
          </p:cNvPr>
          <p:cNvSpPr txBox="1"/>
          <p:nvPr/>
        </p:nvSpPr>
        <p:spPr>
          <a:xfrm>
            <a:off x="2837968" y="1981022"/>
            <a:ext cx="5755594" cy="41902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spcBef>
                <a:spcPts val="553"/>
              </a:spcBef>
            </a:pPr>
            <a:r>
              <a:rPr lang="ko-KR" altLang="en-US" sz="2123" b="1" spc="-139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확정금리를 통해 저금리 대비 안전자산 확보</a:t>
            </a:r>
            <a:endParaRPr lang="ko-KR" altLang="en-US" sz="2123" b="1" spc="-139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" name="양쪽 모서리가 둥근 사각형 9">
            <a:extLst>
              <a:ext uri="{FF2B5EF4-FFF2-40B4-BE49-F238E27FC236}">
                <a16:creationId xmlns:a16="http://schemas.microsoft.com/office/drawing/2014/main" id="{BC25ACCF-946F-4E28-B872-5C97766323A1}"/>
              </a:ext>
            </a:extLst>
          </p:cNvPr>
          <p:cNvSpPr/>
          <p:nvPr/>
        </p:nvSpPr>
        <p:spPr>
          <a:xfrm rot="16200000">
            <a:off x="1690259" y="2819585"/>
            <a:ext cx="796375" cy="8451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84423" tIns="42212" rIns="84423" bIns="42212" numCol="1" anchor="t" anchorCtr="0" compatLnSpc="1">
            <a:prstTxWarp prst="textNoShape">
              <a:avLst/>
            </a:prstTxWarp>
          </a:bodyPr>
          <a:lstStyle/>
          <a:p>
            <a:endParaRPr lang="ko-KR" altLang="en-US" sz="1661" dirty="0">
              <a:latin typeface="맑은 고딕" panose="020B0503020000020004" pitchFamily="50" charset="-127"/>
            </a:endParaRPr>
          </a:p>
        </p:txBody>
      </p:sp>
      <p:sp>
        <p:nvSpPr>
          <p:cNvPr id="11" name="양쪽 모서리가 둥근 사각형 14">
            <a:extLst>
              <a:ext uri="{FF2B5EF4-FFF2-40B4-BE49-F238E27FC236}">
                <a16:creationId xmlns:a16="http://schemas.microsoft.com/office/drawing/2014/main" id="{622A9F01-FC22-4D37-AC1E-8E454BCEE853}"/>
              </a:ext>
            </a:extLst>
          </p:cNvPr>
          <p:cNvSpPr/>
          <p:nvPr/>
        </p:nvSpPr>
        <p:spPr>
          <a:xfrm rot="5400000" flipH="1">
            <a:off x="5254391" y="98497"/>
            <a:ext cx="792438" cy="6283421"/>
          </a:xfrm>
          <a:prstGeom prst="rect">
            <a:avLst/>
          </a:prstGeom>
          <a:solidFill>
            <a:srgbClr val="8FC36B"/>
          </a:solidFill>
          <a:ln>
            <a:noFill/>
          </a:ln>
        </p:spPr>
        <p:txBody>
          <a:bodyPr vert="horz" wrap="square" lIns="84423" tIns="42212" rIns="84423" bIns="42212" numCol="1" anchor="t" anchorCtr="0" compatLnSpc="1">
            <a:prstTxWarp prst="textNoShape">
              <a:avLst/>
            </a:prstTxWarp>
          </a:bodyPr>
          <a:lstStyle/>
          <a:p>
            <a:endParaRPr lang="ko-KR" altLang="en-US" sz="1661" dirty="0">
              <a:latin typeface="맑은 고딕" panose="020B0503020000020004" pitchFamily="50" charset="-127"/>
            </a:endParaRPr>
          </a:p>
        </p:txBody>
      </p:sp>
      <p:sp>
        <p:nvSpPr>
          <p:cNvPr id="12" name="Text Box 8">
            <a:extLst>
              <a:ext uri="{FF2B5EF4-FFF2-40B4-BE49-F238E27FC236}">
                <a16:creationId xmlns:a16="http://schemas.microsoft.com/office/drawing/2014/main" id="{B75CC906-CDC2-4BAC-A24E-C595114ED2B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69785" y="3029349"/>
            <a:ext cx="637320" cy="4474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>
            <a:defPPr>
              <a:defRPr lang="ko-KR"/>
            </a:defPPr>
            <a:lvl1pPr algn="ctr">
              <a:defRPr sz="2268" b="1">
                <a:solidFill>
                  <a:srgbClr val="8FC36B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r>
              <a:rPr lang="en-US" altLang="ko-KR" sz="2308" dirty="0"/>
              <a:t>0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0C3D2CA-47E4-403F-899F-EF86EE6C9F2C}"/>
              </a:ext>
            </a:extLst>
          </p:cNvPr>
          <p:cNvSpPr txBox="1"/>
          <p:nvPr/>
        </p:nvSpPr>
        <p:spPr>
          <a:xfrm>
            <a:off x="2837965" y="3032873"/>
            <a:ext cx="6314394" cy="44749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spcBef>
                <a:spcPts val="553"/>
              </a:spcBef>
            </a:pPr>
            <a:r>
              <a:rPr lang="ko-KR" altLang="en-US" sz="2308" b="1" spc="-139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이자소득세 비과세 </a:t>
            </a:r>
            <a:r>
              <a:rPr lang="en-US" altLang="ko-KR" sz="2308" b="1" spc="-139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/ (</a:t>
            </a:r>
            <a:r>
              <a:rPr lang="ko-KR" altLang="en-US" sz="2308" b="1" spc="-139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금융</a:t>
            </a:r>
            <a:r>
              <a:rPr lang="en-US" altLang="ko-KR" sz="2308" b="1" spc="-139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sz="2308" b="1" spc="-139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종합소득세 </a:t>
            </a:r>
            <a:r>
              <a:rPr lang="ko-KR" altLang="en-US" sz="2308" b="1" spc="-139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배제</a:t>
            </a:r>
            <a:endParaRPr lang="ko-KR" altLang="en-US" sz="2123" b="1" spc="-139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4" name="양쪽 모서리가 둥근 사각형 9">
            <a:extLst>
              <a:ext uri="{FF2B5EF4-FFF2-40B4-BE49-F238E27FC236}">
                <a16:creationId xmlns:a16="http://schemas.microsoft.com/office/drawing/2014/main" id="{821ED438-60FC-4D48-9EE2-739D2C0C98E4}"/>
              </a:ext>
            </a:extLst>
          </p:cNvPr>
          <p:cNvSpPr/>
          <p:nvPr/>
        </p:nvSpPr>
        <p:spPr>
          <a:xfrm rot="16200000">
            <a:off x="1690259" y="3895753"/>
            <a:ext cx="796375" cy="8451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84423" tIns="42212" rIns="84423" bIns="42212" numCol="1" anchor="t" anchorCtr="0" compatLnSpc="1">
            <a:prstTxWarp prst="textNoShape">
              <a:avLst/>
            </a:prstTxWarp>
          </a:bodyPr>
          <a:lstStyle/>
          <a:p>
            <a:endParaRPr lang="ko-KR" altLang="en-US" sz="1661" dirty="0">
              <a:latin typeface="맑은 고딕" panose="020B0503020000020004" pitchFamily="50" charset="-127"/>
            </a:endParaRPr>
          </a:p>
        </p:txBody>
      </p:sp>
      <p:sp>
        <p:nvSpPr>
          <p:cNvPr id="15" name="양쪽 모서리가 둥근 사각형 14">
            <a:extLst>
              <a:ext uri="{FF2B5EF4-FFF2-40B4-BE49-F238E27FC236}">
                <a16:creationId xmlns:a16="http://schemas.microsoft.com/office/drawing/2014/main" id="{3F7549E2-CC12-45EA-A647-D8E5F6574763}"/>
              </a:ext>
            </a:extLst>
          </p:cNvPr>
          <p:cNvSpPr/>
          <p:nvPr/>
        </p:nvSpPr>
        <p:spPr>
          <a:xfrm rot="5400000" flipH="1">
            <a:off x="5191074" y="1237987"/>
            <a:ext cx="919074" cy="6283419"/>
          </a:xfrm>
          <a:prstGeom prst="rect">
            <a:avLst/>
          </a:prstGeom>
          <a:solidFill>
            <a:srgbClr val="0569B2"/>
          </a:solidFill>
          <a:ln>
            <a:noFill/>
          </a:ln>
        </p:spPr>
        <p:txBody>
          <a:bodyPr vert="horz" wrap="square" lIns="84423" tIns="42212" rIns="84423" bIns="42212" numCol="1" anchor="t" anchorCtr="0" compatLnSpc="1">
            <a:prstTxWarp prst="textNoShape">
              <a:avLst/>
            </a:prstTxWarp>
          </a:bodyPr>
          <a:lstStyle/>
          <a:p>
            <a:endParaRPr lang="ko-KR" altLang="en-US" sz="1661" dirty="0">
              <a:latin typeface="맑은 고딕" panose="020B0503020000020004" pitchFamily="50" charset="-127"/>
            </a:endParaRPr>
          </a:p>
        </p:txBody>
      </p:sp>
      <p:sp>
        <p:nvSpPr>
          <p:cNvPr id="16" name="Text Box 8">
            <a:extLst>
              <a:ext uri="{FF2B5EF4-FFF2-40B4-BE49-F238E27FC236}">
                <a16:creationId xmlns:a16="http://schemas.microsoft.com/office/drawing/2014/main" id="{6764828A-DE9D-47B7-B7B6-EEA1BD70C0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69785" y="4105518"/>
            <a:ext cx="637320" cy="4474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pPr algn="ctr">
              <a:defRPr/>
            </a:pPr>
            <a:r>
              <a:rPr lang="en-US" altLang="ko-KR" sz="2308" b="1" dirty="0">
                <a:solidFill>
                  <a:srgbClr val="0569B2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03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71E1947-2F83-4DAE-88FB-BFDCC8A81BC4}"/>
              </a:ext>
            </a:extLst>
          </p:cNvPr>
          <p:cNvSpPr txBox="1"/>
          <p:nvPr/>
        </p:nvSpPr>
        <p:spPr>
          <a:xfrm>
            <a:off x="2837966" y="4139453"/>
            <a:ext cx="5517810" cy="44749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spcBef>
                <a:spcPts val="553"/>
              </a:spcBef>
            </a:pPr>
            <a:r>
              <a:rPr lang="ko-KR" altLang="en-US" sz="2308" b="1" spc="-139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지역가입자 건강보험료 </a:t>
            </a:r>
            <a:r>
              <a:rPr lang="ko-KR" altLang="en-US" sz="2308" b="1" spc="-139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절약</a:t>
            </a:r>
            <a:endParaRPr lang="en-US" altLang="ko-KR" sz="2123" b="1" spc="-139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8" name="양쪽 모서리가 둥근 사각형 9">
            <a:extLst>
              <a:ext uri="{FF2B5EF4-FFF2-40B4-BE49-F238E27FC236}">
                <a16:creationId xmlns:a16="http://schemas.microsoft.com/office/drawing/2014/main" id="{6B00C7D5-8E77-4A06-AB85-46FF2CD8C5DD}"/>
              </a:ext>
            </a:extLst>
          </p:cNvPr>
          <p:cNvSpPr/>
          <p:nvPr/>
        </p:nvSpPr>
        <p:spPr>
          <a:xfrm rot="16200000">
            <a:off x="1690256" y="5075811"/>
            <a:ext cx="796376" cy="8451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84423" tIns="42212" rIns="84423" bIns="42212" numCol="1" anchor="t" anchorCtr="0" compatLnSpc="1">
            <a:prstTxWarp prst="textNoShape">
              <a:avLst/>
            </a:prstTxWarp>
          </a:bodyPr>
          <a:lstStyle/>
          <a:p>
            <a:endParaRPr lang="ko-KR" altLang="en-US" sz="1661" dirty="0">
              <a:latin typeface="맑은 고딕" panose="020B0503020000020004" pitchFamily="50" charset="-127"/>
            </a:endParaRPr>
          </a:p>
        </p:txBody>
      </p:sp>
      <p:sp>
        <p:nvSpPr>
          <p:cNvPr id="19" name="양쪽 모서리가 둥근 사각형 14">
            <a:extLst>
              <a:ext uri="{FF2B5EF4-FFF2-40B4-BE49-F238E27FC236}">
                <a16:creationId xmlns:a16="http://schemas.microsoft.com/office/drawing/2014/main" id="{C416B826-506E-4B59-9707-F1B1AB793CB2}"/>
              </a:ext>
            </a:extLst>
          </p:cNvPr>
          <p:cNvSpPr/>
          <p:nvPr/>
        </p:nvSpPr>
        <p:spPr>
          <a:xfrm rot="5400000" flipH="1">
            <a:off x="5235719" y="2373386"/>
            <a:ext cx="829781" cy="6283421"/>
          </a:xfrm>
          <a:prstGeom prst="rect">
            <a:avLst/>
          </a:prstGeom>
          <a:solidFill>
            <a:srgbClr val="0562A7"/>
          </a:solidFill>
          <a:ln>
            <a:noFill/>
          </a:ln>
        </p:spPr>
        <p:txBody>
          <a:bodyPr vert="horz" wrap="square" lIns="84423" tIns="42212" rIns="84423" bIns="42212" numCol="1" anchor="t" anchorCtr="0" compatLnSpc="1">
            <a:prstTxWarp prst="textNoShape">
              <a:avLst/>
            </a:prstTxWarp>
          </a:bodyPr>
          <a:lstStyle/>
          <a:p>
            <a:endParaRPr lang="ko-KR" altLang="en-US" sz="1661" dirty="0">
              <a:latin typeface="맑은 고딕" panose="020B0503020000020004" pitchFamily="50" charset="-127"/>
            </a:endParaRPr>
          </a:p>
        </p:txBody>
      </p:sp>
      <p:sp>
        <p:nvSpPr>
          <p:cNvPr id="20" name="Text Box 8">
            <a:extLst>
              <a:ext uri="{FF2B5EF4-FFF2-40B4-BE49-F238E27FC236}">
                <a16:creationId xmlns:a16="http://schemas.microsoft.com/office/drawing/2014/main" id="{8D2144A5-9F1E-4514-AC83-775655ACA43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69785" y="5285568"/>
            <a:ext cx="637320" cy="4474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>
            <a:defPPr>
              <a:defRPr lang="ko-KR"/>
            </a:defPPr>
            <a:lvl1pPr algn="ctr">
              <a:defRPr sz="2268" b="1">
                <a:solidFill>
                  <a:srgbClr val="0569B2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r>
              <a:rPr lang="en-US" altLang="ko-KR" sz="2308" dirty="0"/>
              <a:t>04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07AD1D4-7DE1-4091-822A-2E7BFCC5913B}"/>
              </a:ext>
            </a:extLst>
          </p:cNvPr>
          <p:cNvSpPr txBox="1"/>
          <p:nvPr/>
        </p:nvSpPr>
        <p:spPr>
          <a:xfrm>
            <a:off x="2837968" y="5289092"/>
            <a:ext cx="4861321" cy="44749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spcBef>
                <a:spcPts val="553"/>
              </a:spcBef>
            </a:pPr>
            <a:r>
              <a:rPr lang="ko-KR" altLang="en-US" sz="2308" b="1" spc="-139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맑은 고딕" panose="020B0503020000020004" pitchFamily="50" charset="-127"/>
                <a:ea typeface="맑은 고딕" panose="020B0503020000020004" pitchFamily="50" charset="-127"/>
              </a:rPr>
              <a:t>국민연금 고갈 대비</a:t>
            </a:r>
            <a:endParaRPr lang="en-US" altLang="ko-KR" sz="2308" b="1" spc="-139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87038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 defTabSz="778733"/>
            <a:fld id="{2747D207-944B-4363-884F-A02296F6E65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 defTabSz="778733"/>
              <a:t>38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40757" y="128492"/>
            <a:ext cx="7354035" cy="483960"/>
          </a:xfrm>
          <a:prstGeom prst="rect">
            <a:avLst/>
          </a:prstGeom>
          <a:noFill/>
        </p:spPr>
        <p:txBody>
          <a:bodyPr wrap="square" lIns="108000" tIns="108000" bIns="36000" rtlCol="0" anchor="ctr" anchorCtr="0">
            <a:spAutoFit/>
          </a:bodyPr>
          <a:lstStyle/>
          <a:p>
            <a:r>
              <a:rPr lang="ko-KR" altLang="en-US" sz="2200" b="1" dirty="0" err="1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교보</a:t>
            </a:r>
            <a:r>
              <a:rPr lang="ko-KR" altLang="en-US" sz="2200" b="1" dirty="0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 실속</a:t>
            </a:r>
            <a:r>
              <a:rPr lang="en-US" altLang="ko-KR" sz="2200" b="1" dirty="0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(</a:t>
            </a:r>
            <a:r>
              <a:rPr lang="ko-KR" altLang="en-US" sz="2200" b="1" dirty="0" err="1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간편가입</a:t>
            </a:r>
            <a:r>
              <a:rPr lang="en-US" altLang="ko-KR" sz="2200" b="1" dirty="0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)</a:t>
            </a:r>
            <a:r>
              <a:rPr lang="ko-KR" altLang="en-US" sz="2200" b="1" dirty="0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종신보험</a:t>
            </a:r>
            <a:r>
              <a:rPr lang="en-US" altLang="ko-KR" sz="2200" b="1" dirty="0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Plus</a:t>
            </a:r>
            <a:endParaRPr lang="en-US" altLang="ko-KR" sz="2200" b="1" dirty="0">
              <a:solidFill>
                <a:srgbClr val="141450"/>
              </a:solidFill>
              <a:latin typeface="교보서체 Bold" panose="020B0600000101010101" pitchFamily="50" charset="-127"/>
              <a:ea typeface="교보서체 Bold" panose="020B0600000101010101" pitchFamily="50" charset="-127"/>
            </a:endParaRPr>
          </a:p>
        </p:txBody>
      </p:sp>
      <p:graphicFrame>
        <p:nvGraphicFramePr>
          <p:cNvPr id="5" name="다이어그램 4"/>
          <p:cNvGraphicFramePr/>
          <p:nvPr>
            <p:extLst/>
          </p:nvPr>
        </p:nvGraphicFramePr>
        <p:xfrm>
          <a:off x="3823767" y="969034"/>
          <a:ext cx="6336704" cy="597077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그림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5318" y="969034"/>
            <a:ext cx="3330418" cy="302099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그림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5318" y="4067926"/>
            <a:ext cx="3330418" cy="28718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15242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 defTabSz="778733"/>
            <a:fld id="{2747D207-944B-4363-884F-A02296F6E65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 defTabSz="778733"/>
              <a:t>39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40757" y="128492"/>
            <a:ext cx="7354035" cy="483960"/>
          </a:xfrm>
          <a:prstGeom prst="rect">
            <a:avLst/>
          </a:prstGeom>
          <a:noFill/>
        </p:spPr>
        <p:txBody>
          <a:bodyPr wrap="square" lIns="108000" tIns="108000" bIns="36000" rtlCol="0" anchor="ctr" anchorCtr="0">
            <a:spAutoFit/>
          </a:bodyPr>
          <a:lstStyle/>
          <a:p>
            <a:r>
              <a:rPr lang="ko-KR" altLang="en-US" sz="2200" b="1" dirty="0" err="1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교보</a:t>
            </a:r>
            <a:r>
              <a:rPr lang="ko-KR" altLang="en-US" sz="2200" b="1" dirty="0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 실속종신보험</a:t>
            </a:r>
            <a:r>
              <a:rPr lang="en-US" altLang="ko-KR" sz="2200" b="1" dirty="0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Plus_7</a:t>
            </a:r>
            <a:r>
              <a:rPr lang="ko-KR" altLang="en-US" sz="2200" b="1" dirty="0" err="1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년납</a:t>
            </a:r>
            <a:r>
              <a:rPr lang="ko-KR" altLang="en-US" sz="2200" b="1" dirty="0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 연령별 </a:t>
            </a:r>
            <a:r>
              <a:rPr lang="ko-KR" altLang="en-US" sz="2200" b="1" dirty="0" err="1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보험료표</a:t>
            </a:r>
            <a:endParaRPr lang="en-US" altLang="ko-KR" sz="2200" b="1" dirty="0">
              <a:solidFill>
                <a:srgbClr val="141450"/>
              </a:solidFill>
              <a:latin typeface="교보서체 Bold" panose="020B0600000101010101" pitchFamily="50" charset="-127"/>
              <a:ea typeface="교보서체 Bold" panose="020B0600000101010101" pitchFamily="50" charset="-127"/>
            </a:endParaRPr>
          </a:p>
        </p:txBody>
      </p:sp>
      <p:graphicFrame>
        <p:nvGraphicFramePr>
          <p:cNvPr id="4" name="표 3"/>
          <p:cNvGraphicFramePr>
            <a:graphicFrameLocks noGrp="1"/>
          </p:cNvGraphicFramePr>
          <p:nvPr>
            <p:extLst/>
          </p:nvPr>
        </p:nvGraphicFramePr>
        <p:xfrm>
          <a:off x="367383" y="891132"/>
          <a:ext cx="9145018" cy="6042789"/>
        </p:xfrm>
        <a:graphic>
          <a:graphicData uri="http://schemas.openxmlformats.org/drawingml/2006/table">
            <a:tbl>
              <a:tblPr/>
              <a:tblGrid>
                <a:gridCol w="738792">
                  <a:extLst>
                    <a:ext uri="{9D8B030D-6E8A-4147-A177-3AD203B41FA5}">
                      <a16:colId xmlns:a16="http://schemas.microsoft.com/office/drawing/2014/main" val="1850040366"/>
                    </a:ext>
                  </a:extLst>
                </a:gridCol>
                <a:gridCol w="1354876">
                  <a:extLst>
                    <a:ext uri="{9D8B030D-6E8A-4147-A177-3AD203B41FA5}">
                      <a16:colId xmlns:a16="http://schemas.microsoft.com/office/drawing/2014/main" val="3874960091"/>
                    </a:ext>
                  </a:extLst>
                </a:gridCol>
                <a:gridCol w="1175225">
                  <a:extLst>
                    <a:ext uri="{9D8B030D-6E8A-4147-A177-3AD203B41FA5}">
                      <a16:colId xmlns:a16="http://schemas.microsoft.com/office/drawing/2014/main" val="4002630067"/>
                    </a:ext>
                  </a:extLst>
                </a:gridCol>
                <a:gridCol w="1175225">
                  <a:extLst>
                    <a:ext uri="{9D8B030D-6E8A-4147-A177-3AD203B41FA5}">
                      <a16:colId xmlns:a16="http://schemas.microsoft.com/office/drawing/2014/main" val="3297154431"/>
                    </a:ext>
                  </a:extLst>
                </a:gridCol>
                <a:gridCol w="1175225">
                  <a:extLst>
                    <a:ext uri="{9D8B030D-6E8A-4147-A177-3AD203B41FA5}">
                      <a16:colId xmlns:a16="http://schemas.microsoft.com/office/drawing/2014/main" val="339685592"/>
                    </a:ext>
                  </a:extLst>
                </a:gridCol>
                <a:gridCol w="1175225">
                  <a:extLst>
                    <a:ext uri="{9D8B030D-6E8A-4147-A177-3AD203B41FA5}">
                      <a16:colId xmlns:a16="http://schemas.microsoft.com/office/drawing/2014/main" val="3504232809"/>
                    </a:ext>
                  </a:extLst>
                </a:gridCol>
                <a:gridCol w="1175225">
                  <a:extLst>
                    <a:ext uri="{9D8B030D-6E8A-4147-A177-3AD203B41FA5}">
                      <a16:colId xmlns:a16="http://schemas.microsoft.com/office/drawing/2014/main" val="640818653"/>
                    </a:ext>
                  </a:extLst>
                </a:gridCol>
                <a:gridCol w="1175225">
                  <a:extLst>
                    <a:ext uri="{9D8B030D-6E8A-4147-A177-3AD203B41FA5}">
                      <a16:colId xmlns:a16="http://schemas.microsoft.com/office/drawing/2014/main" val="1132246359"/>
                    </a:ext>
                  </a:extLst>
                </a:gridCol>
              </a:tblGrid>
              <a:tr h="223807"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구분</a:t>
                      </a:r>
                    </a:p>
                  </a:txBody>
                  <a:tcPr marL="5385" marR="5385" marT="538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가입금액</a:t>
                      </a:r>
                      <a:br>
                        <a:rPr lang="ko-KR" alt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</a:br>
                      <a:r>
                        <a:rPr lang="en-US" altLang="ko-K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2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주계약</a:t>
                      </a:r>
                      <a:r>
                        <a:rPr lang="en-US" altLang="ko-K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+</a:t>
                      </a:r>
                      <a:r>
                        <a:rPr lang="ko-KR" alt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특약</a:t>
                      </a:r>
                      <a:r>
                        <a:rPr lang="en-US" altLang="ko-K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남자</a:t>
                      </a:r>
                    </a:p>
                  </a:txBody>
                  <a:tcPr marL="5385" marR="5385" marT="538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여자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96096202"/>
                  </a:ext>
                </a:extLst>
              </a:tr>
              <a:tr h="2238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보험료</a:t>
                      </a:r>
                      <a:r>
                        <a:rPr lang="en-US" altLang="ko-K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원</a:t>
                      </a:r>
                      <a:r>
                        <a:rPr lang="en-US" altLang="ko-K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</a:p>
                  </a:txBody>
                  <a:tcPr marL="5385" marR="5385" marT="538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환급률</a:t>
                      </a:r>
                      <a:endParaRPr lang="ko-KR" alt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보험료</a:t>
                      </a:r>
                      <a:r>
                        <a:rPr lang="en-US" altLang="ko-K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원</a:t>
                      </a:r>
                      <a:r>
                        <a:rPr lang="en-US" altLang="ko-K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환급률</a:t>
                      </a:r>
                      <a:endParaRPr lang="ko-KR" alt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3113675"/>
                  </a:ext>
                </a:extLst>
              </a:tr>
              <a:tr h="2238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</a:t>
                      </a:r>
                      <a:r>
                        <a:rPr lang="ko-KR" altLang="en-US" sz="1200" b="1" i="0" u="none" strike="noStrike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완납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</a:t>
                      </a:r>
                      <a:r>
                        <a:rPr lang="ko-KR" altLang="en-US" sz="12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시점</a:t>
                      </a:r>
                      <a:endParaRPr lang="ko-KR" alt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</a:t>
                      </a:r>
                      <a:r>
                        <a:rPr lang="ko-KR" altLang="en-US" sz="12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완납</a:t>
                      </a:r>
                      <a:endParaRPr lang="ko-KR" alt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</a:t>
                      </a:r>
                      <a:r>
                        <a:rPr lang="ko-KR" altLang="en-US" sz="12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시점</a:t>
                      </a:r>
                      <a:endParaRPr lang="ko-KR" alt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3127845"/>
                  </a:ext>
                </a:extLst>
              </a:tr>
              <a:tr h="223807"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</a:t>
                      </a:r>
                    </a:p>
                  </a:txBody>
                  <a:tcPr marL="5385" marR="5385" marT="538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각</a:t>
                      </a: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1.5</a:t>
                      </a: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만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35,750</a:t>
                      </a:r>
                    </a:p>
                  </a:txBody>
                  <a:tcPr marL="5385" marR="5385" marT="538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9.2%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20.6%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24,050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9.1%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20.4%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9529929"/>
                  </a:ext>
                </a:extLst>
              </a:tr>
              <a:tr h="2238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각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</a:t>
                      </a: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만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71,500</a:t>
                      </a:r>
                    </a:p>
                  </a:txBody>
                  <a:tcPr marL="5385" marR="5385" marT="538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48,100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78525727"/>
                  </a:ext>
                </a:extLst>
              </a:tr>
              <a:tr h="2238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각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만</a:t>
                      </a:r>
                    </a:p>
                  </a:txBody>
                  <a:tcPr marL="108000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52,500</a:t>
                      </a:r>
                    </a:p>
                  </a:txBody>
                  <a:tcPr marL="5385" marR="5385" marT="538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13,500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1685928"/>
                  </a:ext>
                </a:extLst>
              </a:tr>
              <a:tr h="2238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각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만</a:t>
                      </a:r>
                    </a:p>
                  </a:txBody>
                  <a:tcPr marL="108000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33,500</a:t>
                      </a:r>
                    </a:p>
                  </a:txBody>
                  <a:tcPr marL="5385" marR="5385" marT="538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78,900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441802"/>
                  </a:ext>
                </a:extLst>
              </a:tr>
              <a:tr h="223807"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0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</a:t>
                      </a:r>
                    </a:p>
                  </a:txBody>
                  <a:tcPr marL="5385" marR="5385" marT="538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각</a:t>
                      </a: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1.5</a:t>
                      </a: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만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61,400</a:t>
                      </a:r>
                    </a:p>
                  </a:txBody>
                  <a:tcPr marL="5385" marR="5385" marT="538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9.5%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21.0%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47,450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9.5%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21.0%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7053492"/>
                  </a:ext>
                </a:extLst>
              </a:tr>
              <a:tr h="2238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각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</a:t>
                      </a: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만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22,800</a:t>
                      </a:r>
                    </a:p>
                  </a:txBody>
                  <a:tcPr marL="5385" marR="5385" marT="538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94,900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2747497"/>
                  </a:ext>
                </a:extLst>
              </a:tr>
              <a:tr h="2238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각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만</a:t>
                      </a:r>
                    </a:p>
                  </a:txBody>
                  <a:tcPr marL="108000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28,000</a:t>
                      </a:r>
                    </a:p>
                  </a:txBody>
                  <a:tcPr marL="5385" marR="5385" marT="538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91,500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42803319"/>
                  </a:ext>
                </a:extLst>
              </a:tr>
              <a:tr h="2238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각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만</a:t>
                      </a:r>
                    </a:p>
                  </a:txBody>
                  <a:tcPr marL="108000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53,200</a:t>
                      </a:r>
                    </a:p>
                  </a:txBody>
                  <a:tcPr marL="5385" marR="5385" marT="538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88,100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03852535"/>
                  </a:ext>
                </a:extLst>
              </a:tr>
              <a:tr h="223807"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0</a:t>
                      </a:r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</a:t>
                      </a:r>
                    </a:p>
                  </a:txBody>
                  <a:tcPr marL="5385" marR="5385" marT="538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각</a:t>
                      </a: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1.5</a:t>
                      </a: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만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92,600</a:t>
                      </a:r>
                    </a:p>
                  </a:txBody>
                  <a:tcPr marL="5385" marR="5385" marT="538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9.6%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21.0%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75,800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9.8%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21.4%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7528628"/>
                  </a:ext>
                </a:extLst>
              </a:tr>
              <a:tr h="2238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각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</a:t>
                      </a: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만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85,200</a:t>
                      </a:r>
                    </a:p>
                  </a:txBody>
                  <a:tcPr marL="5385" marR="5385" marT="538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51,600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0333095"/>
                  </a:ext>
                </a:extLst>
              </a:tr>
              <a:tr h="2238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각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만</a:t>
                      </a:r>
                    </a:p>
                  </a:txBody>
                  <a:tcPr marL="108000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42,000</a:t>
                      </a:r>
                    </a:p>
                  </a:txBody>
                  <a:tcPr marL="5385" marR="5385" marT="538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86,000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1602752"/>
                  </a:ext>
                </a:extLst>
              </a:tr>
              <a:tr h="2238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각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만</a:t>
                      </a:r>
                    </a:p>
                  </a:txBody>
                  <a:tcPr marL="108000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98,800</a:t>
                      </a:r>
                    </a:p>
                  </a:txBody>
                  <a:tcPr marL="5385" marR="5385" marT="538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20,400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93641978"/>
                  </a:ext>
                </a:extLst>
              </a:tr>
              <a:tr h="223807"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0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</a:t>
                      </a:r>
                    </a:p>
                  </a:txBody>
                  <a:tcPr marL="5385" marR="5385" marT="538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각</a:t>
                      </a: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1.5</a:t>
                      </a: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만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30,100</a:t>
                      </a:r>
                    </a:p>
                  </a:txBody>
                  <a:tcPr marL="5385" marR="5385" marT="538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9.2%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20.4%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10,450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9.9%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21.6%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6421534"/>
                  </a:ext>
                </a:extLst>
              </a:tr>
              <a:tr h="2238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각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</a:t>
                      </a: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만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60,200</a:t>
                      </a:r>
                    </a:p>
                  </a:txBody>
                  <a:tcPr marL="5385" marR="5385" marT="538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20,900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4145524"/>
                  </a:ext>
                </a:extLst>
              </a:tr>
              <a:tr h="2238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각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만</a:t>
                      </a:r>
                    </a:p>
                  </a:txBody>
                  <a:tcPr marL="108000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67,000</a:t>
                      </a:r>
                    </a:p>
                  </a:txBody>
                  <a:tcPr marL="5385" marR="5385" marT="538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01,500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23150317"/>
                  </a:ext>
                </a:extLst>
              </a:tr>
              <a:tr h="2238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각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만</a:t>
                      </a:r>
                    </a:p>
                  </a:txBody>
                  <a:tcPr marL="108000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073,800</a:t>
                      </a:r>
                    </a:p>
                  </a:txBody>
                  <a:tcPr marL="5385" marR="5385" marT="538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82,100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1480725"/>
                  </a:ext>
                </a:extLst>
              </a:tr>
              <a:tr h="223807"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0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</a:t>
                      </a:r>
                    </a:p>
                  </a:txBody>
                  <a:tcPr marL="5385" marR="5385" marT="538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각</a:t>
                      </a: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1.5</a:t>
                      </a: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만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74,950</a:t>
                      </a:r>
                    </a:p>
                  </a:txBody>
                  <a:tcPr marL="5385" marR="5385" marT="538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8.0%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18.7%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52,900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9.6%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21.2%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2665814"/>
                  </a:ext>
                </a:extLst>
              </a:tr>
              <a:tr h="2238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각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</a:t>
                      </a: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만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49,900</a:t>
                      </a:r>
                    </a:p>
                  </a:txBody>
                  <a:tcPr marL="5385" marR="5385" marT="538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05,800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44470203"/>
                  </a:ext>
                </a:extLst>
              </a:tr>
              <a:tr h="2238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각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만</a:t>
                      </a:r>
                    </a:p>
                  </a:txBody>
                  <a:tcPr marL="108000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16,500</a:t>
                      </a:r>
                    </a:p>
                  </a:txBody>
                  <a:tcPr marL="5385" marR="5385" marT="538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43,000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9979863"/>
                  </a:ext>
                </a:extLst>
              </a:tr>
              <a:tr h="2238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각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만</a:t>
                      </a:r>
                    </a:p>
                  </a:txBody>
                  <a:tcPr marL="108000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283,100</a:t>
                      </a:r>
                    </a:p>
                  </a:txBody>
                  <a:tcPr marL="5385" marR="5385" marT="538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180,200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96262581"/>
                  </a:ext>
                </a:extLst>
              </a:tr>
              <a:tr h="223807"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0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</a:t>
                      </a:r>
                    </a:p>
                  </a:txBody>
                  <a:tcPr marL="5385" marR="5385" marT="538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각</a:t>
                      </a: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1.5</a:t>
                      </a: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만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31,350</a:t>
                      </a:r>
                    </a:p>
                  </a:txBody>
                  <a:tcPr marL="5385" marR="5385" marT="538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4.1%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13.9%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06,750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7.6%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18.4%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8978421"/>
                  </a:ext>
                </a:extLst>
              </a:tr>
              <a:tr h="2238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각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</a:t>
                      </a: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만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62,700</a:t>
                      </a:r>
                    </a:p>
                  </a:txBody>
                  <a:tcPr marL="5385" marR="5385" marT="538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13,500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2382284"/>
                  </a:ext>
                </a:extLst>
              </a:tr>
              <a:tr h="2238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각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만</a:t>
                      </a:r>
                    </a:p>
                  </a:txBody>
                  <a:tcPr marL="108000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104,500</a:t>
                      </a:r>
                    </a:p>
                  </a:txBody>
                  <a:tcPr marL="5385" marR="5385" marT="538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022,500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5477517"/>
                  </a:ext>
                </a:extLst>
              </a:tr>
              <a:tr h="22380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각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만</a:t>
                      </a:r>
                    </a:p>
                  </a:txBody>
                  <a:tcPr marL="108000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546,300</a:t>
                      </a:r>
                    </a:p>
                  </a:txBody>
                  <a:tcPr marL="5385" marR="5385" marT="538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431,500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96171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80482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Box 2"/>
          <p:cNvSpPr txBox="1">
            <a:spLocks noChangeArrowheads="1"/>
          </p:cNvSpPr>
          <p:nvPr/>
        </p:nvSpPr>
        <p:spPr bwMode="auto">
          <a:xfrm>
            <a:off x="367385" y="139265"/>
            <a:ext cx="6972913" cy="463836"/>
          </a:xfrm>
          <a:prstGeom prst="rect">
            <a:avLst/>
          </a:prstGeom>
          <a:noFill/>
          <a:ln w="25400">
            <a:noFill/>
            <a:miter lim="800000"/>
            <a:headEnd type="none" w="sm" len="sm"/>
            <a:tailEnd type="none" w="sm" len="sm"/>
          </a:ln>
        </p:spPr>
        <p:txBody>
          <a:bodyPr wrap="square" lIns="35996" tIns="46795" rIns="35996" bIns="46795">
            <a:spAutoFit/>
          </a:bodyPr>
          <a:lstStyle/>
          <a:p>
            <a:pPr eaLnBrk="0" latinLnBrk="0" hangingPunct="0">
              <a:spcBef>
                <a:spcPct val="50000"/>
              </a:spcBef>
            </a:pPr>
            <a:r>
              <a:rPr lang="ko-KR" altLang="en-US" sz="2400" spc="-100" dirty="0" err="1">
                <a:solidFill>
                  <a:prstClr val="black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상품판매시</a:t>
            </a:r>
            <a:r>
              <a:rPr lang="ko-KR" altLang="en-US" sz="2400" spc="-100" dirty="0">
                <a:solidFill>
                  <a:prstClr val="black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반드시 준수해야 할 사항</a:t>
            </a:r>
          </a:p>
        </p:txBody>
      </p:sp>
      <p:graphicFrame>
        <p:nvGraphicFramePr>
          <p:cNvPr id="5" name="Table 2">
            <a:extLst>
              <a:ext uri="{FF2B5EF4-FFF2-40B4-BE49-F238E27FC236}">
                <a16:creationId xmlns:a16="http://schemas.microsoft.com/office/drawing/2014/main" id="{A4A0DCB7-BAE9-4132-8E5C-E0DBACCA5C5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851692" y="2569854"/>
          <a:ext cx="2727799" cy="3681508"/>
        </p:xfrm>
        <a:graphic>
          <a:graphicData uri="http://schemas.openxmlformats.org/drawingml/2006/table">
            <a:tbl>
              <a:tblPr firstRow="1" bandRow="1"/>
              <a:tblGrid>
                <a:gridCol w="2526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315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359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31592"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700" b="1" dirty="0">
                        <a:solidFill>
                          <a:srgbClr val="76B1D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7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700" b="1" dirty="0">
                        <a:solidFill>
                          <a:srgbClr val="76B1D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99731"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3400" b="1" dirty="0">
                        <a:solidFill>
                          <a:srgbClr val="76B1D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31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02</a:t>
                      </a:r>
                      <a:endParaRPr lang="ko-KR" altLang="en-US" sz="31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3400" b="1" dirty="0">
                        <a:solidFill>
                          <a:srgbClr val="76B1D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7581"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1" dirty="0">
                        <a:solidFill>
                          <a:srgbClr val="76B1D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lvl="0" indent="0" algn="ctr" defTabSz="99490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보험약관 및 </a:t>
                      </a:r>
                      <a:endParaRPr kumimoji="1" lang="en-US" altLang="ko-KR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ctr" defTabSz="99490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5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계약자용</a:t>
                      </a:r>
                      <a:r>
                        <a:rPr kumimoji="1" lang="ko-KR" altLang="en-US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 청약서 전달</a:t>
                      </a: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1" dirty="0">
                        <a:solidFill>
                          <a:srgbClr val="76B1D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1729"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rowSpan="4"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lvl="0" indent="0" algn="ctr" defTabSz="994907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보험계약 청약 시 </a:t>
                      </a:r>
                      <a:endParaRPr kumimoji="0" lang="en-US" altLang="ko-KR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ctr" defTabSz="994907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약관 및 계약자 보관용 청약서</a:t>
                      </a:r>
                      <a:endParaRPr kumimoji="0" lang="en-US" altLang="ko-KR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ctr" defTabSz="994907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(</a:t>
                      </a:r>
                      <a:r>
                        <a:rPr kumimoji="0" lang="ko-KR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청약서 부본</a:t>
                      </a:r>
                      <a:r>
                        <a:rPr kumimoji="0" lang="en-US" altLang="ko-K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)</a:t>
                      </a:r>
                      <a:r>
                        <a:rPr kumimoji="0" lang="ko-KR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를 </a:t>
                      </a:r>
                      <a:endParaRPr kumimoji="0" lang="en-US" altLang="ko-KR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ctr" defTabSz="994907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보험계약자에게 반드시 </a:t>
                      </a:r>
                      <a:endParaRPr kumimoji="0" lang="en-US" altLang="ko-KR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ctr" defTabSz="994907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전달하여야 합니다</a:t>
                      </a:r>
                      <a:r>
                        <a:rPr kumimoji="0" lang="en-US" altLang="ko-K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.</a:t>
                      </a: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18709"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algn="l"/>
                      <a:endParaRPr lang="ko-KR" altLang="en-US" sz="10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algn="l"/>
                      <a:endParaRPr lang="ko-KR" altLang="en-US" sz="1200" dirty="0">
                        <a:solidFill>
                          <a:schemeClr val="bg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/>
                    </a:solidFill>
                  </a:tcPr>
                </a:tc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algn="l"/>
                      <a:endParaRPr lang="ko-KR" altLang="en-US" sz="10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17702"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1" dirty="0">
                        <a:solidFill>
                          <a:schemeClr val="bg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/>
                    </a:solidFill>
                  </a:tcPr>
                </a:tc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44464"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>
                        <a:solidFill>
                          <a:schemeClr val="bg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/>
                    </a:solidFill>
                  </a:tcPr>
                </a:tc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6" name="Block Arc 14">
            <a:extLst>
              <a:ext uri="{FF2B5EF4-FFF2-40B4-BE49-F238E27FC236}">
                <a16:creationId xmlns:a16="http://schemas.microsoft.com/office/drawing/2014/main" id="{7620B76B-2251-4625-80C4-F2D0A66D1C2D}"/>
              </a:ext>
            </a:extLst>
          </p:cNvPr>
          <p:cNvSpPr>
            <a:spLocks noChangeAspect="1"/>
          </p:cNvSpPr>
          <p:nvPr/>
        </p:nvSpPr>
        <p:spPr>
          <a:xfrm rot="2700000">
            <a:off x="5157207" y="2298385"/>
            <a:ext cx="246357" cy="715472"/>
          </a:xfrm>
          <a:custGeom>
            <a:avLst/>
            <a:gdLst/>
            <a:ahLst/>
            <a:cxnLst/>
            <a:rect l="l" t="t" r="r" b="b"/>
            <a:pathLst>
              <a:path w="287972" h="836332">
                <a:moveTo>
                  <a:pt x="30729" y="55075"/>
                </a:moveTo>
                <a:cubicBezTo>
                  <a:pt x="42478" y="40106"/>
                  <a:pt x="57261" y="27376"/>
                  <a:pt x="74493" y="17880"/>
                </a:cubicBezTo>
                <a:cubicBezTo>
                  <a:pt x="97470" y="5219"/>
                  <a:pt x="122980" y="-693"/>
                  <a:pt x="148292" y="64"/>
                </a:cubicBezTo>
                <a:cubicBezTo>
                  <a:pt x="173603" y="822"/>
                  <a:pt x="198714" y="8247"/>
                  <a:pt x="220893" y="22259"/>
                </a:cubicBezTo>
                <a:cubicBezTo>
                  <a:pt x="261840" y="48130"/>
                  <a:pt x="286805" y="92672"/>
                  <a:pt x="287621" y="140576"/>
                </a:cubicBezTo>
                <a:lnTo>
                  <a:pt x="287972" y="140576"/>
                </a:lnTo>
                <a:lnTo>
                  <a:pt x="287972" y="752171"/>
                </a:lnTo>
                <a:lnTo>
                  <a:pt x="287091" y="752171"/>
                </a:lnTo>
                <a:cubicBezTo>
                  <a:pt x="287327" y="779980"/>
                  <a:pt x="272899" y="806109"/>
                  <a:pt x="248733" y="821844"/>
                </a:cubicBezTo>
                <a:cubicBezTo>
                  <a:pt x="221789" y="839389"/>
                  <a:pt x="187151" y="841125"/>
                  <a:pt x="158504" y="826368"/>
                </a:cubicBezTo>
                <a:cubicBezTo>
                  <a:pt x="134819" y="814168"/>
                  <a:pt x="118430" y="792350"/>
                  <a:pt x="116163" y="766892"/>
                </a:cubicBezTo>
                <a:lnTo>
                  <a:pt x="111480" y="734732"/>
                </a:lnTo>
                <a:lnTo>
                  <a:pt x="111480" y="300602"/>
                </a:lnTo>
                <a:cubicBezTo>
                  <a:pt x="111480" y="292074"/>
                  <a:pt x="114937" y="284352"/>
                  <a:pt x="120526" y="278763"/>
                </a:cubicBezTo>
                <a:cubicBezTo>
                  <a:pt x="126115" y="273174"/>
                  <a:pt x="133837" y="269717"/>
                  <a:pt x="142365" y="269717"/>
                </a:cubicBezTo>
                <a:cubicBezTo>
                  <a:pt x="159423" y="269717"/>
                  <a:pt x="173251" y="283545"/>
                  <a:pt x="173251" y="300602"/>
                </a:cubicBezTo>
                <a:lnTo>
                  <a:pt x="173251" y="751930"/>
                </a:lnTo>
                <a:cubicBezTo>
                  <a:pt x="173648" y="760601"/>
                  <a:pt x="179233" y="768379"/>
                  <a:pt x="187804" y="772291"/>
                </a:cubicBezTo>
                <a:cubicBezTo>
                  <a:pt x="196159" y="776105"/>
                  <a:pt x="206075" y="775650"/>
                  <a:pt x="213975" y="771093"/>
                </a:cubicBezTo>
                <a:cubicBezTo>
                  <a:pt x="221241" y="766901"/>
                  <a:pt x="225775" y="759840"/>
                  <a:pt x="226208" y="752171"/>
                </a:cubicBezTo>
                <a:lnTo>
                  <a:pt x="226201" y="752171"/>
                </a:lnTo>
                <a:lnTo>
                  <a:pt x="226201" y="148909"/>
                </a:lnTo>
                <a:lnTo>
                  <a:pt x="225816" y="148886"/>
                </a:lnTo>
                <a:cubicBezTo>
                  <a:pt x="227602" y="119067"/>
                  <a:pt x="213026" y="90638"/>
                  <a:pt x="187772" y="74682"/>
                </a:cubicBezTo>
                <a:cubicBezTo>
                  <a:pt x="162518" y="58727"/>
                  <a:pt x="130584" y="57771"/>
                  <a:pt x="104421" y="72189"/>
                </a:cubicBezTo>
                <a:cubicBezTo>
                  <a:pt x="78258" y="86606"/>
                  <a:pt x="62009" y="114114"/>
                  <a:pt x="62009" y="143986"/>
                </a:cubicBezTo>
                <a:lnTo>
                  <a:pt x="61771" y="143986"/>
                </a:lnTo>
                <a:lnTo>
                  <a:pt x="61771" y="393381"/>
                </a:lnTo>
                <a:lnTo>
                  <a:pt x="58623" y="371761"/>
                </a:lnTo>
                <a:lnTo>
                  <a:pt x="0" y="450367"/>
                </a:lnTo>
                <a:lnTo>
                  <a:pt x="0" y="132171"/>
                </a:lnTo>
                <a:lnTo>
                  <a:pt x="999" y="132171"/>
                </a:lnTo>
                <a:cubicBezTo>
                  <a:pt x="2830" y="103721"/>
                  <a:pt x="13525" y="76996"/>
                  <a:pt x="30729" y="55075"/>
                </a:cubicBezTo>
                <a:close/>
              </a:path>
            </a:pathLst>
          </a:custGeom>
          <a:solidFill>
            <a:sysClr val="windowText" lastClr="000000">
              <a:lumMod val="75000"/>
              <a:lumOff val="2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82269" latinLnBrk="0">
              <a:defRPr/>
            </a:pPr>
            <a:endParaRPr lang="ko-KR" altLang="en-US" sz="2310" ker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85FBC33E-A5DA-4FA4-AB3B-2CED5FCC160C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884784" y="2559836"/>
          <a:ext cx="2727799" cy="3731899"/>
        </p:xfrm>
        <a:graphic>
          <a:graphicData uri="http://schemas.openxmlformats.org/drawingml/2006/table">
            <a:tbl>
              <a:tblPr firstRow="1" bandRow="1"/>
              <a:tblGrid>
                <a:gridCol w="2526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315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359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5389"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700" b="1" dirty="0">
                        <a:solidFill>
                          <a:srgbClr val="76B1D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7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700" b="1" dirty="0">
                        <a:solidFill>
                          <a:srgbClr val="76B1D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8512"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3400" b="1" dirty="0">
                        <a:solidFill>
                          <a:srgbClr val="76B1D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31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01</a:t>
                      </a:r>
                      <a:endParaRPr lang="ko-KR" altLang="en-US" sz="31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3400" b="1" dirty="0">
                        <a:solidFill>
                          <a:srgbClr val="76B1D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37338"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1" dirty="0">
                        <a:solidFill>
                          <a:srgbClr val="76B1D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5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자필서명</a:t>
                      </a: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500" b="1" dirty="0">
                        <a:solidFill>
                          <a:srgbClr val="76B1D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500" b="1" dirty="0">
                        <a:solidFill>
                          <a:srgbClr val="76B1D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5710"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50000"/>
                      </a:schemeClr>
                    </a:solidFill>
                  </a:tcPr>
                </a:tc>
                <a:tc rowSpan="4"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lvl="0" indent="0" algn="ctr" defTabSz="994907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보험계약 체결 시 </a:t>
                      </a:r>
                      <a:endParaRPr kumimoji="0" lang="en-US" altLang="ko-KR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ctr" defTabSz="994907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보험계약자 및 피보험자는 </a:t>
                      </a:r>
                      <a:endParaRPr kumimoji="0" lang="en-US" altLang="ko-KR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ctr" defTabSz="994907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청약서</a:t>
                      </a:r>
                      <a:r>
                        <a:rPr kumimoji="0" lang="en-US" altLang="ko-K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2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상품설명서</a:t>
                      </a:r>
                      <a:r>
                        <a:rPr kumimoji="0" lang="ko-KR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 등 </a:t>
                      </a:r>
                      <a:endParaRPr kumimoji="0" lang="en-US" altLang="ko-KR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ctr" defTabSz="994907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청약관련 서류에 반드시 </a:t>
                      </a:r>
                      <a:endParaRPr kumimoji="0" lang="en-US" altLang="ko-KR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ctr" defTabSz="994907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자필서명 </a:t>
                      </a:r>
                      <a:endParaRPr kumimoji="0" lang="en-US" altLang="ko-KR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ctr" defTabSz="994907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(</a:t>
                      </a:r>
                      <a:r>
                        <a:rPr kumimoji="0" lang="ko-KR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날인 및 전자서명 또는 </a:t>
                      </a:r>
                      <a:endParaRPr kumimoji="0" lang="en-US" altLang="ko-KR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ctr" defTabSz="994907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공인전자서명 포함</a:t>
                      </a:r>
                      <a:r>
                        <a:rPr kumimoji="0" lang="en-US" altLang="ko-K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)</a:t>
                      </a:r>
                      <a:r>
                        <a:rPr kumimoji="0" lang="ko-KR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을 </a:t>
                      </a:r>
                      <a:endParaRPr kumimoji="0" lang="en-US" altLang="ko-KR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ctr" defTabSz="994907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하여야 합니다</a:t>
                      </a:r>
                      <a:r>
                        <a:rPr kumimoji="0" lang="en-US" altLang="ko-K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. </a:t>
                      </a:r>
                      <a:endParaRPr lang="en-US" altLang="ko-KR" sz="10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07135"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algn="l"/>
                      <a:endParaRPr lang="ko-KR" altLang="en-US" sz="10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algn="l"/>
                      <a:endParaRPr lang="ko-KR" altLang="en-US" sz="1200" dirty="0">
                        <a:solidFill>
                          <a:schemeClr val="bg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5C1A4"/>
                    </a:solidFill>
                  </a:tcPr>
                </a:tc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algn="l"/>
                      <a:endParaRPr lang="ko-KR" altLang="en-US" sz="10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04276"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1" dirty="0">
                        <a:solidFill>
                          <a:schemeClr val="bg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5C1A4"/>
                    </a:solidFill>
                  </a:tcPr>
                </a:tc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03148"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>
                        <a:solidFill>
                          <a:schemeClr val="bg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5C1A4"/>
                    </a:solidFill>
                  </a:tcPr>
                </a:tc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8" name="Block Arc 14">
            <a:extLst>
              <a:ext uri="{FF2B5EF4-FFF2-40B4-BE49-F238E27FC236}">
                <a16:creationId xmlns:a16="http://schemas.microsoft.com/office/drawing/2014/main" id="{B73798C3-FAF9-4211-AF96-1EE8121767AD}"/>
              </a:ext>
            </a:extLst>
          </p:cNvPr>
          <p:cNvSpPr>
            <a:spLocks noChangeAspect="1"/>
          </p:cNvSpPr>
          <p:nvPr/>
        </p:nvSpPr>
        <p:spPr>
          <a:xfrm rot="2700000">
            <a:off x="2190300" y="2288365"/>
            <a:ext cx="246357" cy="715472"/>
          </a:xfrm>
          <a:custGeom>
            <a:avLst/>
            <a:gdLst/>
            <a:ahLst/>
            <a:cxnLst/>
            <a:rect l="l" t="t" r="r" b="b"/>
            <a:pathLst>
              <a:path w="287972" h="836332">
                <a:moveTo>
                  <a:pt x="30729" y="55075"/>
                </a:moveTo>
                <a:cubicBezTo>
                  <a:pt x="42478" y="40106"/>
                  <a:pt x="57261" y="27376"/>
                  <a:pt x="74493" y="17880"/>
                </a:cubicBezTo>
                <a:cubicBezTo>
                  <a:pt x="97470" y="5219"/>
                  <a:pt x="122980" y="-693"/>
                  <a:pt x="148292" y="64"/>
                </a:cubicBezTo>
                <a:cubicBezTo>
                  <a:pt x="173603" y="822"/>
                  <a:pt x="198714" y="8247"/>
                  <a:pt x="220893" y="22259"/>
                </a:cubicBezTo>
                <a:cubicBezTo>
                  <a:pt x="261840" y="48130"/>
                  <a:pt x="286805" y="92672"/>
                  <a:pt x="287621" y="140576"/>
                </a:cubicBezTo>
                <a:lnTo>
                  <a:pt x="287972" y="140576"/>
                </a:lnTo>
                <a:lnTo>
                  <a:pt x="287972" y="752171"/>
                </a:lnTo>
                <a:lnTo>
                  <a:pt x="287091" y="752171"/>
                </a:lnTo>
                <a:cubicBezTo>
                  <a:pt x="287327" y="779980"/>
                  <a:pt x="272899" y="806109"/>
                  <a:pt x="248733" y="821844"/>
                </a:cubicBezTo>
                <a:cubicBezTo>
                  <a:pt x="221789" y="839389"/>
                  <a:pt x="187151" y="841125"/>
                  <a:pt x="158504" y="826368"/>
                </a:cubicBezTo>
                <a:cubicBezTo>
                  <a:pt x="134819" y="814168"/>
                  <a:pt x="118430" y="792350"/>
                  <a:pt x="116163" y="766892"/>
                </a:cubicBezTo>
                <a:lnTo>
                  <a:pt x="111480" y="734732"/>
                </a:lnTo>
                <a:lnTo>
                  <a:pt x="111480" y="300602"/>
                </a:lnTo>
                <a:cubicBezTo>
                  <a:pt x="111480" y="292074"/>
                  <a:pt x="114937" y="284352"/>
                  <a:pt x="120526" y="278763"/>
                </a:cubicBezTo>
                <a:cubicBezTo>
                  <a:pt x="126115" y="273174"/>
                  <a:pt x="133837" y="269717"/>
                  <a:pt x="142365" y="269717"/>
                </a:cubicBezTo>
                <a:cubicBezTo>
                  <a:pt x="159423" y="269717"/>
                  <a:pt x="173251" y="283545"/>
                  <a:pt x="173251" y="300602"/>
                </a:cubicBezTo>
                <a:lnTo>
                  <a:pt x="173251" y="751930"/>
                </a:lnTo>
                <a:cubicBezTo>
                  <a:pt x="173648" y="760601"/>
                  <a:pt x="179233" y="768379"/>
                  <a:pt x="187804" y="772291"/>
                </a:cubicBezTo>
                <a:cubicBezTo>
                  <a:pt x="196159" y="776105"/>
                  <a:pt x="206075" y="775650"/>
                  <a:pt x="213975" y="771093"/>
                </a:cubicBezTo>
                <a:cubicBezTo>
                  <a:pt x="221241" y="766901"/>
                  <a:pt x="225775" y="759840"/>
                  <a:pt x="226208" y="752171"/>
                </a:cubicBezTo>
                <a:lnTo>
                  <a:pt x="226201" y="752171"/>
                </a:lnTo>
                <a:lnTo>
                  <a:pt x="226201" y="148909"/>
                </a:lnTo>
                <a:lnTo>
                  <a:pt x="225816" y="148886"/>
                </a:lnTo>
                <a:cubicBezTo>
                  <a:pt x="227602" y="119067"/>
                  <a:pt x="213026" y="90638"/>
                  <a:pt x="187772" y="74682"/>
                </a:cubicBezTo>
                <a:cubicBezTo>
                  <a:pt x="162518" y="58727"/>
                  <a:pt x="130584" y="57771"/>
                  <a:pt x="104421" y="72189"/>
                </a:cubicBezTo>
                <a:cubicBezTo>
                  <a:pt x="78258" y="86606"/>
                  <a:pt x="62009" y="114114"/>
                  <a:pt x="62009" y="143986"/>
                </a:cubicBezTo>
                <a:lnTo>
                  <a:pt x="61771" y="143986"/>
                </a:lnTo>
                <a:lnTo>
                  <a:pt x="61771" y="393381"/>
                </a:lnTo>
                <a:lnTo>
                  <a:pt x="58623" y="371761"/>
                </a:lnTo>
                <a:lnTo>
                  <a:pt x="0" y="450367"/>
                </a:lnTo>
                <a:lnTo>
                  <a:pt x="0" y="132171"/>
                </a:lnTo>
                <a:lnTo>
                  <a:pt x="999" y="132171"/>
                </a:lnTo>
                <a:cubicBezTo>
                  <a:pt x="2830" y="103721"/>
                  <a:pt x="13525" y="76996"/>
                  <a:pt x="30729" y="55075"/>
                </a:cubicBezTo>
                <a:close/>
              </a:path>
            </a:pathLst>
          </a:custGeom>
          <a:solidFill>
            <a:sysClr val="windowText" lastClr="000000">
              <a:lumMod val="75000"/>
              <a:lumOff val="2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82269" latinLnBrk="0">
              <a:defRPr/>
            </a:pPr>
            <a:endParaRPr lang="ko-KR" altLang="en-US" sz="2310" ker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8A152EBA-E90A-4420-B69E-94F1F7859409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784602" y="2559834"/>
          <a:ext cx="2727799" cy="3681508"/>
        </p:xfrm>
        <a:graphic>
          <a:graphicData uri="http://schemas.openxmlformats.org/drawingml/2006/table">
            <a:tbl>
              <a:tblPr firstRow="1" bandRow="1"/>
              <a:tblGrid>
                <a:gridCol w="2526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315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359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31592"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700" b="1" dirty="0">
                        <a:solidFill>
                          <a:srgbClr val="76B1D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E7FB7"/>
                    </a:solidFill>
                  </a:tcPr>
                </a:tc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7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E7FB7"/>
                    </a:solidFill>
                  </a:tcPr>
                </a:tc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700" b="1" dirty="0">
                        <a:solidFill>
                          <a:srgbClr val="76B1D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E7FB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99731"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3400" b="1" dirty="0">
                        <a:solidFill>
                          <a:srgbClr val="76B1D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E7FB7"/>
                    </a:solidFill>
                  </a:tcPr>
                </a:tc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31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Arial" pitchFamily="34" charset="0"/>
                        </a:rPr>
                        <a:t>03</a:t>
                      </a:r>
                      <a:endParaRPr lang="ko-KR" altLang="en-US" sz="31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E7FB7"/>
                    </a:solidFill>
                  </a:tcPr>
                </a:tc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3400" b="1" dirty="0">
                        <a:solidFill>
                          <a:srgbClr val="76B1D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E7FB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7581"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1" dirty="0">
                        <a:solidFill>
                          <a:srgbClr val="76B1D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E7FB7"/>
                    </a:solidFill>
                  </a:tcPr>
                </a:tc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lvl="0" indent="0" algn="ctr" defTabSz="99490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보험약관의 </a:t>
                      </a:r>
                      <a:endParaRPr kumimoji="1" lang="en-US" altLang="ko-KR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ctr" defTabSz="994907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5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중요내용</a:t>
                      </a:r>
                      <a:r>
                        <a:rPr kumimoji="1" lang="ko-KR" altLang="en-US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 설명</a:t>
                      </a: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E7FB7"/>
                    </a:solidFill>
                  </a:tcPr>
                </a:tc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1" dirty="0">
                        <a:solidFill>
                          <a:srgbClr val="76B1D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E7FB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1729"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E7FB7"/>
                    </a:solidFill>
                  </a:tcPr>
                </a:tc>
                <a:tc rowSpan="4"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lvl="0" indent="0" algn="ctr" defTabSz="994907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보험판매인은 </a:t>
                      </a:r>
                      <a:endParaRPr kumimoji="0" lang="en-US" altLang="ko-KR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ctr" defTabSz="994907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보장내용</a:t>
                      </a:r>
                      <a:r>
                        <a:rPr kumimoji="0" lang="en-US" altLang="ko-K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보험료납입기간 및 </a:t>
                      </a:r>
                      <a:endParaRPr kumimoji="0" lang="en-US" altLang="ko-KR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ctr" defTabSz="994907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보험기간</a:t>
                      </a:r>
                      <a:r>
                        <a:rPr kumimoji="0" lang="en-US" altLang="ko-K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2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계약전</a:t>
                      </a:r>
                      <a:r>
                        <a:rPr kumimoji="0" lang="ko-KR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kumimoji="0" lang="ko-KR" altLang="en-US" sz="12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알릴의무</a:t>
                      </a:r>
                      <a:r>
                        <a:rPr kumimoji="0" lang="ko-KR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 등 </a:t>
                      </a:r>
                      <a:endParaRPr kumimoji="0" lang="en-US" altLang="ko-KR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ctr" defTabSz="994907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보험약관의 중요 내용을 </a:t>
                      </a:r>
                      <a:endParaRPr kumimoji="0" lang="en-US" altLang="ko-KR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ctr" defTabSz="994907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보험계약자에게 반드시 </a:t>
                      </a:r>
                      <a:endParaRPr kumimoji="0" lang="en-US" altLang="ko-KR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ctr" defTabSz="994907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질문</a:t>
                      </a:r>
                      <a:r>
                        <a:rPr kumimoji="0" lang="en-US" altLang="ko-K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, </a:t>
                      </a:r>
                      <a:r>
                        <a:rPr kumimoji="0" lang="ko-KR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확인 또는 </a:t>
                      </a:r>
                      <a:endParaRPr kumimoji="0" lang="en-US" altLang="ko-KR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ctr" defTabSz="994907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설명하여야 합니다</a:t>
                      </a:r>
                      <a:r>
                        <a:rPr kumimoji="0" lang="en-US" altLang="ko-K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Arial" pitchFamily="34" charset="0"/>
                        </a:rPr>
                        <a:t>.</a:t>
                      </a: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E7FB7"/>
                    </a:solidFill>
                  </a:tcPr>
                </a:tc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E7FB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18709"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algn="l"/>
                      <a:endParaRPr lang="ko-KR" altLang="en-US" sz="10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E7FB7"/>
                    </a:solidFill>
                  </a:tcPr>
                </a:tc>
                <a:tc vMerge="1"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algn="l"/>
                      <a:endParaRPr lang="ko-KR" altLang="en-US" sz="1200" dirty="0">
                        <a:solidFill>
                          <a:schemeClr val="bg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E7FB7"/>
                    </a:solidFill>
                  </a:tcPr>
                </a:tc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algn="l"/>
                      <a:endParaRPr lang="ko-KR" altLang="en-US" sz="10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E7FB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17702"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E7FB7"/>
                    </a:solidFill>
                  </a:tcPr>
                </a:tc>
                <a:tc vMerge="1"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200" b="1" dirty="0">
                        <a:solidFill>
                          <a:schemeClr val="bg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E7FB7"/>
                    </a:solidFill>
                  </a:tcPr>
                </a:tc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E7FB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44464"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E7FB7"/>
                    </a:solidFill>
                  </a:tcPr>
                </a:tc>
                <a:tc vMerge="1"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ko-KR" sz="1200" dirty="0">
                        <a:solidFill>
                          <a:schemeClr val="bg1"/>
                        </a:solidFill>
                        <a:latin typeface="+mn-lt"/>
                        <a:cs typeface="Arial" pitchFamily="34" charset="0"/>
                      </a:endParaRPr>
                    </a:p>
                  </a:txBody>
                  <a:tcPr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E7FB7"/>
                    </a:solidFill>
                  </a:tcPr>
                </a:tc>
                <a:tc>
                  <a:txBody>
                    <a:bodyPr/>
                    <a:lstStyle>
                      <a:lvl1pPr marL="0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1pPr>
                      <a:lvl2pPr marL="40567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2pPr>
                      <a:lvl3pPr marL="811355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3pPr>
                      <a:lvl4pPr marL="1217029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4pPr>
                      <a:lvl5pPr marL="1622706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5pPr>
                      <a:lvl6pPr marL="2028381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6pPr>
                      <a:lvl7pPr marL="2434057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7pPr>
                      <a:lvl8pPr marL="2839732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8pPr>
                      <a:lvl9pPr marL="3245408" algn="l" defTabSz="811355" rtl="0" eaLnBrk="1" latinLnBrk="1" hangingPunct="1">
                        <a:defRPr sz="1631" kern="1200">
                          <a:solidFill>
                            <a:schemeClr val="tx1"/>
                          </a:solidFill>
                          <a:latin typeface="Arial"/>
                          <a:ea typeface="Arial Unicode MS"/>
                        </a:defRPr>
                      </a:lvl9pPr>
                    </a:lstStyle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1" dirty="0">
                        <a:solidFill>
                          <a:schemeClr val="bg1"/>
                        </a:solidFill>
                        <a:latin typeface="+mn-ea"/>
                        <a:ea typeface="+mn-ea"/>
                        <a:cs typeface="Arial" pitchFamily="34" charset="0"/>
                      </a:endParaRPr>
                    </a:p>
                  </a:txBody>
                  <a:tcPr marL="78226" marR="78226" marT="39113" marB="39113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E7FB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0" name="Block Arc 14">
            <a:extLst>
              <a:ext uri="{FF2B5EF4-FFF2-40B4-BE49-F238E27FC236}">
                <a16:creationId xmlns:a16="http://schemas.microsoft.com/office/drawing/2014/main" id="{C23B292F-4DCF-40A2-A1EA-61AC98072081}"/>
              </a:ext>
            </a:extLst>
          </p:cNvPr>
          <p:cNvSpPr>
            <a:spLocks noChangeAspect="1"/>
          </p:cNvSpPr>
          <p:nvPr/>
        </p:nvSpPr>
        <p:spPr>
          <a:xfrm rot="2700000">
            <a:off x="8090117" y="2292150"/>
            <a:ext cx="246357" cy="715472"/>
          </a:xfrm>
          <a:custGeom>
            <a:avLst/>
            <a:gdLst/>
            <a:ahLst/>
            <a:cxnLst/>
            <a:rect l="l" t="t" r="r" b="b"/>
            <a:pathLst>
              <a:path w="287972" h="836332">
                <a:moveTo>
                  <a:pt x="30729" y="55075"/>
                </a:moveTo>
                <a:cubicBezTo>
                  <a:pt x="42478" y="40106"/>
                  <a:pt x="57261" y="27376"/>
                  <a:pt x="74493" y="17880"/>
                </a:cubicBezTo>
                <a:cubicBezTo>
                  <a:pt x="97470" y="5219"/>
                  <a:pt x="122980" y="-693"/>
                  <a:pt x="148292" y="64"/>
                </a:cubicBezTo>
                <a:cubicBezTo>
                  <a:pt x="173603" y="822"/>
                  <a:pt x="198714" y="8247"/>
                  <a:pt x="220893" y="22259"/>
                </a:cubicBezTo>
                <a:cubicBezTo>
                  <a:pt x="261840" y="48130"/>
                  <a:pt x="286805" y="92672"/>
                  <a:pt x="287621" y="140576"/>
                </a:cubicBezTo>
                <a:lnTo>
                  <a:pt x="287972" y="140576"/>
                </a:lnTo>
                <a:lnTo>
                  <a:pt x="287972" y="752171"/>
                </a:lnTo>
                <a:lnTo>
                  <a:pt x="287091" y="752171"/>
                </a:lnTo>
                <a:cubicBezTo>
                  <a:pt x="287327" y="779980"/>
                  <a:pt x="272899" y="806109"/>
                  <a:pt x="248733" y="821844"/>
                </a:cubicBezTo>
                <a:cubicBezTo>
                  <a:pt x="221789" y="839389"/>
                  <a:pt x="187151" y="841125"/>
                  <a:pt x="158504" y="826368"/>
                </a:cubicBezTo>
                <a:cubicBezTo>
                  <a:pt x="134819" y="814168"/>
                  <a:pt x="118430" y="792350"/>
                  <a:pt x="116163" y="766892"/>
                </a:cubicBezTo>
                <a:lnTo>
                  <a:pt x="111480" y="734732"/>
                </a:lnTo>
                <a:lnTo>
                  <a:pt x="111480" y="300602"/>
                </a:lnTo>
                <a:cubicBezTo>
                  <a:pt x="111480" y="292074"/>
                  <a:pt x="114937" y="284352"/>
                  <a:pt x="120526" y="278763"/>
                </a:cubicBezTo>
                <a:cubicBezTo>
                  <a:pt x="126115" y="273174"/>
                  <a:pt x="133837" y="269717"/>
                  <a:pt x="142365" y="269717"/>
                </a:cubicBezTo>
                <a:cubicBezTo>
                  <a:pt x="159423" y="269717"/>
                  <a:pt x="173251" y="283545"/>
                  <a:pt x="173251" y="300602"/>
                </a:cubicBezTo>
                <a:lnTo>
                  <a:pt x="173251" y="751930"/>
                </a:lnTo>
                <a:cubicBezTo>
                  <a:pt x="173648" y="760601"/>
                  <a:pt x="179233" y="768379"/>
                  <a:pt x="187804" y="772291"/>
                </a:cubicBezTo>
                <a:cubicBezTo>
                  <a:pt x="196159" y="776105"/>
                  <a:pt x="206075" y="775650"/>
                  <a:pt x="213975" y="771093"/>
                </a:cubicBezTo>
                <a:cubicBezTo>
                  <a:pt x="221241" y="766901"/>
                  <a:pt x="225775" y="759840"/>
                  <a:pt x="226208" y="752171"/>
                </a:cubicBezTo>
                <a:lnTo>
                  <a:pt x="226201" y="752171"/>
                </a:lnTo>
                <a:lnTo>
                  <a:pt x="226201" y="148909"/>
                </a:lnTo>
                <a:lnTo>
                  <a:pt x="225816" y="148886"/>
                </a:lnTo>
                <a:cubicBezTo>
                  <a:pt x="227602" y="119067"/>
                  <a:pt x="213026" y="90638"/>
                  <a:pt x="187772" y="74682"/>
                </a:cubicBezTo>
                <a:cubicBezTo>
                  <a:pt x="162518" y="58727"/>
                  <a:pt x="130584" y="57771"/>
                  <a:pt x="104421" y="72189"/>
                </a:cubicBezTo>
                <a:cubicBezTo>
                  <a:pt x="78258" y="86606"/>
                  <a:pt x="62009" y="114114"/>
                  <a:pt x="62009" y="143986"/>
                </a:cubicBezTo>
                <a:lnTo>
                  <a:pt x="61771" y="143986"/>
                </a:lnTo>
                <a:lnTo>
                  <a:pt x="61771" y="393381"/>
                </a:lnTo>
                <a:lnTo>
                  <a:pt x="58623" y="371761"/>
                </a:lnTo>
                <a:lnTo>
                  <a:pt x="0" y="450367"/>
                </a:lnTo>
                <a:lnTo>
                  <a:pt x="0" y="132171"/>
                </a:lnTo>
                <a:lnTo>
                  <a:pt x="999" y="132171"/>
                </a:lnTo>
                <a:cubicBezTo>
                  <a:pt x="2830" y="103721"/>
                  <a:pt x="13525" y="76996"/>
                  <a:pt x="30729" y="55075"/>
                </a:cubicBezTo>
                <a:close/>
              </a:path>
            </a:pathLst>
          </a:custGeom>
          <a:solidFill>
            <a:sysClr val="windowText" lastClr="000000">
              <a:lumMod val="75000"/>
              <a:lumOff val="2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82269" latinLnBrk="0">
              <a:defRPr/>
            </a:pPr>
            <a:endParaRPr lang="ko-KR" altLang="en-US" sz="2310" kern="0">
              <a:solidFill>
                <a:prstClr val="black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1" name="Right Arrow 13">
            <a:extLst>
              <a:ext uri="{FF2B5EF4-FFF2-40B4-BE49-F238E27FC236}">
                <a16:creationId xmlns:a16="http://schemas.microsoft.com/office/drawing/2014/main" id="{2FE01A3D-CE39-4980-AF4B-07E8BE0CE5B8}"/>
              </a:ext>
            </a:extLst>
          </p:cNvPr>
          <p:cNvSpPr/>
          <p:nvPr/>
        </p:nvSpPr>
        <p:spPr>
          <a:xfrm>
            <a:off x="638285" y="1479340"/>
            <a:ext cx="8080469" cy="682326"/>
          </a:xfrm>
          <a:prstGeom prst="rightArrow">
            <a:avLst>
              <a:gd name="adj1" fmla="val 73188"/>
              <a:gd name="adj2" fmla="val 80331"/>
            </a:avLst>
          </a:prstGeom>
          <a:solidFill>
            <a:srgbClr val="FF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tIns="92393" bIns="92393" rtlCol="0" anchor="ctr">
            <a:spAutoFit/>
          </a:bodyPr>
          <a:lstStyle/>
          <a:p>
            <a:pPr defTabSz="782269" latinLnBrk="0">
              <a:defRPr/>
            </a:pPr>
            <a:endParaRPr lang="en-US" sz="2053" kern="0" dirty="0">
              <a:solidFill>
                <a:prstClr val="white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2" name="Rectangle 5">
            <a:extLst>
              <a:ext uri="{FF2B5EF4-FFF2-40B4-BE49-F238E27FC236}">
                <a16:creationId xmlns:a16="http://schemas.microsoft.com/office/drawing/2014/main" id="{D792A9E4-D5AC-42E0-8C03-D9BF4D524CD4}"/>
              </a:ext>
            </a:extLst>
          </p:cNvPr>
          <p:cNvSpPr/>
          <p:nvPr/>
        </p:nvSpPr>
        <p:spPr>
          <a:xfrm>
            <a:off x="638285" y="1486137"/>
            <a:ext cx="8080469" cy="67903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tIns="92393" bIns="92393" rtlCol="0" anchor="ctr">
            <a:spAutoFit/>
          </a:bodyPr>
          <a:lstStyle/>
          <a:p>
            <a:pPr defTabSz="851143">
              <a:defRPr/>
            </a:pPr>
            <a:r>
              <a:rPr lang="en-US" altLang="ko-KR" sz="3200" b="1" dirty="0">
                <a:solidFill>
                  <a:prstClr val="whit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3</a:t>
            </a:r>
            <a:r>
              <a:rPr lang="ko-KR" altLang="en-US" sz="3200" b="1" dirty="0">
                <a:solidFill>
                  <a:prstClr val="white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대 기본 지키기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" y="6997007"/>
            <a:ext cx="9728423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ko-KR" altLang="en-US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본 자료는 </a:t>
            </a:r>
            <a:r>
              <a:rPr lang="en-US" altLang="ko-KR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GA</a:t>
            </a:r>
            <a:r>
              <a:rPr lang="ko-KR" altLang="en-US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교육용 요약 자료이며</a:t>
            </a:r>
            <a:r>
              <a:rPr lang="en-US" altLang="ko-KR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고객에게 제시 및 교부를 금지합니다</a:t>
            </a:r>
            <a:r>
              <a:rPr lang="en-US" altLang="ko-KR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정확한 내용은 약관과 상품설명서를 확인하시기 바랍니다</a:t>
            </a:r>
            <a:r>
              <a:rPr lang="en-US" altLang="ko-KR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endParaRPr lang="ko-KR" altLang="en-US" sz="1000" dirty="0">
              <a:solidFill>
                <a:srgbClr val="FF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" name="모서리가 둥근 직사각형 1"/>
          <p:cNvSpPr/>
          <p:nvPr/>
        </p:nvSpPr>
        <p:spPr>
          <a:xfrm>
            <a:off x="7963287" y="556924"/>
            <a:ext cx="1117064" cy="166755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100" dirty="0"/>
              <a:t>고객 제시 불가</a:t>
            </a:r>
          </a:p>
        </p:txBody>
      </p:sp>
      <p:sp>
        <p:nvSpPr>
          <p:cNvPr id="14" name="모서리가 둥근 직사각형 13"/>
          <p:cNvSpPr/>
          <p:nvPr/>
        </p:nvSpPr>
        <p:spPr>
          <a:xfrm>
            <a:off x="9116164" y="556922"/>
            <a:ext cx="854113" cy="166756"/>
          </a:xfrm>
          <a:prstGeom prst="roundRect">
            <a:avLst/>
          </a:prstGeom>
          <a:solidFill>
            <a:schemeClr val="tx2">
              <a:lumMod val="50000"/>
            </a:schemeClr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1100" dirty="0"/>
              <a:t>GA </a:t>
            </a:r>
            <a:r>
              <a:rPr lang="ko-KR" altLang="en-US" sz="1100" dirty="0"/>
              <a:t>교육용</a:t>
            </a:r>
          </a:p>
        </p:txBody>
      </p:sp>
      <p:sp>
        <p:nvSpPr>
          <p:cNvPr id="3" name="슬라이드 번호 개체 틀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778733"/>
            <a:fld id="{2747D207-944B-4363-884F-A02296F6E65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 defTabSz="778733"/>
              <a:t>4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6993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 defTabSz="778733"/>
            <a:fld id="{2747D207-944B-4363-884F-A02296F6E65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 defTabSz="778733"/>
              <a:t>40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40757" y="128492"/>
            <a:ext cx="7354035" cy="483960"/>
          </a:xfrm>
          <a:prstGeom prst="rect">
            <a:avLst/>
          </a:prstGeom>
          <a:noFill/>
        </p:spPr>
        <p:txBody>
          <a:bodyPr wrap="square" lIns="108000" tIns="108000" bIns="36000" rtlCol="0" anchor="ctr" anchorCtr="0">
            <a:spAutoFit/>
          </a:bodyPr>
          <a:lstStyle/>
          <a:p>
            <a:r>
              <a:rPr lang="ko-KR" altLang="en-US" sz="2200" b="1" dirty="0" err="1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교보</a:t>
            </a:r>
            <a:r>
              <a:rPr lang="ko-KR" altLang="en-US" sz="2200" b="1" dirty="0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 실속간편가입종신보험</a:t>
            </a:r>
            <a:r>
              <a:rPr lang="en-US" altLang="ko-KR" sz="2200" b="1" dirty="0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Plus_7</a:t>
            </a:r>
            <a:r>
              <a:rPr lang="ko-KR" altLang="en-US" sz="2200" b="1" dirty="0" err="1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년납</a:t>
            </a:r>
            <a:r>
              <a:rPr lang="ko-KR" altLang="en-US" sz="2200" b="1" dirty="0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 연령별 </a:t>
            </a:r>
            <a:r>
              <a:rPr lang="ko-KR" altLang="en-US" sz="2200" b="1" dirty="0" err="1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보험료표</a:t>
            </a:r>
            <a:endParaRPr lang="en-US" altLang="ko-KR" sz="2200" b="1" dirty="0">
              <a:solidFill>
                <a:srgbClr val="141450"/>
              </a:solidFill>
              <a:latin typeface="교보서체 Bold" panose="020B0600000101010101" pitchFamily="50" charset="-127"/>
              <a:ea typeface="교보서체 Bold" panose="020B0600000101010101" pitchFamily="50" charset="-127"/>
            </a:endParaRPr>
          </a:p>
        </p:txBody>
      </p:sp>
      <p:graphicFrame>
        <p:nvGraphicFramePr>
          <p:cNvPr id="6" name="표 5"/>
          <p:cNvGraphicFramePr>
            <a:graphicFrameLocks noGrp="1"/>
          </p:cNvGraphicFramePr>
          <p:nvPr>
            <p:extLst/>
          </p:nvPr>
        </p:nvGraphicFramePr>
        <p:xfrm>
          <a:off x="367383" y="891132"/>
          <a:ext cx="9145018" cy="5970777"/>
        </p:xfrm>
        <a:graphic>
          <a:graphicData uri="http://schemas.openxmlformats.org/drawingml/2006/table">
            <a:tbl>
              <a:tblPr/>
              <a:tblGrid>
                <a:gridCol w="738792">
                  <a:extLst>
                    <a:ext uri="{9D8B030D-6E8A-4147-A177-3AD203B41FA5}">
                      <a16:colId xmlns:a16="http://schemas.microsoft.com/office/drawing/2014/main" val="1850040366"/>
                    </a:ext>
                  </a:extLst>
                </a:gridCol>
                <a:gridCol w="1354876">
                  <a:extLst>
                    <a:ext uri="{9D8B030D-6E8A-4147-A177-3AD203B41FA5}">
                      <a16:colId xmlns:a16="http://schemas.microsoft.com/office/drawing/2014/main" val="3874960091"/>
                    </a:ext>
                  </a:extLst>
                </a:gridCol>
                <a:gridCol w="1175225">
                  <a:extLst>
                    <a:ext uri="{9D8B030D-6E8A-4147-A177-3AD203B41FA5}">
                      <a16:colId xmlns:a16="http://schemas.microsoft.com/office/drawing/2014/main" val="4002630067"/>
                    </a:ext>
                  </a:extLst>
                </a:gridCol>
                <a:gridCol w="1175225">
                  <a:extLst>
                    <a:ext uri="{9D8B030D-6E8A-4147-A177-3AD203B41FA5}">
                      <a16:colId xmlns:a16="http://schemas.microsoft.com/office/drawing/2014/main" val="3297154431"/>
                    </a:ext>
                  </a:extLst>
                </a:gridCol>
                <a:gridCol w="1175225">
                  <a:extLst>
                    <a:ext uri="{9D8B030D-6E8A-4147-A177-3AD203B41FA5}">
                      <a16:colId xmlns:a16="http://schemas.microsoft.com/office/drawing/2014/main" val="339685592"/>
                    </a:ext>
                  </a:extLst>
                </a:gridCol>
                <a:gridCol w="1175225">
                  <a:extLst>
                    <a:ext uri="{9D8B030D-6E8A-4147-A177-3AD203B41FA5}">
                      <a16:colId xmlns:a16="http://schemas.microsoft.com/office/drawing/2014/main" val="3504232809"/>
                    </a:ext>
                  </a:extLst>
                </a:gridCol>
                <a:gridCol w="1175225">
                  <a:extLst>
                    <a:ext uri="{9D8B030D-6E8A-4147-A177-3AD203B41FA5}">
                      <a16:colId xmlns:a16="http://schemas.microsoft.com/office/drawing/2014/main" val="640818653"/>
                    </a:ext>
                  </a:extLst>
                </a:gridCol>
                <a:gridCol w="1175225">
                  <a:extLst>
                    <a:ext uri="{9D8B030D-6E8A-4147-A177-3AD203B41FA5}">
                      <a16:colId xmlns:a16="http://schemas.microsoft.com/office/drawing/2014/main" val="1132246359"/>
                    </a:ext>
                  </a:extLst>
                </a:gridCol>
              </a:tblGrid>
              <a:tr h="259599"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구분</a:t>
                      </a:r>
                    </a:p>
                  </a:txBody>
                  <a:tcPr marL="5385" marR="5385" marT="538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가입금액</a:t>
                      </a:r>
                      <a:br>
                        <a:rPr lang="ko-KR" alt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</a:br>
                      <a:r>
                        <a:rPr lang="en-US" altLang="ko-K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2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주계약</a:t>
                      </a:r>
                      <a:r>
                        <a:rPr lang="en-US" altLang="ko-K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+</a:t>
                      </a:r>
                      <a:r>
                        <a:rPr lang="ko-KR" alt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특약</a:t>
                      </a:r>
                      <a:r>
                        <a:rPr lang="en-US" altLang="ko-K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남자</a:t>
                      </a:r>
                    </a:p>
                  </a:txBody>
                  <a:tcPr marL="5385" marR="5385" marT="538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여자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96096202"/>
                  </a:ext>
                </a:extLst>
              </a:tr>
              <a:tr h="2595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보험료</a:t>
                      </a:r>
                      <a:r>
                        <a:rPr lang="en-US" altLang="ko-K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원</a:t>
                      </a:r>
                      <a:r>
                        <a:rPr lang="en-US" altLang="ko-K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</a:p>
                  </a:txBody>
                  <a:tcPr marL="5385" marR="5385" marT="538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환급률</a:t>
                      </a:r>
                      <a:endParaRPr lang="ko-KR" alt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보험료</a:t>
                      </a:r>
                      <a:r>
                        <a:rPr lang="en-US" altLang="ko-K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원</a:t>
                      </a:r>
                      <a:r>
                        <a:rPr lang="en-US" altLang="ko-K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ko-KR" altLang="en-US" sz="12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환급률</a:t>
                      </a:r>
                      <a:endParaRPr lang="ko-KR" alt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3113675"/>
                  </a:ext>
                </a:extLst>
              </a:tr>
              <a:tr h="2595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</a:t>
                      </a:r>
                      <a:r>
                        <a:rPr lang="ko-KR" altLang="en-US" sz="1200" b="1" i="0" u="none" strike="noStrike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완납</a:t>
                      </a: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</a:t>
                      </a:r>
                      <a:r>
                        <a:rPr lang="ko-KR" altLang="en-US" sz="12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시점</a:t>
                      </a:r>
                      <a:endParaRPr lang="ko-KR" alt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</a:t>
                      </a:r>
                      <a:r>
                        <a:rPr lang="ko-KR" altLang="en-US" sz="12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완납</a:t>
                      </a:r>
                      <a:endParaRPr lang="ko-KR" alt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</a:t>
                      </a:r>
                      <a:r>
                        <a:rPr lang="ko-KR" altLang="en-US" sz="12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시점</a:t>
                      </a:r>
                      <a:endParaRPr lang="ko-KR" alt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5385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3127845"/>
                  </a:ext>
                </a:extLst>
              </a:tr>
              <a:tr h="259599"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0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</a:t>
                      </a:r>
                    </a:p>
                  </a:txBody>
                  <a:tcPr marL="5385" marR="5385" marT="538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각</a:t>
                      </a: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1.5</a:t>
                      </a: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만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ko-KR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68,900</a:t>
                      </a:r>
                    </a:p>
                  </a:txBody>
                  <a:tcPr marL="5589" marR="5589" marT="558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ko-KR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99.6%</a:t>
                      </a:r>
                    </a:p>
                  </a:txBody>
                  <a:tcPr marL="5589" marR="5589" marT="5589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ko-KR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21.1%</a:t>
                      </a:r>
                    </a:p>
                  </a:txBody>
                  <a:tcPr marL="5589" marR="5589" marT="5589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ko-KR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54,050</a:t>
                      </a:r>
                    </a:p>
                  </a:txBody>
                  <a:tcPr marL="5589" marR="5589" marT="5589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ko-KR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99.5%</a:t>
                      </a:r>
                    </a:p>
                  </a:txBody>
                  <a:tcPr marL="5589" marR="5589" marT="5589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ko-KR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21.0%</a:t>
                      </a:r>
                    </a:p>
                  </a:txBody>
                  <a:tcPr marL="5589" marR="5589" marT="5589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7053492"/>
                  </a:ext>
                </a:extLst>
              </a:tr>
              <a:tr h="2595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각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</a:t>
                      </a: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만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ko-K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337,800</a:t>
                      </a:r>
                    </a:p>
                  </a:txBody>
                  <a:tcPr marL="5589" marR="5589" marT="558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ko-K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308,100</a:t>
                      </a:r>
                    </a:p>
                  </a:txBody>
                  <a:tcPr marL="5589" marR="5589" marT="5589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2747497"/>
                  </a:ext>
                </a:extLst>
              </a:tr>
              <a:tr h="2595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각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만</a:t>
                      </a:r>
                    </a:p>
                  </a:txBody>
                  <a:tcPr marL="108000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ko-K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563,000</a:t>
                      </a:r>
                    </a:p>
                  </a:txBody>
                  <a:tcPr marL="5589" marR="5589" marT="558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ko-K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513,500</a:t>
                      </a:r>
                    </a:p>
                  </a:txBody>
                  <a:tcPr marL="5589" marR="5589" marT="5589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42803319"/>
                  </a:ext>
                </a:extLst>
              </a:tr>
              <a:tr h="2595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각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만</a:t>
                      </a:r>
                    </a:p>
                  </a:txBody>
                  <a:tcPr marL="108000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ko-KR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788,200</a:t>
                      </a:r>
                    </a:p>
                  </a:txBody>
                  <a:tcPr marL="5589" marR="5589" marT="558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ko-K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718,900</a:t>
                      </a:r>
                    </a:p>
                  </a:txBody>
                  <a:tcPr marL="5589" marR="5589" marT="5589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03852535"/>
                  </a:ext>
                </a:extLst>
              </a:tr>
              <a:tr h="259599"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0</a:t>
                      </a:r>
                      <a:r>
                        <a:rPr lang="ko-KR" alt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</a:t>
                      </a:r>
                    </a:p>
                  </a:txBody>
                  <a:tcPr marL="5385" marR="5385" marT="538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각</a:t>
                      </a: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1.5</a:t>
                      </a: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만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ko-KR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01,750</a:t>
                      </a:r>
                    </a:p>
                  </a:txBody>
                  <a:tcPr marL="5589" marR="5589" marT="558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ko-KR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99.6%</a:t>
                      </a:r>
                    </a:p>
                  </a:txBody>
                  <a:tcPr marL="5589" marR="5589" marT="5589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ko-KR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21.1%</a:t>
                      </a:r>
                    </a:p>
                  </a:txBody>
                  <a:tcPr marL="5589" marR="5589" marT="5589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ko-KR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83,750</a:t>
                      </a:r>
                    </a:p>
                  </a:txBody>
                  <a:tcPr marL="5589" marR="5589" marT="5589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ko-KR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99.7%</a:t>
                      </a:r>
                    </a:p>
                  </a:txBody>
                  <a:tcPr marL="5589" marR="5589" marT="5589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ko-KR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21.3%</a:t>
                      </a:r>
                    </a:p>
                  </a:txBody>
                  <a:tcPr marL="5589" marR="5589" marT="5589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7528628"/>
                  </a:ext>
                </a:extLst>
              </a:tr>
              <a:tr h="2595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각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</a:t>
                      </a: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만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ko-K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403,500</a:t>
                      </a:r>
                    </a:p>
                  </a:txBody>
                  <a:tcPr marL="5589" marR="5589" marT="558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ko-K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367,500</a:t>
                      </a:r>
                    </a:p>
                  </a:txBody>
                  <a:tcPr marL="5589" marR="5589" marT="5589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0333095"/>
                  </a:ext>
                </a:extLst>
              </a:tr>
              <a:tr h="2595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각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만</a:t>
                      </a:r>
                    </a:p>
                  </a:txBody>
                  <a:tcPr marL="108000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ko-KR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672,500</a:t>
                      </a:r>
                    </a:p>
                  </a:txBody>
                  <a:tcPr marL="5589" marR="5589" marT="558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ko-K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612,500</a:t>
                      </a:r>
                    </a:p>
                  </a:txBody>
                  <a:tcPr marL="5589" marR="5589" marT="5589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1602752"/>
                  </a:ext>
                </a:extLst>
              </a:tr>
              <a:tr h="2595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각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만</a:t>
                      </a:r>
                    </a:p>
                  </a:txBody>
                  <a:tcPr marL="108000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ko-KR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941,500</a:t>
                      </a:r>
                    </a:p>
                  </a:txBody>
                  <a:tcPr marL="5589" marR="5589" marT="558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ko-K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857,500</a:t>
                      </a:r>
                    </a:p>
                  </a:txBody>
                  <a:tcPr marL="5589" marR="5589" marT="5589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93641978"/>
                  </a:ext>
                </a:extLst>
              </a:tr>
              <a:tr h="259599"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0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</a:t>
                      </a:r>
                    </a:p>
                  </a:txBody>
                  <a:tcPr marL="5385" marR="5385" marT="538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각</a:t>
                      </a: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1.5</a:t>
                      </a: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만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ko-KR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41,350</a:t>
                      </a:r>
                    </a:p>
                  </a:txBody>
                  <a:tcPr marL="5589" marR="5589" marT="558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ko-KR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99.0%</a:t>
                      </a:r>
                    </a:p>
                  </a:txBody>
                  <a:tcPr marL="5589" marR="5589" marT="5589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ko-KR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20.0%</a:t>
                      </a:r>
                    </a:p>
                  </a:txBody>
                  <a:tcPr marL="5589" marR="5589" marT="5589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ko-KR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19,750</a:t>
                      </a:r>
                    </a:p>
                  </a:txBody>
                  <a:tcPr marL="5589" marR="5589" marT="5589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ko-KR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99.6%</a:t>
                      </a:r>
                    </a:p>
                  </a:txBody>
                  <a:tcPr marL="5589" marR="5589" marT="5589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ko-KR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21.2%</a:t>
                      </a:r>
                    </a:p>
                  </a:txBody>
                  <a:tcPr marL="5589" marR="5589" marT="5589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6421534"/>
                  </a:ext>
                </a:extLst>
              </a:tr>
              <a:tr h="2595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각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</a:t>
                      </a: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만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ko-KR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482,700</a:t>
                      </a:r>
                    </a:p>
                  </a:txBody>
                  <a:tcPr marL="5589" marR="5589" marT="558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ko-K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439,500</a:t>
                      </a:r>
                    </a:p>
                  </a:txBody>
                  <a:tcPr marL="5589" marR="5589" marT="5589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4145524"/>
                  </a:ext>
                </a:extLst>
              </a:tr>
              <a:tr h="2595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각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만</a:t>
                      </a:r>
                    </a:p>
                  </a:txBody>
                  <a:tcPr marL="108000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ko-KR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804,500</a:t>
                      </a:r>
                    </a:p>
                  </a:txBody>
                  <a:tcPr marL="5589" marR="5589" marT="558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ko-K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732,500</a:t>
                      </a:r>
                    </a:p>
                  </a:txBody>
                  <a:tcPr marL="5589" marR="5589" marT="5589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23150317"/>
                  </a:ext>
                </a:extLst>
              </a:tr>
              <a:tr h="2595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각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만</a:t>
                      </a:r>
                    </a:p>
                  </a:txBody>
                  <a:tcPr marL="108000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ko-KR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,126,300</a:t>
                      </a:r>
                    </a:p>
                  </a:txBody>
                  <a:tcPr marL="5589" marR="5589" marT="558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ko-K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,025,500</a:t>
                      </a:r>
                    </a:p>
                  </a:txBody>
                  <a:tcPr marL="5589" marR="5589" marT="5589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1480725"/>
                  </a:ext>
                </a:extLst>
              </a:tr>
              <a:tr h="259599"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0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</a:t>
                      </a:r>
                    </a:p>
                  </a:txBody>
                  <a:tcPr marL="5385" marR="5385" marT="538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각</a:t>
                      </a: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1.5</a:t>
                      </a: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만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ko-KR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88,600</a:t>
                      </a:r>
                    </a:p>
                  </a:txBody>
                  <a:tcPr marL="5589" marR="5589" marT="558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ko-KR" sz="12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96.9%</a:t>
                      </a:r>
                    </a:p>
                  </a:txBody>
                  <a:tcPr marL="5589" marR="5589" marT="5589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ko-KR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17.2%</a:t>
                      </a:r>
                    </a:p>
                  </a:txBody>
                  <a:tcPr marL="5589" marR="5589" marT="5589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ko-KR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263,40</a:t>
                      </a:r>
                      <a:r>
                        <a:rPr lang="en-US" altLang="ko-K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0</a:t>
                      </a:r>
                    </a:p>
                  </a:txBody>
                  <a:tcPr marL="5589" marR="5589" marT="5589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ko-KR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99.0%</a:t>
                      </a:r>
                    </a:p>
                  </a:txBody>
                  <a:tcPr marL="5589" marR="5589" marT="5589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ko-KR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20.3%</a:t>
                      </a:r>
                    </a:p>
                  </a:txBody>
                  <a:tcPr marL="5589" marR="5589" marT="5589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2665814"/>
                  </a:ext>
                </a:extLst>
              </a:tr>
              <a:tr h="2595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각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</a:t>
                      </a: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만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ko-KR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577,200</a:t>
                      </a:r>
                    </a:p>
                  </a:txBody>
                  <a:tcPr marL="5589" marR="5589" marT="558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ko-K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526,800</a:t>
                      </a:r>
                    </a:p>
                  </a:txBody>
                  <a:tcPr marL="5589" marR="5589" marT="5589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44470203"/>
                  </a:ext>
                </a:extLst>
              </a:tr>
              <a:tr h="2595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각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만</a:t>
                      </a:r>
                    </a:p>
                  </a:txBody>
                  <a:tcPr marL="108000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ko-KR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962,000</a:t>
                      </a:r>
                    </a:p>
                  </a:txBody>
                  <a:tcPr marL="5589" marR="5589" marT="558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ko-K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878,000</a:t>
                      </a:r>
                    </a:p>
                  </a:txBody>
                  <a:tcPr marL="5589" marR="5589" marT="5589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9979863"/>
                  </a:ext>
                </a:extLst>
              </a:tr>
              <a:tr h="2595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각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만</a:t>
                      </a:r>
                    </a:p>
                  </a:txBody>
                  <a:tcPr marL="108000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ko-KR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,346,800</a:t>
                      </a:r>
                    </a:p>
                  </a:txBody>
                  <a:tcPr marL="5589" marR="5589" marT="558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ko-K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,229,200</a:t>
                      </a:r>
                    </a:p>
                  </a:txBody>
                  <a:tcPr marL="5589" marR="5589" marT="5589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96262581"/>
                  </a:ext>
                </a:extLst>
              </a:tr>
              <a:tr h="259599"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en-US" altLang="ko-K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0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</a:t>
                      </a:r>
                    </a:p>
                  </a:txBody>
                  <a:tcPr marL="5385" marR="5385" marT="538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각</a:t>
                      </a:r>
                      <a:r>
                        <a:rPr lang="en-US" altLang="ko-KR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1.5</a:t>
                      </a:r>
                      <a:r>
                        <a:rPr lang="ko-KR" alt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만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ko-KR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346,800</a:t>
                      </a:r>
                    </a:p>
                  </a:txBody>
                  <a:tcPr marL="5589" marR="5589" marT="558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ko-KR" sz="1200" b="1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92.4%</a:t>
                      </a:r>
                    </a:p>
                  </a:txBody>
                  <a:tcPr marL="5589" marR="5589" marT="5589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ko-KR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11.8%</a:t>
                      </a:r>
                    </a:p>
                  </a:txBody>
                  <a:tcPr marL="5589" marR="5589" marT="5589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ko-KR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318,900</a:t>
                      </a:r>
                    </a:p>
                  </a:txBody>
                  <a:tcPr marL="5589" marR="5589" marT="5589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ko-KR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96.4%</a:t>
                      </a:r>
                    </a:p>
                  </a:txBody>
                  <a:tcPr marL="5589" marR="5589" marT="5589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altLang="ko-KR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19.7%</a:t>
                      </a:r>
                    </a:p>
                  </a:txBody>
                  <a:tcPr marL="5589" marR="5589" marT="5589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8978421"/>
                  </a:ext>
                </a:extLst>
              </a:tr>
              <a:tr h="2595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각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</a:t>
                      </a:r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만</a:t>
                      </a:r>
                      <a:endParaRPr lang="ko-KR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108000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ko-KR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693,600</a:t>
                      </a:r>
                    </a:p>
                  </a:txBody>
                  <a:tcPr marL="5589" marR="5589" marT="558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ko-K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637,800</a:t>
                      </a:r>
                    </a:p>
                  </a:txBody>
                  <a:tcPr marL="5589" marR="5589" marT="5589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2382284"/>
                  </a:ext>
                </a:extLst>
              </a:tr>
              <a:tr h="2595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각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만</a:t>
                      </a:r>
                    </a:p>
                  </a:txBody>
                  <a:tcPr marL="108000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ko-KR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,156,000</a:t>
                      </a:r>
                    </a:p>
                  </a:txBody>
                  <a:tcPr marL="5589" marR="5589" marT="558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ko-K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,063,000</a:t>
                      </a:r>
                    </a:p>
                  </a:txBody>
                  <a:tcPr marL="5589" marR="5589" marT="5589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5477517"/>
                  </a:ext>
                </a:extLst>
              </a:tr>
              <a:tr h="25959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ko-KR" alt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각 </a:t>
                      </a:r>
                      <a:r>
                        <a:rPr lang="en-US" altLang="ko-K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</a:t>
                      </a:r>
                      <a:r>
                        <a:rPr lang="ko-KR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만</a:t>
                      </a:r>
                    </a:p>
                  </a:txBody>
                  <a:tcPr marL="108000" marR="5385" marT="5385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ko-KR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,618,400</a:t>
                      </a:r>
                    </a:p>
                  </a:txBody>
                  <a:tcPr marL="5589" marR="5589" marT="558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ko-KR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,488,200</a:t>
                      </a:r>
                    </a:p>
                  </a:txBody>
                  <a:tcPr marL="5589" marR="5589" marT="5589" marB="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96171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30838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 defTabSz="778733"/>
            <a:fld id="{2747D207-944B-4363-884F-A02296F6E65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 defTabSz="778733"/>
              <a:t>41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40757" y="128492"/>
            <a:ext cx="7354035" cy="483960"/>
          </a:xfrm>
          <a:prstGeom prst="rect">
            <a:avLst/>
          </a:prstGeom>
          <a:noFill/>
        </p:spPr>
        <p:txBody>
          <a:bodyPr wrap="square" lIns="108000" tIns="108000" bIns="36000" rtlCol="0" anchor="ctr" anchorCtr="0">
            <a:spAutoFit/>
          </a:bodyPr>
          <a:lstStyle/>
          <a:p>
            <a:r>
              <a:rPr lang="ko-KR" altLang="en-US" sz="2200" b="1" dirty="0" err="1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교보</a:t>
            </a:r>
            <a:r>
              <a:rPr lang="ko-KR" altLang="en-US" sz="2200" b="1" dirty="0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 실속종신보험</a:t>
            </a:r>
            <a:r>
              <a:rPr lang="en-US" altLang="ko-KR" sz="2200" b="1" dirty="0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Plus_</a:t>
            </a:r>
            <a:r>
              <a:rPr lang="ko-KR" altLang="en-US" sz="2200" b="1" dirty="0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비과세 효과의 극대화</a:t>
            </a:r>
            <a:endParaRPr lang="en-US" altLang="ko-KR" sz="2200" b="1" dirty="0">
              <a:solidFill>
                <a:srgbClr val="141450"/>
              </a:solidFill>
              <a:latin typeface="교보서체 Bold" panose="020B0600000101010101" pitchFamily="50" charset="-127"/>
              <a:ea typeface="교보서체 Bold" panose="020B0600000101010101" pitchFamily="50" charset="-127"/>
            </a:endParaRPr>
          </a:p>
        </p:txBody>
      </p:sp>
      <p:graphicFrame>
        <p:nvGraphicFramePr>
          <p:cNvPr id="11" name="표 10"/>
          <p:cNvGraphicFramePr>
            <a:graphicFrameLocks noGrp="1"/>
          </p:cNvGraphicFramePr>
          <p:nvPr>
            <p:extLst/>
          </p:nvPr>
        </p:nvGraphicFramePr>
        <p:xfrm>
          <a:off x="277983" y="1005899"/>
          <a:ext cx="5256587" cy="13974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9767">
                  <a:extLst>
                    <a:ext uri="{9D8B030D-6E8A-4147-A177-3AD203B41FA5}">
                      <a16:colId xmlns:a16="http://schemas.microsoft.com/office/drawing/2014/main" val="4208931138"/>
                    </a:ext>
                  </a:extLst>
                </a:gridCol>
                <a:gridCol w="418233">
                  <a:extLst>
                    <a:ext uri="{9D8B030D-6E8A-4147-A177-3AD203B41FA5}">
                      <a16:colId xmlns:a16="http://schemas.microsoft.com/office/drawing/2014/main" val="1509828937"/>
                    </a:ext>
                  </a:extLst>
                </a:gridCol>
                <a:gridCol w="712675">
                  <a:extLst>
                    <a:ext uri="{9D8B030D-6E8A-4147-A177-3AD203B41FA5}">
                      <a16:colId xmlns:a16="http://schemas.microsoft.com/office/drawing/2014/main" val="3619285650"/>
                    </a:ext>
                  </a:extLst>
                </a:gridCol>
                <a:gridCol w="1337120">
                  <a:extLst>
                    <a:ext uri="{9D8B030D-6E8A-4147-A177-3AD203B41FA5}">
                      <a16:colId xmlns:a16="http://schemas.microsoft.com/office/drawing/2014/main" val="91559068"/>
                    </a:ext>
                  </a:extLst>
                </a:gridCol>
                <a:gridCol w="1184396">
                  <a:extLst>
                    <a:ext uri="{9D8B030D-6E8A-4147-A177-3AD203B41FA5}">
                      <a16:colId xmlns:a16="http://schemas.microsoft.com/office/drawing/2014/main" val="1913134348"/>
                    </a:ext>
                  </a:extLst>
                </a:gridCol>
                <a:gridCol w="1184396">
                  <a:extLst>
                    <a:ext uri="{9D8B030D-6E8A-4147-A177-3AD203B41FA5}">
                      <a16:colId xmlns:a16="http://schemas.microsoft.com/office/drawing/2014/main" val="3858608930"/>
                    </a:ext>
                  </a:extLst>
                </a:gridCol>
              </a:tblGrid>
              <a:tr h="411992">
                <a:tc>
                  <a:txBody>
                    <a:bodyPr/>
                    <a:lstStyle/>
                    <a:p>
                      <a:pPr latinLnBrk="1"/>
                      <a:endParaRPr lang="ko-KR" altLang="en-US" sz="1200" b="1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62846" marB="62846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DB67">
                        <a:alpha val="90000"/>
                      </a:srgbClr>
                    </a:solidFill>
                  </a:tcPr>
                </a:tc>
                <a:tc gridSpan="5">
                  <a:txBody>
                    <a:bodyPr/>
                    <a:lstStyle/>
                    <a:p>
                      <a:pPr latinLnBrk="1"/>
                      <a:r>
                        <a:rPr lang="ko-KR" altLang="en-US" sz="1600" b="1" dirty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교보실속종신보험</a:t>
                      </a:r>
                      <a:r>
                        <a:rPr lang="en-US" altLang="ko-KR" sz="1600" b="1" dirty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Plus(</a:t>
                      </a:r>
                      <a:r>
                        <a:rPr lang="ko-KR" altLang="en-US" sz="1600" b="1" dirty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무배당</a:t>
                      </a:r>
                      <a:r>
                        <a:rPr lang="en-US" altLang="ko-KR" sz="1600" b="1" dirty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 </a:t>
                      </a:r>
                      <a:endParaRPr lang="ko-KR" altLang="en-US" sz="1600" b="1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62846" marB="6284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B0A7">
                        <a:alpha val="9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3481914"/>
                  </a:ext>
                </a:extLst>
              </a:tr>
              <a:tr h="52639">
                <a:tc gridSpan="6">
                  <a:txBody>
                    <a:bodyPr/>
                    <a:lstStyle/>
                    <a:p>
                      <a:pPr latinLnBrk="1"/>
                      <a:endParaRPr lang="ko-KR" altLang="en-US" sz="300" b="1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8927921"/>
                  </a:ext>
                </a:extLst>
              </a:tr>
              <a:tr h="364439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피보험자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72000" marB="72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납입기간</a:t>
                      </a:r>
                    </a:p>
                  </a:txBody>
                  <a:tcPr marL="0" marR="0" marT="72000" marB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가입금액</a:t>
                      </a:r>
                    </a:p>
                  </a:txBody>
                  <a:tcPr marL="0" marR="0" marT="72000" marB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보험료</a:t>
                      </a:r>
                    </a:p>
                  </a:txBody>
                  <a:tcPr marL="0" marR="0" marT="72000" marB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총 납입보험료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72000" marB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7981998"/>
                  </a:ext>
                </a:extLst>
              </a:tr>
              <a:tr h="568332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</a:t>
                      </a: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</a:t>
                      </a: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</a:t>
                      </a:r>
                      <a:r>
                        <a:rPr lang="en-US" altLang="ko-KR" sz="1200" b="1" baseline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ko-KR" altLang="en-US" sz="1200" b="1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남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72000" marB="72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주 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,000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</a:t>
                      </a:r>
                      <a:endParaRPr lang="en-US" altLang="ko-KR" sz="12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err="1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특</a:t>
                      </a: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,000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027,200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원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6,284,800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원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8329210"/>
                  </a:ext>
                </a:extLst>
              </a:tr>
            </a:tbl>
          </a:graphicData>
        </a:graphic>
      </p:graphicFrame>
      <p:graphicFrame>
        <p:nvGraphicFramePr>
          <p:cNvPr id="12" name="표 11"/>
          <p:cNvGraphicFramePr>
            <a:graphicFrameLocks noGrp="1"/>
          </p:cNvGraphicFramePr>
          <p:nvPr>
            <p:extLst/>
          </p:nvPr>
        </p:nvGraphicFramePr>
        <p:xfrm>
          <a:off x="277983" y="2535869"/>
          <a:ext cx="5256586" cy="43814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27253">
                  <a:extLst>
                    <a:ext uri="{9D8B030D-6E8A-4147-A177-3AD203B41FA5}">
                      <a16:colId xmlns:a16="http://schemas.microsoft.com/office/drawing/2014/main" val="1387340252"/>
                    </a:ext>
                  </a:extLst>
                </a:gridCol>
                <a:gridCol w="760878">
                  <a:extLst>
                    <a:ext uri="{9D8B030D-6E8A-4147-A177-3AD203B41FA5}">
                      <a16:colId xmlns:a16="http://schemas.microsoft.com/office/drawing/2014/main" val="1776809346"/>
                    </a:ext>
                  </a:extLst>
                </a:gridCol>
                <a:gridCol w="1328596">
                  <a:extLst>
                    <a:ext uri="{9D8B030D-6E8A-4147-A177-3AD203B41FA5}">
                      <a16:colId xmlns:a16="http://schemas.microsoft.com/office/drawing/2014/main" val="3656010400"/>
                    </a:ext>
                  </a:extLst>
                </a:gridCol>
                <a:gridCol w="1433828">
                  <a:extLst>
                    <a:ext uri="{9D8B030D-6E8A-4147-A177-3AD203B41FA5}">
                      <a16:colId xmlns:a16="http://schemas.microsoft.com/office/drawing/2014/main" val="1671512119"/>
                    </a:ext>
                  </a:extLst>
                </a:gridCol>
                <a:gridCol w="1106031">
                  <a:extLst>
                    <a:ext uri="{9D8B030D-6E8A-4147-A177-3AD203B41FA5}">
                      <a16:colId xmlns:a16="http://schemas.microsoft.com/office/drawing/2014/main" val="793672814"/>
                    </a:ext>
                  </a:extLst>
                </a:gridCol>
              </a:tblGrid>
              <a:tr h="371488"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7200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rgbClr val="49759D">
                        <a:alpha val="89804"/>
                      </a:srgb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indent="0" algn="l" defTabSz="811355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6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해지환급금</a:t>
                      </a:r>
                      <a:r>
                        <a:rPr lang="ko-KR" altLang="en-US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ko-KR" altLang="en-US" sz="16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예시표</a:t>
                      </a:r>
                      <a:r>
                        <a:rPr lang="en-US" altLang="ko-KR" sz="12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en-US" altLang="ko-KR" sz="1000" b="1" dirty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000" b="1" dirty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단위 </a:t>
                      </a:r>
                      <a:r>
                        <a:rPr lang="en-US" altLang="ko-KR" sz="1000" b="1" dirty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: </a:t>
                      </a:r>
                      <a:r>
                        <a:rPr lang="ko-KR" altLang="en-US" sz="1000" b="1" dirty="0" smtClean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원</a:t>
                      </a:r>
                      <a:r>
                        <a:rPr lang="en-US" altLang="ko-KR" sz="1000" b="1" dirty="0" smtClean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  <a:endParaRPr lang="ko-KR" altLang="en-US" sz="1000" b="1" dirty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72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rgbClr val="AEBAB3">
                        <a:alpha val="9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4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4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4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15792926"/>
                  </a:ext>
                </a:extLst>
              </a:tr>
              <a:tr h="83606">
                <a:tc gridSpan="5">
                  <a:txBody>
                    <a:bodyPr/>
                    <a:lstStyle/>
                    <a:p>
                      <a:pPr algn="ctr" fontAlgn="ctr"/>
                      <a:endParaRPr lang="ko-KR" altLang="en-US" sz="300" b="1" i="0" u="none" strike="noStrike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7200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4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4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4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717133199"/>
                  </a:ext>
                </a:extLst>
              </a:tr>
              <a:tr h="40957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경과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u="none" strike="noStrike" dirty="0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연령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u="none" strike="noStrike" dirty="0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납입보험료</a:t>
                      </a:r>
                      <a:endParaRPr lang="en-US" altLang="ko-KR" sz="1200" b="1" i="0" u="none" strike="noStrike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u="none" strike="noStrike" dirty="0" err="1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해지환급금</a:t>
                      </a:r>
                      <a:endParaRPr lang="en-US" altLang="ko-KR" sz="1200" b="1" u="none" strike="noStrike" dirty="0"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u="none" strike="noStrike" dirty="0" err="1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환급률</a:t>
                      </a:r>
                      <a:endParaRPr lang="en-US" altLang="ko-KR" sz="1200" b="1" i="0" u="none" strike="noStrike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8996521"/>
                  </a:ext>
                </a:extLst>
              </a:tr>
              <a:tr h="43755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</a:t>
                      </a:r>
                      <a:r>
                        <a:rPr lang="ko-KR" altLang="en-US" sz="1200" b="0" dirty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</a:t>
                      </a:r>
                      <a:r>
                        <a:rPr lang="en-US" altLang="ko-KR" sz="1200" b="0" dirty="0" smtClean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</a:t>
                      </a:r>
                      <a:r>
                        <a:rPr lang="ko-KR" altLang="en-US" sz="1200" b="0" dirty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en-US" altLang="ko-KR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uLnTx/>
                          <a:uFillTx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86,284,800</a:t>
                      </a:r>
                      <a:endParaRPr lang="en-US" altLang="ko-KR" sz="1200" b="0" i="0" u="none" strike="noStrike" dirty="0">
                        <a:solidFill>
                          <a:srgbClr val="0000FF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1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5,902,023</a:t>
                      </a:r>
                      <a:endParaRPr lang="en-US" altLang="ko-KR" sz="1200" b="1" i="0" u="none" strike="noStrike" dirty="0">
                        <a:solidFill>
                          <a:srgbClr val="0000FF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9.6%</a:t>
                      </a:r>
                      <a:endParaRPr lang="en-US" altLang="ko-KR" sz="1200" b="1" i="0" u="none" strike="noStrike" dirty="0">
                        <a:solidFill>
                          <a:srgbClr val="FF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8958754"/>
                  </a:ext>
                </a:extLst>
              </a:tr>
              <a:tr h="43755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en-US" altLang="ko-KR" sz="1200" b="1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86,284,800</a:t>
                      </a: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b="1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7,775,927</a:t>
                      </a:r>
                      <a:endParaRPr lang="ko-KR" altLang="en-US" sz="1200" b="1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b="1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1.7%</a:t>
                      </a:r>
                      <a:endParaRPr lang="ko-KR" altLang="en-US" sz="1200" b="1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8308003"/>
                  </a:ext>
                </a:extLst>
              </a:tr>
              <a:tr h="43755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en-US" altLang="ko-KR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86,284,800</a:t>
                      </a: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b="1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9,676,841</a:t>
                      </a:r>
                      <a:endParaRPr lang="ko-KR" altLang="en-US" sz="1200" b="1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b="1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3.9%</a:t>
                      </a:r>
                      <a:endParaRPr lang="ko-KR" altLang="en-US" sz="1200" b="1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73544389"/>
                  </a:ext>
                </a:extLst>
              </a:tr>
              <a:tr h="43755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</a:t>
                      </a:r>
                      <a:r>
                        <a:rPr lang="ko-KR" altLang="en-US" sz="1200" b="0" dirty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</a:t>
                      </a:r>
                      <a:r>
                        <a:rPr lang="en-US" altLang="ko-KR" sz="1200" b="0" dirty="0" smtClean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</a:t>
                      </a:r>
                      <a:r>
                        <a:rPr lang="ko-KR" altLang="en-US" sz="1200" b="0" dirty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en-US" altLang="ko-KR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uLnTx/>
                          <a:uFillTx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86,284,800</a:t>
                      </a: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b="1" dirty="0" smtClean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4,445,783</a:t>
                      </a:r>
                      <a:endParaRPr lang="ko-KR" altLang="en-US" sz="1200" b="1" dirty="0">
                        <a:solidFill>
                          <a:srgbClr val="0000FF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b="1" dirty="0" smtClean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21.0%</a:t>
                      </a:r>
                      <a:endParaRPr lang="ko-KR" altLang="en-US" sz="1200" b="1" dirty="0">
                        <a:solidFill>
                          <a:srgbClr val="FF0000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789679"/>
                  </a:ext>
                </a:extLst>
              </a:tr>
              <a:tr h="43755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5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en-US" altLang="ko-KR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86,284,800</a:t>
                      </a: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b="1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16,645,452</a:t>
                      </a:r>
                      <a:endParaRPr lang="ko-KR" altLang="en-US" sz="1200" b="1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b="1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35.2%</a:t>
                      </a:r>
                      <a:endParaRPr lang="ko-KR" altLang="en-US" sz="1200" b="1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9166259"/>
                  </a:ext>
                </a:extLst>
              </a:tr>
              <a:tr h="43755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en-US" altLang="ko-KR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86,284,800</a:t>
                      </a: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b="1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28,087,757</a:t>
                      </a:r>
                      <a:endParaRPr lang="ko-KR" altLang="en-US" sz="1200" b="1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b="1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48.4%</a:t>
                      </a:r>
                      <a:endParaRPr lang="ko-KR" altLang="en-US" sz="1200" b="1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9472134"/>
                  </a:ext>
                </a:extLst>
              </a:tr>
              <a:tr h="43755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5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en-US" altLang="ko-KR" sz="1200" b="1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86,284,800</a:t>
                      </a: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b="1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40,763,367</a:t>
                      </a:r>
                      <a:endParaRPr lang="ko-KR" altLang="en-US" sz="1200" b="1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b="1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63.1%</a:t>
                      </a:r>
                      <a:endParaRPr lang="ko-KR" altLang="en-US" sz="1200" b="1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4349787"/>
                  </a:ext>
                </a:extLst>
              </a:tr>
              <a:tr h="43755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0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en-US" altLang="ko-KR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86,284,800</a:t>
                      </a: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b="1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55,041,085</a:t>
                      </a:r>
                      <a:endParaRPr lang="ko-KR" altLang="en-US" sz="1200" b="1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b="1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79.7%</a:t>
                      </a:r>
                      <a:endParaRPr lang="ko-KR" altLang="en-US" sz="1200" b="1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9251458"/>
                  </a:ext>
                </a:extLst>
              </a:tr>
            </a:tbl>
          </a:graphicData>
        </a:graphic>
      </p:graphicFrame>
      <p:sp>
        <p:nvSpPr>
          <p:cNvPr id="14" name="모서리가 둥근 직사각형 13"/>
          <p:cNvSpPr/>
          <p:nvPr/>
        </p:nvSpPr>
        <p:spPr>
          <a:xfrm>
            <a:off x="5695975" y="1035149"/>
            <a:ext cx="4448772" cy="2552302"/>
          </a:xfrm>
          <a:prstGeom prst="roundRect">
            <a:avLst>
              <a:gd name="adj" fmla="val 1403"/>
            </a:avLst>
          </a:prstGeom>
          <a:solidFill>
            <a:srgbClr val="FFFFCC"/>
          </a:solidFill>
          <a:ln w="12700">
            <a:solidFill>
              <a:schemeClr val="tx1"/>
            </a:solidFill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0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40</a:t>
            </a:r>
            <a:r>
              <a:rPr lang="ko-KR" altLang="en-US" sz="20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세 남자</a:t>
            </a:r>
            <a:r>
              <a:rPr lang="en-US" altLang="ko-KR" sz="20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20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월 </a:t>
            </a:r>
            <a:r>
              <a:rPr lang="en-US" altLang="ko-KR" sz="20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100</a:t>
            </a:r>
            <a:r>
              <a:rPr lang="ko-KR" altLang="en-US" sz="20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만원 </a:t>
            </a:r>
            <a:r>
              <a:rPr lang="en-US" altLang="ko-KR" sz="20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10</a:t>
            </a:r>
            <a:r>
              <a:rPr lang="ko-KR" altLang="en-US" sz="20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년 비과세</a:t>
            </a:r>
            <a:endParaRPr lang="en-US" altLang="ko-KR" sz="2000" dirty="0">
              <a:ln>
                <a:solidFill>
                  <a:schemeClr val="tx1">
                    <a:alpha val="0"/>
                  </a:schemeClr>
                </a:solidFill>
              </a:ln>
              <a:solidFill>
                <a:srgbClr val="0000FF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endParaRPr lang="en-US" altLang="ko-KR" sz="1800" dirty="0">
              <a:ln>
                <a:solidFill>
                  <a:schemeClr val="tx1">
                    <a:alpha val="0"/>
                  </a:schemeClr>
                </a:solidFill>
              </a:ln>
              <a:solidFill>
                <a:srgbClr val="FF0000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8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① </a:t>
            </a:r>
            <a:r>
              <a:rPr lang="ko-KR" altLang="en-US" sz="1800" dirty="0" err="1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해지환급금</a:t>
            </a:r>
            <a:r>
              <a:rPr lang="ko-KR" altLang="en-US" sz="18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80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: </a:t>
            </a:r>
            <a:r>
              <a:rPr lang="en-US" altLang="ko-KR" sz="18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104,445,783</a:t>
            </a:r>
            <a:r>
              <a:rPr lang="ko-KR" altLang="en-US" sz="18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원 </a:t>
            </a:r>
            <a:r>
              <a:rPr lang="en-US" altLang="ko-KR" sz="18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(121%)</a:t>
            </a:r>
            <a:endParaRPr lang="en-US" altLang="ko-KR" sz="1800" dirty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8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② 기납입보험료 </a:t>
            </a:r>
            <a:r>
              <a:rPr lang="en-US" altLang="ko-KR" sz="180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: </a:t>
            </a:r>
            <a:r>
              <a:rPr lang="en-US" altLang="ko-KR" sz="18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86,284,800</a:t>
            </a:r>
            <a:r>
              <a:rPr lang="ko-KR" altLang="en-US" sz="18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원</a:t>
            </a:r>
            <a:endParaRPr lang="en-US" altLang="ko-KR" sz="1800" dirty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8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③ 총 이자 </a:t>
            </a:r>
            <a:r>
              <a:rPr lang="en-US" altLang="ko-KR" sz="18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: </a:t>
            </a:r>
            <a:r>
              <a:rPr lang="ko-KR" altLang="en-US" sz="18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① </a:t>
            </a:r>
            <a:r>
              <a:rPr lang="en-US" altLang="ko-KR" sz="18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– </a:t>
            </a:r>
            <a:r>
              <a:rPr lang="ko-KR" altLang="en-US" sz="18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② </a:t>
            </a:r>
            <a:r>
              <a:rPr lang="en-US" altLang="ko-KR" sz="18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= </a:t>
            </a:r>
            <a:r>
              <a:rPr lang="en-US" altLang="ko-KR" sz="18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rgbClr val="FF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18,160</a:t>
            </a:r>
            <a:r>
              <a:rPr lang="ko-KR" altLang="en-US" sz="18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rgbClr val="FF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천원</a:t>
            </a:r>
            <a:endParaRPr lang="en-US" altLang="ko-KR" sz="1800" dirty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8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④ </a:t>
            </a:r>
            <a:r>
              <a:rPr lang="en-US" altLang="ko-KR" sz="18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1</a:t>
            </a:r>
            <a:r>
              <a:rPr lang="ko-KR" altLang="en-US" sz="18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년 이자 </a:t>
            </a:r>
            <a:r>
              <a:rPr lang="en-US" altLang="ko-KR" sz="18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: </a:t>
            </a:r>
            <a:r>
              <a:rPr lang="ko-KR" altLang="en-US" sz="18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③ </a:t>
            </a:r>
            <a:r>
              <a:rPr lang="en-US" altLang="ko-KR" sz="18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÷ 10</a:t>
            </a:r>
            <a:r>
              <a:rPr lang="ko-KR" altLang="en-US" sz="18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년</a:t>
            </a:r>
            <a:r>
              <a:rPr lang="ko-KR" altLang="en-US" sz="18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8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= </a:t>
            </a:r>
            <a:r>
              <a:rPr lang="en-US" altLang="ko-KR" sz="20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rgbClr val="FF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181</a:t>
            </a:r>
            <a:r>
              <a:rPr lang="ko-KR" altLang="en-US" sz="20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rgbClr val="FF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만원</a:t>
            </a:r>
            <a:r>
              <a:rPr lang="en-US" altLang="ko-KR" sz="14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rgbClr val="FF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(</a:t>
            </a:r>
            <a:r>
              <a:rPr lang="ko-KR" altLang="en-US" sz="1400" dirty="0" err="1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rgbClr val="FF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세후</a:t>
            </a:r>
            <a:r>
              <a:rPr lang="en-US" altLang="ko-KR" sz="14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rgbClr val="FF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)</a:t>
            </a:r>
            <a:endParaRPr lang="en-US" altLang="ko-KR" sz="2000" dirty="0" smtClean="0">
              <a:ln>
                <a:solidFill>
                  <a:schemeClr val="tx1">
                    <a:alpha val="0"/>
                  </a:schemeClr>
                </a:solidFill>
              </a:ln>
              <a:solidFill>
                <a:srgbClr val="FF0000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5686144" y="6369689"/>
            <a:ext cx="4448771" cy="547644"/>
          </a:xfrm>
          <a:prstGeom prst="rect">
            <a:avLst/>
          </a:prstGeom>
          <a:solidFill>
            <a:srgbClr val="002060"/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anchor="ctr" anchorCtr="0">
            <a:noAutofit/>
          </a:bodyPr>
          <a:lstStyle/>
          <a:p>
            <a:pPr marL="0" marR="0" lvl="0" indent="0" algn="ctr" defTabSz="4385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은행 </a:t>
            </a:r>
            <a:r>
              <a:rPr kumimoji="0" lang="en-US" altLang="ko-KR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1</a:t>
            </a:r>
            <a:r>
              <a: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년 </a:t>
            </a:r>
            <a:r>
              <a:rPr kumimoji="0" lang="ko-KR" altLang="en-US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적금이율</a:t>
            </a:r>
            <a:r>
              <a:rPr kumimoji="0" lang="ko-KR" alt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kumimoji="0" lang="en-US" altLang="ko-KR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28% = 182</a:t>
            </a:r>
            <a:r>
              <a:rPr kumimoji="0" lang="ko-KR" alt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만원</a:t>
            </a:r>
            <a:r>
              <a:rPr kumimoji="0" lang="en-US" altLang="ko-KR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(</a:t>
            </a:r>
            <a:r>
              <a:rPr lang="ko-KR" altLang="en-US" sz="1050" dirty="0" err="1" smtClean="0">
                <a:solidFill>
                  <a:srgbClr val="FFFF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세전</a:t>
            </a:r>
            <a:r>
              <a:rPr kumimoji="0" lang="en-US" altLang="ko-KR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)</a:t>
            </a: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pic>
        <p:nvPicPr>
          <p:cNvPr id="18" name="그림 17" descr="화면 캡처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5901" y="3771453"/>
            <a:ext cx="4399014" cy="2520280"/>
          </a:xfrm>
          <a:prstGeom prst="rect">
            <a:avLst/>
          </a:prstGeom>
          <a:ln w="127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9" name="직사각형 18"/>
          <p:cNvSpPr/>
          <p:nvPr/>
        </p:nvSpPr>
        <p:spPr>
          <a:xfrm>
            <a:off x="6560071" y="5787677"/>
            <a:ext cx="2866733" cy="19834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29554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 defTabSz="778733"/>
            <a:fld id="{2747D207-944B-4363-884F-A02296F6E65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 defTabSz="778733"/>
              <a:t>42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40757" y="128492"/>
            <a:ext cx="7354035" cy="483960"/>
          </a:xfrm>
          <a:prstGeom prst="rect">
            <a:avLst/>
          </a:prstGeom>
          <a:noFill/>
        </p:spPr>
        <p:txBody>
          <a:bodyPr wrap="square" lIns="108000" tIns="108000" bIns="36000" rtlCol="0" anchor="ctr" anchorCtr="0">
            <a:spAutoFit/>
          </a:bodyPr>
          <a:lstStyle/>
          <a:p>
            <a:r>
              <a:rPr lang="ko-KR" altLang="en-US" sz="2200" b="1" dirty="0" err="1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교보</a:t>
            </a:r>
            <a:r>
              <a:rPr lang="ko-KR" altLang="en-US" sz="2200" b="1" dirty="0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 실속종신보험</a:t>
            </a:r>
            <a:r>
              <a:rPr lang="en-US" altLang="ko-KR" sz="2200" b="1" dirty="0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Plus_</a:t>
            </a:r>
            <a:r>
              <a:rPr lang="ko-KR" altLang="en-US" sz="2200" b="1" dirty="0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비과세 효과의 극대화</a:t>
            </a:r>
            <a:endParaRPr lang="en-US" altLang="ko-KR" sz="2200" b="1" dirty="0">
              <a:solidFill>
                <a:srgbClr val="141450"/>
              </a:solidFill>
              <a:latin typeface="교보서체 Bold" panose="020B0600000101010101" pitchFamily="50" charset="-127"/>
              <a:ea typeface="교보서체 Bold" panose="020B0600000101010101" pitchFamily="50" charset="-127"/>
            </a:endParaRPr>
          </a:p>
        </p:txBody>
      </p:sp>
      <p:graphicFrame>
        <p:nvGraphicFramePr>
          <p:cNvPr id="11" name="표 10"/>
          <p:cNvGraphicFramePr>
            <a:graphicFrameLocks noGrp="1"/>
          </p:cNvGraphicFramePr>
          <p:nvPr>
            <p:extLst/>
          </p:nvPr>
        </p:nvGraphicFramePr>
        <p:xfrm>
          <a:off x="277983" y="1005899"/>
          <a:ext cx="5256587" cy="13974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9767">
                  <a:extLst>
                    <a:ext uri="{9D8B030D-6E8A-4147-A177-3AD203B41FA5}">
                      <a16:colId xmlns:a16="http://schemas.microsoft.com/office/drawing/2014/main" val="4208931138"/>
                    </a:ext>
                  </a:extLst>
                </a:gridCol>
                <a:gridCol w="418233">
                  <a:extLst>
                    <a:ext uri="{9D8B030D-6E8A-4147-A177-3AD203B41FA5}">
                      <a16:colId xmlns:a16="http://schemas.microsoft.com/office/drawing/2014/main" val="1509828937"/>
                    </a:ext>
                  </a:extLst>
                </a:gridCol>
                <a:gridCol w="712675">
                  <a:extLst>
                    <a:ext uri="{9D8B030D-6E8A-4147-A177-3AD203B41FA5}">
                      <a16:colId xmlns:a16="http://schemas.microsoft.com/office/drawing/2014/main" val="3619285650"/>
                    </a:ext>
                  </a:extLst>
                </a:gridCol>
                <a:gridCol w="1337120">
                  <a:extLst>
                    <a:ext uri="{9D8B030D-6E8A-4147-A177-3AD203B41FA5}">
                      <a16:colId xmlns:a16="http://schemas.microsoft.com/office/drawing/2014/main" val="91559068"/>
                    </a:ext>
                  </a:extLst>
                </a:gridCol>
                <a:gridCol w="1184396">
                  <a:extLst>
                    <a:ext uri="{9D8B030D-6E8A-4147-A177-3AD203B41FA5}">
                      <a16:colId xmlns:a16="http://schemas.microsoft.com/office/drawing/2014/main" val="1913134348"/>
                    </a:ext>
                  </a:extLst>
                </a:gridCol>
                <a:gridCol w="1184396">
                  <a:extLst>
                    <a:ext uri="{9D8B030D-6E8A-4147-A177-3AD203B41FA5}">
                      <a16:colId xmlns:a16="http://schemas.microsoft.com/office/drawing/2014/main" val="3858608930"/>
                    </a:ext>
                  </a:extLst>
                </a:gridCol>
              </a:tblGrid>
              <a:tr h="411992">
                <a:tc>
                  <a:txBody>
                    <a:bodyPr/>
                    <a:lstStyle/>
                    <a:p>
                      <a:pPr latinLnBrk="1"/>
                      <a:endParaRPr lang="ko-KR" altLang="en-US" sz="1200" b="1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62846" marB="62846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DB67">
                        <a:alpha val="90000"/>
                      </a:srgbClr>
                    </a:solidFill>
                  </a:tcPr>
                </a:tc>
                <a:tc gridSpan="5">
                  <a:txBody>
                    <a:bodyPr/>
                    <a:lstStyle/>
                    <a:p>
                      <a:pPr latinLnBrk="1"/>
                      <a:r>
                        <a:rPr lang="ko-KR" altLang="en-US" sz="1600" b="1" dirty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교보실속종신보험</a:t>
                      </a:r>
                      <a:r>
                        <a:rPr lang="en-US" altLang="ko-KR" sz="1600" b="1" dirty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Plus(</a:t>
                      </a:r>
                      <a:r>
                        <a:rPr lang="ko-KR" altLang="en-US" sz="1600" b="1" dirty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무배당</a:t>
                      </a:r>
                      <a:r>
                        <a:rPr lang="en-US" altLang="ko-KR" sz="1600" b="1" dirty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 </a:t>
                      </a:r>
                      <a:endParaRPr lang="ko-KR" altLang="en-US" sz="1600" b="1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62846" marB="6284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B0A7">
                        <a:alpha val="9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3481914"/>
                  </a:ext>
                </a:extLst>
              </a:tr>
              <a:tr h="52639">
                <a:tc gridSpan="6">
                  <a:txBody>
                    <a:bodyPr/>
                    <a:lstStyle/>
                    <a:p>
                      <a:pPr latinLnBrk="1"/>
                      <a:endParaRPr lang="ko-KR" altLang="en-US" sz="300" b="1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8927921"/>
                  </a:ext>
                </a:extLst>
              </a:tr>
              <a:tr h="364439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피보험자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72000" marB="72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납입기간</a:t>
                      </a:r>
                    </a:p>
                  </a:txBody>
                  <a:tcPr marL="0" marR="0" marT="72000" marB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가입금액</a:t>
                      </a:r>
                    </a:p>
                  </a:txBody>
                  <a:tcPr marL="0" marR="0" marT="72000" marB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보험료</a:t>
                      </a:r>
                    </a:p>
                  </a:txBody>
                  <a:tcPr marL="0" marR="0" marT="72000" marB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총 납입보험료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72000" marB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7981998"/>
                  </a:ext>
                </a:extLst>
              </a:tr>
              <a:tr h="568332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</a:t>
                      </a: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</a:t>
                      </a: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</a:t>
                      </a:r>
                      <a:r>
                        <a:rPr lang="en-US" altLang="ko-KR" sz="1200" b="1" baseline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ko-KR" altLang="en-US" sz="1200" b="1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남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72000" marB="72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주 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,000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</a:t>
                      </a:r>
                      <a:endParaRPr lang="en-US" altLang="ko-KR" sz="12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err="1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특</a:t>
                      </a: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,000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027,200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원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6,284,800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원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0" marR="0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8329210"/>
                  </a:ext>
                </a:extLst>
              </a:tr>
            </a:tbl>
          </a:graphicData>
        </a:graphic>
      </p:graphicFrame>
      <p:graphicFrame>
        <p:nvGraphicFramePr>
          <p:cNvPr id="12" name="표 11"/>
          <p:cNvGraphicFramePr>
            <a:graphicFrameLocks noGrp="1"/>
          </p:cNvGraphicFramePr>
          <p:nvPr>
            <p:extLst/>
          </p:nvPr>
        </p:nvGraphicFramePr>
        <p:xfrm>
          <a:off x="277983" y="2535869"/>
          <a:ext cx="5256586" cy="43814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27253">
                  <a:extLst>
                    <a:ext uri="{9D8B030D-6E8A-4147-A177-3AD203B41FA5}">
                      <a16:colId xmlns:a16="http://schemas.microsoft.com/office/drawing/2014/main" val="1387340252"/>
                    </a:ext>
                  </a:extLst>
                </a:gridCol>
                <a:gridCol w="760878">
                  <a:extLst>
                    <a:ext uri="{9D8B030D-6E8A-4147-A177-3AD203B41FA5}">
                      <a16:colId xmlns:a16="http://schemas.microsoft.com/office/drawing/2014/main" val="1776809346"/>
                    </a:ext>
                  </a:extLst>
                </a:gridCol>
                <a:gridCol w="1328596">
                  <a:extLst>
                    <a:ext uri="{9D8B030D-6E8A-4147-A177-3AD203B41FA5}">
                      <a16:colId xmlns:a16="http://schemas.microsoft.com/office/drawing/2014/main" val="3656010400"/>
                    </a:ext>
                  </a:extLst>
                </a:gridCol>
                <a:gridCol w="1433828">
                  <a:extLst>
                    <a:ext uri="{9D8B030D-6E8A-4147-A177-3AD203B41FA5}">
                      <a16:colId xmlns:a16="http://schemas.microsoft.com/office/drawing/2014/main" val="1671512119"/>
                    </a:ext>
                  </a:extLst>
                </a:gridCol>
                <a:gridCol w="1106031">
                  <a:extLst>
                    <a:ext uri="{9D8B030D-6E8A-4147-A177-3AD203B41FA5}">
                      <a16:colId xmlns:a16="http://schemas.microsoft.com/office/drawing/2014/main" val="793672814"/>
                    </a:ext>
                  </a:extLst>
                </a:gridCol>
              </a:tblGrid>
              <a:tr h="371488">
                <a:tc>
                  <a:txBody>
                    <a:bodyPr/>
                    <a:lstStyle/>
                    <a:p>
                      <a:pPr algn="ctr" fontAlgn="ctr"/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7200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rgbClr val="49759D">
                        <a:alpha val="89804"/>
                      </a:srgb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indent="0" algn="l" defTabSz="811355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6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해지환급금</a:t>
                      </a:r>
                      <a:r>
                        <a:rPr lang="ko-KR" altLang="en-US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ko-KR" altLang="en-US" sz="16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예시표</a:t>
                      </a:r>
                      <a:r>
                        <a:rPr lang="en-US" altLang="ko-KR" sz="12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en-US" altLang="ko-KR" sz="1000" b="1" dirty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000" b="1" dirty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단위 </a:t>
                      </a:r>
                      <a:r>
                        <a:rPr lang="en-US" altLang="ko-KR" sz="1000" b="1" dirty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: </a:t>
                      </a:r>
                      <a:r>
                        <a:rPr lang="ko-KR" altLang="en-US" sz="1000" b="1" dirty="0" smtClean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원</a:t>
                      </a:r>
                      <a:r>
                        <a:rPr lang="en-US" altLang="ko-KR" sz="1000" b="1" dirty="0" smtClean="0">
                          <a:solidFill>
                            <a:schemeClr val="bg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  <a:endParaRPr lang="ko-KR" altLang="en-US" sz="1000" b="1" dirty="0">
                        <a:solidFill>
                          <a:schemeClr val="bg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72000" marT="72000" marB="72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rgbClr val="AEBAB3">
                        <a:alpha val="9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4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4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4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15792926"/>
                  </a:ext>
                </a:extLst>
              </a:tr>
              <a:tr h="83606">
                <a:tc gridSpan="5">
                  <a:txBody>
                    <a:bodyPr/>
                    <a:lstStyle/>
                    <a:p>
                      <a:pPr algn="ctr" fontAlgn="ctr"/>
                      <a:endParaRPr lang="ko-KR" altLang="en-US" sz="300" b="1" i="0" u="none" strike="noStrike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2000" marR="72000" marT="0" marB="0" anchor="ctr"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ko-KR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4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4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ko-KR" sz="14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717133199"/>
                  </a:ext>
                </a:extLst>
              </a:tr>
              <a:tr h="409578"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i="0" u="none" strike="noStrike" dirty="0">
                          <a:solidFill>
                            <a:schemeClr val="dk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경과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u="none" strike="noStrike" dirty="0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연령</a:t>
                      </a:r>
                      <a:endParaRPr lang="ko-KR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u="none" strike="noStrike" dirty="0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납입보험료</a:t>
                      </a:r>
                      <a:endParaRPr lang="en-US" altLang="ko-KR" sz="1200" b="1" i="0" u="none" strike="noStrike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u="none" strike="noStrike" dirty="0" err="1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해지환급금</a:t>
                      </a:r>
                      <a:endParaRPr lang="en-US" altLang="ko-KR" sz="1200" b="1" u="none" strike="noStrike" dirty="0"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200" b="1" u="none" strike="noStrike" dirty="0" err="1"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환급률</a:t>
                      </a:r>
                      <a:endParaRPr lang="en-US" altLang="ko-KR" sz="1200" b="1" i="0" u="none" strike="noStrike" dirty="0">
                        <a:solidFill>
                          <a:srgbClr val="000000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36000" marR="36000" marT="18000" marB="18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8996521"/>
                  </a:ext>
                </a:extLst>
              </a:tr>
              <a:tr h="43755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en-US" altLang="ko-KR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86,284,800</a:t>
                      </a:r>
                      <a:endParaRPr lang="en-US" altLang="ko-KR" sz="1200" b="0" i="0" u="none" strike="noStrike" dirty="0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5,902,023</a:t>
                      </a:r>
                      <a:endParaRPr lang="en-US" altLang="ko-KR" sz="1200" b="1" i="0" u="none" strike="noStrike" dirty="0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ko-KR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9.6%</a:t>
                      </a:r>
                      <a:endParaRPr lang="en-US" altLang="ko-KR" sz="1200" b="1" i="0" u="none" strike="noStrike" dirty="0"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8958754"/>
                  </a:ext>
                </a:extLst>
              </a:tr>
              <a:tr h="43755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en-US" altLang="ko-KR" sz="1200" b="1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86,284,800</a:t>
                      </a: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b="1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7,775,927</a:t>
                      </a:r>
                      <a:endParaRPr lang="ko-KR" altLang="en-US" sz="1200" b="1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b="1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1.7%</a:t>
                      </a:r>
                      <a:endParaRPr lang="ko-KR" altLang="en-US" sz="1200" b="1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8308003"/>
                  </a:ext>
                </a:extLst>
              </a:tr>
              <a:tr h="43755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en-US" altLang="ko-KR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86,284,800</a:t>
                      </a: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b="1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9,676,841</a:t>
                      </a:r>
                      <a:endParaRPr lang="ko-KR" altLang="en-US" sz="1200" b="1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b="1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3.9%</a:t>
                      </a:r>
                      <a:endParaRPr lang="ko-KR" altLang="en-US" sz="1200" b="1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73544389"/>
                  </a:ext>
                </a:extLst>
              </a:tr>
              <a:tr h="43755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en-US" altLang="ko-KR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86,284,800</a:t>
                      </a: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4,445,783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b="1" dirty="0" smtClean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21.0%</a:t>
                      </a:r>
                      <a:endParaRPr lang="ko-KR" altLang="en-US" sz="1200" b="1" dirty="0">
                        <a:solidFill>
                          <a:srgbClr val="FF0000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2789679"/>
                  </a:ext>
                </a:extLst>
              </a:tr>
              <a:tr h="43755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5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en-US" altLang="ko-KR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86,284,800</a:t>
                      </a: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b="1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16,645,452</a:t>
                      </a:r>
                      <a:endParaRPr lang="ko-KR" altLang="en-US" sz="1200" b="1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b="1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35.2%</a:t>
                      </a:r>
                      <a:endParaRPr lang="ko-KR" altLang="en-US" sz="1200" b="1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9166259"/>
                  </a:ext>
                </a:extLst>
              </a:tr>
              <a:tr h="43755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en-US" altLang="ko-KR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86,284,800</a:t>
                      </a: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28,087,757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b="1" dirty="0" smtClean="0">
                          <a:solidFill>
                            <a:srgbClr val="0000FF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48.4%</a:t>
                      </a:r>
                      <a:endParaRPr lang="ko-KR" altLang="en-US" sz="1200" b="1" dirty="0">
                        <a:solidFill>
                          <a:srgbClr val="0000FF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9472134"/>
                  </a:ext>
                </a:extLst>
              </a:tr>
              <a:tr h="43755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5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en-US" altLang="ko-KR" sz="1200" b="1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86,284,800</a:t>
                      </a: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b="1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40,763,367</a:t>
                      </a:r>
                      <a:endParaRPr lang="ko-KR" altLang="en-US" sz="1200" b="1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b="1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63.1%</a:t>
                      </a:r>
                      <a:endParaRPr lang="ko-KR" altLang="en-US" sz="1200" b="1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4349787"/>
                  </a:ext>
                </a:extLst>
              </a:tr>
              <a:tr h="437555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0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</a:t>
                      </a:r>
                      <a:r>
                        <a:rPr lang="ko-KR" altLang="en-US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en-US" altLang="ko-KR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86,284,800</a:t>
                      </a: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b="1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55,041,085</a:t>
                      </a:r>
                      <a:endParaRPr lang="ko-KR" altLang="en-US" sz="1200" b="1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ko-KR" sz="1200" b="1" dirty="0" smtClean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79.7%</a:t>
                      </a:r>
                      <a:endParaRPr lang="ko-KR" altLang="en-US" sz="1200" b="1" dirty="0"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620" marR="108000" marT="7620" marB="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9251458"/>
                  </a:ext>
                </a:extLst>
              </a:tr>
            </a:tbl>
          </a:graphicData>
        </a:graphic>
      </p:graphicFrame>
      <p:sp>
        <p:nvSpPr>
          <p:cNvPr id="14" name="모서리가 둥근 직사각형 13"/>
          <p:cNvSpPr/>
          <p:nvPr/>
        </p:nvSpPr>
        <p:spPr>
          <a:xfrm>
            <a:off x="5695975" y="1035149"/>
            <a:ext cx="4448772" cy="2552302"/>
          </a:xfrm>
          <a:prstGeom prst="roundRect">
            <a:avLst>
              <a:gd name="adj" fmla="val 1403"/>
            </a:avLst>
          </a:prstGeom>
          <a:solidFill>
            <a:srgbClr val="FFFFCC"/>
          </a:solidFill>
          <a:ln w="12700">
            <a:solidFill>
              <a:schemeClr val="tx1"/>
            </a:solidFill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20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40</a:t>
            </a:r>
            <a:r>
              <a:rPr lang="ko-KR" altLang="en-US" sz="20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세 남자</a:t>
            </a:r>
            <a:r>
              <a:rPr lang="en-US" altLang="ko-KR" sz="20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20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월 </a:t>
            </a:r>
            <a:r>
              <a:rPr lang="en-US" altLang="ko-KR" sz="20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100</a:t>
            </a:r>
            <a:r>
              <a:rPr lang="ko-KR" altLang="en-US" sz="20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만원 </a:t>
            </a:r>
            <a:r>
              <a:rPr lang="en-US" altLang="ko-KR" sz="20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10</a:t>
            </a:r>
            <a:r>
              <a:rPr lang="ko-KR" altLang="en-US" sz="20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년 비과세</a:t>
            </a:r>
            <a:endParaRPr lang="en-US" altLang="ko-KR" sz="2000" dirty="0">
              <a:ln>
                <a:solidFill>
                  <a:schemeClr val="tx1">
                    <a:alpha val="0"/>
                  </a:schemeClr>
                </a:solidFill>
              </a:ln>
              <a:solidFill>
                <a:srgbClr val="0000FF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endParaRPr lang="en-US" altLang="ko-KR" sz="1800" dirty="0">
              <a:ln>
                <a:solidFill>
                  <a:schemeClr val="tx1">
                    <a:alpha val="0"/>
                  </a:schemeClr>
                </a:solidFill>
              </a:ln>
              <a:solidFill>
                <a:srgbClr val="FF0000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① </a:t>
            </a:r>
            <a:r>
              <a:rPr lang="en-US" altLang="ko-KR" sz="160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20</a:t>
            </a:r>
            <a:r>
              <a:rPr lang="ko-KR" altLang="en-US" sz="160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년</a:t>
            </a:r>
            <a:r>
              <a:rPr lang="en-US" altLang="ko-KR" sz="160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(60</a:t>
            </a:r>
            <a:r>
              <a:rPr lang="ko-KR" altLang="en-US" sz="160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세 시점</a:t>
            </a:r>
            <a:r>
              <a:rPr lang="en-US" altLang="ko-KR" sz="160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) </a:t>
            </a:r>
            <a:r>
              <a:rPr lang="ko-KR" altLang="en-US" sz="1600" dirty="0" err="1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환급금</a:t>
            </a:r>
            <a:r>
              <a:rPr lang="ko-KR" altLang="en-US" sz="160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60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: </a:t>
            </a:r>
            <a:r>
              <a:rPr lang="en-US" altLang="ko-KR" sz="180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128,087,757</a:t>
            </a:r>
            <a:r>
              <a:rPr lang="ko-KR" altLang="en-US" sz="180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원</a:t>
            </a:r>
            <a:endParaRPr lang="en-US" altLang="ko-KR" sz="1800" dirty="0">
              <a:ln>
                <a:solidFill>
                  <a:schemeClr val="tx1">
                    <a:alpha val="0"/>
                  </a:schemeClr>
                </a:solidFill>
              </a:ln>
              <a:solidFill>
                <a:srgbClr val="0000FF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② 기납입보험료 </a:t>
            </a:r>
            <a:r>
              <a:rPr lang="en-US" altLang="ko-KR" sz="160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: </a:t>
            </a:r>
            <a:r>
              <a:rPr lang="en-US" altLang="ko-KR" sz="180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rgbClr val="FF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86,284,800</a:t>
            </a:r>
            <a:r>
              <a:rPr lang="ko-KR" altLang="en-US" sz="180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rgbClr val="FF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원</a:t>
            </a:r>
            <a:endParaRPr lang="en-US" altLang="ko-KR" sz="1800" dirty="0">
              <a:ln>
                <a:solidFill>
                  <a:schemeClr val="tx1">
                    <a:alpha val="0"/>
                  </a:schemeClr>
                </a:solidFill>
              </a:ln>
              <a:solidFill>
                <a:srgbClr val="FF0000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60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③ 이자 </a:t>
            </a:r>
            <a:r>
              <a:rPr lang="en-US" altLang="ko-KR" sz="1600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: </a:t>
            </a:r>
            <a:r>
              <a:rPr lang="ko-KR" altLang="en-US" sz="1800" u="sng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① </a:t>
            </a:r>
            <a:r>
              <a:rPr lang="en-US" altLang="ko-KR" sz="1800" u="sng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- </a:t>
            </a:r>
            <a:r>
              <a:rPr lang="ko-KR" altLang="en-US" sz="1800" u="sng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② </a:t>
            </a:r>
            <a:r>
              <a:rPr lang="en-US" altLang="ko-KR" sz="1800" u="sng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= 41,802,957</a:t>
            </a:r>
            <a:r>
              <a:rPr lang="ko-KR" altLang="en-US" sz="1800" u="sng" dirty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원 </a:t>
            </a:r>
            <a:endParaRPr lang="en-US" altLang="ko-KR" sz="1600" u="sng" dirty="0">
              <a:ln>
                <a:solidFill>
                  <a:schemeClr val="tx1">
                    <a:alpha val="0"/>
                  </a:schemeClr>
                </a:solidFill>
              </a:ln>
              <a:solidFill>
                <a:srgbClr val="0000FF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7" name="직사각형 16"/>
          <p:cNvSpPr/>
          <p:nvPr/>
        </p:nvSpPr>
        <p:spPr>
          <a:xfrm>
            <a:off x="5686144" y="3771453"/>
            <a:ext cx="4448771" cy="314588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anchor="ctr" anchorCtr="0">
            <a:noAutofit/>
          </a:bodyPr>
          <a:lstStyle/>
          <a:p>
            <a:pPr lvl="0" algn="ctr" defTabSz="438592" latinLnBrk="0">
              <a:lnSpc>
                <a:spcPct val="150000"/>
              </a:lnSpc>
              <a:defRPr/>
            </a:pPr>
            <a:r>
              <a:rPr lang="en-US" altLang="ko-KR" sz="1800" dirty="0">
                <a:solidFill>
                  <a:srgbClr val="FF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41,802,957</a:t>
            </a:r>
            <a:r>
              <a:rPr lang="ko-KR" altLang="en-US" sz="1800" dirty="0">
                <a:solidFill>
                  <a:srgbClr val="FF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원 이자 </a:t>
            </a:r>
            <a:r>
              <a:rPr lang="ko-KR" altLang="en-US" sz="1800" dirty="0" smtClean="0">
                <a:solidFill>
                  <a:srgbClr val="FF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발생시</a:t>
            </a:r>
            <a:endParaRPr lang="en-US" altLang="ko-KR" sz="1800" dirty="0" smtClean="0">
              <a:solidFill>
                <a:srgbClr val="FF0000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 lvl="0" algn="ctr" defTabSz="438592" latinLnBrk="0">
              <a:lnSpc>
                <a:spcPct val="150000"/>
              </a:lnSpc>
              <a:defRPr/>
            </a:pPr>
            <a:endParaRPr lang="ko-KR" altLang="en-US" sz="800" dirty="0">
              <a:solidFill>
                <a:srgbClr val="FF0000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 lvl="0" defTabSz="438592" latinLnBrk="0">
              <a:lnSpc>
                <a:spcPct val="150000"/>
              </a:lnSpc>
              <a:defRPr/>
            </a:pPr>
            <a:r>
              <a:rPr lang="ko-KR" altLang="en-US" sz="1400" dirty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① 이자소득세  </a:t>
            </a:r>
            <a:r>
              <a:rPr lang="en-US" altLang="ko-KR" sz="1400" dirty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: 2</a:t>
            </a:r>
            <a:r>
              <a:rPr lang="ko-KR" altLang="en-US" sz="1400" dirty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천만원 </a:t>
            </a:r>
            <a:r>
              <a:rPr lang="en-US" altLang="ko-KR" sz="1400" dirty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X 15.4% = 3,080,000</a:t>
            </a:r>
            <a:r>
              <a:rPr lang="ko-KR" altLang="en-US" sz="1400" dirty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원</a:t>
            </a:r>
          </a:p>
          <a:p>
            <a:pPr lvl="0" defTabSz="438592" latinLnBrk="0">
              <a:lnSpc>
                <a:spcPct val="150000"/>
              </a:lnSpc>
              <a:defRPr/>
            </a:pPr>
            <a:r>
              <a:rPr lang="ko-KR" altLang="en-US" sz="1400" dirty="0" smtClean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② </a:t>
            </a:r>
            <a:r>
              <a:rPr lang="ko-KR" altLang="en-US" sz="1400" dirty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금융소득종합과세 </a:t>
            </a:r>
            <a:r>
              <a:rPr lang="en-US" altLang="ko-KR" sz="1400" dirty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: 2,180</a:t>
            </a:r>
            <a:r>
              <a:rPr lang="ko-KR" altLang="en-US" sz="1400" dirty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만원 </a:t>
            </a:r>
            <a:r>
              <a:rPr lang="en-US" altLang="ko-KR" sz="1400" dirty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X </a:t>
            </a:r>
            <a:r>
              <a:rPr lang="ko-KR" altLang="en-US" sz="1400" dirty="0" smtClean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종합소득세</a:t>
            </a:r>
            <a:r>
              <a:rPr lang="en-US" altLang="ko-KR" sz="1050" dirty="0" smtClean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   </a:t>
            </a:r>
            <a:endParaRPr lang="en-US" altLang="ko-KR" sz="1050" dirty="0">
              <a:solidFill>
                <a:schemeClr val="tx1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 lvl="0" defTabSz="438592" latinLnBrk="0">
              <a:lnSpc>
                <a:spcPct val="150000"/>
              </a:lnSpc>
              <a:defRPr/>
            </a:pPr>
            <a:r>
              <a:rPr lang="en-US" altLang="ko-KR" sz="1400" dirty="0" smtClean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                              </a:t>
            </a:r>
            <a:r>
              <a:rPr lang="en-US" altLang="ko-KR" sz="1400" dirty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=  </a:t>
            </a:r>
            <a:r>
              <a:rPr lang="en-US" altLang="ko-KR" sz="1400" dirty="0" smtClean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3,357,655</a:t>
            </a:r>
            <a:r>
              <a:rPr lang="ko-KR" altLang="en-US" sz="1400" dirty="0" smtClean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만원</a:t>
            </a:r>
            <a:r>
              <a:rPr lang="en-US" altLang="ko-KR" sz="900" dirty="0" smtClean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(</a:t>
            </a:r>
            <a:r>
              <a:rPr lang="ko-KR" altLang="en-US" sz="900" dirty="0" err="1" smtClean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비교과세</a:t>
            </a:r>
            <a:r>
              <a:rPr lang="ko-KR" altLang="en-US" sz="900" dirty="0" smtClean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적용</a:t>
            </a:r>
            <a:r>
              <a:rPr lang="en-US" altLang="ko-KR" sz="900" dirty="0" smtClean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)</a:t>
            </a:r>
            <a:endParaRPr lang="en-US" altLang="ko-KR" sz="1600" dirty="0">
              <a:solidFill>
                <a:schemeClr val="tx1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 lvl="0" defTabSz="438592" latinLnBrk="0">
              <a:lnSpc>
                <a:spcPct val="150000"/>
              </a:lnSpc>
              <a:defRPr/>
            </a:pPr>
            <a:r>
              <a:rPr lang="en-US" altLang="ko-KR" sz="1400" dirty="0" smtClean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③ </a:t>
            </a:r>
            <a:r>
              <a:rPr lang="ko-KR" altLang="en-US" sz="1400" dirty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건강보험료 </a:t>
            </a:r>
            <a:r>
              <a:rPr lang="en-US" altLang="ko-KR" sz="1400" dirty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: 4,180</a:t>
            </a:r>
            <a:r>
              <a:rPr lang="ko-KR" altLang="en-US" sz="1400" dirty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만원 </a:t>
            </a:r>
            <a:r>
              <a:rPr lang="en-US" altLang="ko-KR" sz="1400" dirty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X </a:t>
            </a:r>
            <a:r>
              <a:rPr lang="ko-KR" altLang="en-US" sz="1400" dirty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세율</a:t>
            </a:r>
            <a:r>
              <a:rPr lang="en-US" altLang="ko-KR" sz="900" dirty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(</a:t>
            </a:r>
            <a:r>
              <a:rPr lang="ko-KR" altLang="en-US" sz="900" dirty="0" err="1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건보</a:t>
            </a:r>
            <a:r>
              <a:rPr lang="ko-KR" altLang="en-US" sz="900" dirty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900" dirty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7.09%, </a:t>
            </a:r>
            <a:r>
              <a:rPr lang="ko-KR" altLang="en-US" sz="900" dirty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장기요양 </a:t>
            </a:r>
            <a:r>
              <a:rPr lang="en-US" altLang="ko-KR" sz="900" dirty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12.81%)</a:t>
            </a:r>
            <a:endParaRPr lang="en-US" altLang="ko-KR" sz="1400" dirty="0">
              <a:solidFill>
                <a:schemeClr val="tx1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 lvl="0" defTabSz="438592" latinLnBrk="0">
              <a:lnSpc>
                <a:spcPct val="150000"/>
              </a:lnSpc>
              <a:defRPr/>
            </a:pPr>
            <a:r>
              <a:rPr lang="en-US" altLang="ko-KR" sz="1400" dirty="0" smtClean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                   </a:t>
            </a:r>
            <a:r>
              <a:rPr lang="en-US" altLang="ko-KR" sz="1400" dirty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= </a:t>
            </a:r>
            <a:r>
              <a:rPr lang="ko-KR" altLang="en-US" sz="1100" dirty="0" smtClean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직장</a:t>
            </a:r>
            <a:r>
              <a:rPr lang="en-US" altLang="ko-KR" sz="1100" dirty="0" smtClean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)</a:t>
            </a:r>
            <a:r>
              <a:rPr lang="en-US" altLang="ko-KR" sz="1400" dirty="0" smtClean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1,743,850</a:t>
            </a:r>
            <a:r>
              <a:rPr lang="ko-KR" altLang="en-US" sz="1400" dirty="0" smtClean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원</a:t>
            </a:r>
            <a:r>
              <a:rPr lang="en-US" altLang="ko-KR" sz="1400" dirty="0" smtClean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1100" dirty="0" smtClean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지역</a:t>
            </a:r>
            <a:r>
              <a:rPr lang="en-US" altLang="ko-KR" sz="1100" dirty="0" smtClean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)</a:t>
            </a:r>
            <a:r>
              <a:rPr lang="ko-KR" altLang="en-US" sz="1400" dirty="0" smtClean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en-US" altLang="ko-KR" sz="1400" dirty="0" smtClean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2,543,673</a:t>
            </a:r>
            <a:r>
              <a:rPr lang="ko-KR" altLang="en-US" sz="1400" dirty="0" smtClean="0"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원</a:t>
            </a:r>
            <a:endParaRPr lang="ko-KR" altLang="en-US" sz="1400" dirty="0">
              <a:solidFill>
                <a:schemeClr val="tx1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 lvl="0" algn="ctr" defTabSz="438592" latinLnBrk="0">
              <a:defRPr/>
            </a:pPr>
            <a:endParaRPr lang="en-US" altLang="ko-KR" sz="1600" dirty="0" smtClean="0">
              <a:solidFill>
                <a:schemeClr val="tx1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 lvl="0" algn="ctr" defTabSz="438592" latinLnBrk="0">
              <a:defRPr/>
            </a:pPr>
            <a:r>
              <a:rPr lang="ko-KR" altLang="en-US" sz="1800" dirty="0" smtClean="0">
                <a:solidFill>
                  <a:srgbClr val="FF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① </a:t>
            </a:r>
            <a:r>
              <a:rPr lang="en-US" altLang="ko-KR" sz="1800" dirty="0">
                <a:solidFill>
                  <a:srgbClr val="FF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+ ② + ③ = </a:t>
            </a:r>
            <a:r>
              <a:rPr lang="ko-KR" altLang="en-US" sz="1800" dirty="0" smtClean="0">
                <a:solidFill>
                  <a:srgbClr val="FF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최대 </a:t>
            </a:r>
            <a:r>
              <a:rPr lang="en-US" altLang="ko-KR" sz="1800" dirty="0" smtClean="0">
                <a:solidFill>
                  <a:srgbClr val="FF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8,981,328</a:t>
            </a:r>
            <a:r>
              <a:rPr lang="ko-KR" altLang="en-US" sz="1800" dirty="0" smtClean="0">
                <a:solidFill>
                  <a:srgbClr val="FF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원</a:t>
            </a:r>
            <a:r>
              <a:rPr lang="en-US" altLang="ko-KR" sz="1800" dirty="0" smtClean="0">
                <a:solidFill>
                  <a:srgbClr val="FF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1800" dirty="0" smtClean="0">
                <a:solidFill>
                  <a:srgbClr val="FF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과세</a:t>
            </a:r>
            <a:r>
              <a:rPr lang="en-US" altLang="ko-KR" sz="1800" dirty="0" smtClean="0">
                <a:solidFill>
                  <a:srgbClr val="FF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!!</a:t>
            </a:r>
            <a:endParaRPr lang="ko-KR" altLang="en-US" sz="1800" dirty="0">
              <a:solidFill>
                <a:srgbClr val="FF0000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4" name="오각형 3"/>
          <p:cNvSpPr/>
          <p:nvPr/>
        </p:nvSpPr>
        <p:spPr>
          <a:xfrm rot="5400000">
            <a:off x="7749048" y="1519770"/>
            <a:ext cx="342625" cy="4448772"/>
          </a:xfrm>
          <a:prstGeom prst="homePlate">
            <a:avLst>
              <a:gd name="adj" fmla="val 96755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" name="TextBox 4"/>
          <p:cNvSpPr txBox="1"/>
          <p:nvPr/>
        </p:nvSpPr>
        <p:spPr>
          <a:xfrm>
            <a:off x="7262457" y="3585316"/>
            <a:ext cx="12961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1200" b="1" dirty="0" smtClean="0"/>
              <a:t>세금 발생시</a:t>
            </a:r>
            <a:endParaRPr lang="ko-KR" alt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1799256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 defTabSz="778733"/>
            <a:fld id="{2747D207-944B-4363-884F-A02296F6E65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 defTabSz="778733"/>
              <a:t>43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3" name="표 2"/>
          <p:cNvGraphicFramePr>
            <a:graphicFrameLocks noGrp="1"/>
          </p:cNvGraphicFramePr>
          <p:nvPr>
            <p:extLst/>
          </p:nvPr>
        </p:nvGraphicFramePr>
        <p:xfrm>
          <a:off x="295375" y="1179165"/>
          <a:ext cx="4608512" cy="12366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7815">
                  <a:extLst>
                    <a:ext uri="{9D8B030D-6E8A-4147-A177-3AD203B41FA5}">
                      <a16:colId xmlns:a16="http://schemas.microsoft.com/office/drawing/2014/main" val="4208931138"/>
                    </a:ext>
                  </a:extLst>
                </a:gridCol>
                <a:gridCol w="454273">
                  <a:extLst>
                    <a:ext uri="{9D8B030D-6E8A-4147-A177-3AD203B41FA5}">
                      <a16:colId xmlns:a16="http://schemas.microsoft.com/office/drawing/2014/main" val="1509828937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3619285650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91559068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val="1913134348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val="1698200987"/>
                    </a:ext>
                  </a:extLst>
                </a:gridCol>
              </a:tblGrid>
              <a:tr h="312826">
                <a:tc>
                  <a:txBody>
                    <a:bodyPr/>
                    <a:lstStyle/>
                    <a:p>
                      <a:pPr latinLnBrk="1"/>
                      <a:endParaRPr lang="ko-KR" altLang="en-US" sz="1200" b="1" dirty="0">
                        <a:latin typeface="나눔고딕 ExtraBold" panose="020D0904000000000000" pitchFamily="50" charset="-127"/>
                        <a:ea typeface="나눔고딕 ExtraBold" panose="020D0904000000000000" pitchFamily="50" charset="-127"/>
                      </a:endParaRPr>
                    </a:p>
                  </a:txBody>
                  <a:tcPr marL="79815" marR="79815" marT="62846" marB="62846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DB67">
                        <a:alpha val="90000"/>
                      </a:srgbClr>
                    </a:solidFill>
                  </a:tcPr>
                </a:tc>
                <a:tc gridSpan="5">
                  <a:txBody>
                    <a:bodyPr/>
                    <a:lstStyle/>
                    <a:p>
                      <a:pPr latinLnBrk="1"/>
                      <a:r>
                        <a:rPr lang="ko-KR" altLang="en-US" sz="1400" b="1" dirty="0" err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나눔고딕 ExtraBold" panose="020D0904000000000000" pitchFamily="50" charset="-127"/>
                          <a:ea typeface="나눔고딕 ExtraBold" panose="020D0904000000000000" pitchFamily="50" charset="-127"/>
                        </a:rPr>
                        <a:t>교보</a:t>
                      </a:r>
                      <a:r>
                        <a:rPr lang="ko-KR" altLang="en-US" sz="14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나눔고딕 ExtraBold" panose="020D0904000000000000" pitchFamily="50" charset="-127"/>
                          <a:ea typeface="나눔고딕 ExtraBold" panose="020D0904000000000000" pitchFamily="50" charset="-127"/>
                        </a:rPr>
                        <a:t> 실속</a:t>
                      </a:r>
                      <a:r>
                        <a:rPr lang="ko-KR" altLang="en-US" sz="1400" b="1" dirty="0" smtClean="0">
                          <a:solidFill>
                            <a:srgbClr val="FFFF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나눔고딕 ExtraBold" panose="020D0904000000000000" pitchFamily="50" charset="-127"/>
                          <a:ea typeface="나눔고딕 ExtraBold" panose="020D0904000000000000" pitchFamily="50" charset="-127"/>
                        </a:rPr>
                        <a:t>종신</a:t>
                      </a:r>
                      <a:r>
                        <a:rPr lang="ko-KR" altLang="en-US" sz="14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나눔고딕 ExtraBold" panose="020D0904000000000000" pitchFamily="50" charset="-127"/>
                          <a:ea typeface="나눔고딕 ExtraBold" panose="020D0904000000000000" pitchFamily="50" charset="-127"/>
                        </a:rPr>
                        <a:t>보험</a:t>
                      </a:r>
                      <a:r>
                        <a:rPr lang="en-US" altLang="ko-KR" sz="14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나눔고딕 ExtraBold" panose="020D0904000000000000" pitchFamily="50" charset="-127"/>
                          <a:ea typeface="나눔고딕 ExtraBold" panose="020D0904000000000000" pitchFamily="50" charset="-127"/>
                        </a:rPr>
                        <a:t>Plus</a:t>
                      </a:r>
                      <a:endParaRPr lang="ko-KR" altLang="en-US" sz="14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나눔고딕 ExtraBold" panose="020D0904000000000000" pitchFamily="50" charset="-127"/>
                        <a:ea typeface="나눔고딕 ExtraBold" panose="020D0904000000000000" pitchFamily="50" charset="-127"/>
                      </a:endParaRPr>
                    </a:p>
                  </a:txBody>
                  <a:tcPr marL="79815" marR="79815" marT="62846" marB="6284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B0A7">
                        <a:alpha val="9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4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나눔고딕 ExtraBold" panose="020D0904000000000000" pitchFamily="50" charset="-127"/>
                        <a:ea typeface="나눔고딕 ExtraBold" panose="020D0904000000000000" pitchFamily="50" charset="-127"/>
                      </a:endParaRPr>
                    </a:p>
                  </a:txBody>
                  <a:tcPr marL="79815" marR="79815" marT="62846" marB="6284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B0A7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3481914"/>
                  </a:ext>
                </a:extLst>
              </a:tr>
              <a:tr h="53467">
                <a:tc gridSpan="5">
                  <a:txBody>
                    <a:bodyPr/>
                    <a:lstStyle/>
                    <a:p>
                      <a:pPr algn="ctr" latinLnBrk="1"/>
                      <a:endParaRPr lang="ko-KR" altLang="en-US" sz="400" b="1" dirty="0">
                        <a:latin typeface="나눔고딕 ExtraBold" panose="020D0904000000000000" pitchFamily="50" charset="-127"/>
                        <a:ea typeface="나눔고딕 ExtraBold" panose="020D0904000000000000" pitchFamily="50" charset="-127"/>
                      </a:endParaRPr>
                    </a:p>
                  </a:txBody>
                  <a:tcPr marL="79815" marR="7981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400" b="1" dirty="0">
                        <a:latin typeface="나눔고딕 ExtraBold" panose="020D0904000000000000" pitchFamily="50" charset="-127"/>
                        <a:ea typeface="나눔고딕 ExtraBold" panose="020D0904000000000000" pitchFamily="50" charset="-127"/>
                      </a:endParaRPr>
                    </a:p>
                  </a:txBody>
                  <a:tcPr marL="79815" marR="7981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8927921"/>
                  </a:ext>
                </a:extLst>
              </a:tr>
              <a:tr h="176052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피보험자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납입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기간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가입금액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 latinLnBrk="1"/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000" b="0" dirty="0" err="1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주계약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/</a:t>
                      </a:r>
                      <a:r>
                        <a:rPr lang="ko-KR" altLang="en-US" sz="1000" b="0" dirty="0" err="1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체증형특약</a:t>
                      </a:r>
                      <a:r>
                        <a:rPr lang="en-US" altLang="ko-KR" sz="10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  <a:endParaRPr lang="ko-KR" altLang="en-US" sz="10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보험료</a:t>
                      </a:r>
                    </a:p>
                  </a:txBody>
                  <a:tcPr marL="79815" marR="79815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err="1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총납입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보험료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7981998"/>
                  </a:ext>
                </a:extLst>
              </a:tr>
              <a:tr h="249981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0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200" b="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남</a:t>
                      </a:r>
                      <a:r>
                        <a:rPr lang="en-US" altLang="ko-KR" sz="1200" b="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각 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,000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</a:t>
                      </a:r>
                      <a:endParaRPr lang="en-US" altLang="ko-KR" sz="12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1,027,200</a:t>
                      </a: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원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kern="12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86,284,800</a:t>
                      </a:r>
                      <a:r>
                        <a:rPr lang="ko-KR" altLang="en-US" sz="1200" b="0" kern="120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  <a:cs typeface="+mn-cs"/>
                        </a:rPr>
                        <a:t>원</a:t>
                      </a:r>
                      <a:endParaRPr lang="ko-KR" altLang="en-US" sz="1200" b="0" kern="120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  <a:cs typeface="+mn-cs"/>
                      </a:endParaRPr>
                    </a:p>
                  </a:txBody>
                  <a:tcPr marL="0" marR="0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8329210"/>
                  </a:ext>
                </a:extLst>
              </a:tr>
            </a:tbl>
          </a:graphicData>
        </a:graphic>
      </p:graphicFrame>
      <p:graphicFrame>
        <p:nvGraphicFramePr>
          <p:cNvPr id="4" name="표 3"/>
          <p:cNvGraphicFramePr>
            <a:graphicFrameLocks noGrp="1"/>
          </p:cNvGraphicFramePr>
          <p:nvPr>
            <p:extLst/>
          </p:nvPr>
        </p:nvGraphicFramePr>
        <p:xfrm>
          <a:off x="295375" y="2601363"/>
          <a:ext cx="4608512" cy="35159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4256">
                  <a:extLst>
                    <a:ext uri="{9D8B030D-6E8A-4147-A177-3AD203B41FA5}">
                      <a16:colId xmlns:a16="http://schemas.microsoft.com/office/drawing/2014/main" val="3439892459"/>
                    </a:ext>
                  </a:extLst>
                </a:gridCol>
                <a:gridCol w="2304256">
                  <a:extLst>
                    <a:ext uri="{9D8B030D-6E8A-4147-A177-3AD203B41FA5}">
                      <a16:colId xmlns:a16="http://schemas.microsoft.com/office/drawing/2014/main" val="4290004269"/>
                    </a:ext>
                  </a:extLst>
                </a:gridCol>
              </a:tblGrid>
              <a:tr h="411248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나눔고딕 ExtraBold" panose="020D0904000000000000" pitchFamily="50" charset="-127"/>
                          <a:ea typeface="나눔고딕 ExtraBold" panose="020D0904000000000000" pitchFamily="50" charset="-127"/>
                        </a:rPr>
                        <a:t>65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나눔고딕 ExtraBold" panose="020D0904000000000000" pitchFamily="50" charset="-127"/>
                          <a:ea typeface="나눔고딕 ExtraBold" panose="020D0904000000000000" pitchFamily="50" charset="-127"/>
                        </a:rPr>
                        <a:t>세 연금개시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나눔고딕 ExtraBold" panose="020D0904000000000000" pitchFamily="50" charset="-127"/>
                          <a:ea typeface="나눔고딕 ExtraBold" panose="020D0904000000000000" pitchFamily="50" charset="-127"/>
                        </a:rPr>
                        <a:t>, </a:t>
                      </a:r>
                      <a:r>
                        <a:rPr lang="ko-KR" altLang="en-US" sz="1200" b="1" dirty="0" err="1" smtClean="0">
                          <a:solidFill>
                            <a:schemeClr val="tx1"/>
                          </a:solidFill>
                          <a:latin typeface="나눔고딕 ExtraBold" panose="020D0904000000000000" pitchFamily="50" charset="-127"/>
                          <a:ea typeface="나눔고딕 ExtraBold" panose="020D0904000000000000" pitchFamily="50" charset="-127"/>
                        </a:rPr>
                        <a:t>종신연금형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나눔고딕 ExtraBold" panose="020D0904000000000000" pitchFamily="50" charset="-127"/>
                          <a:ea typeface="나눔고딕 ExtraBold" panose="020D0904000000000000" pitchFamily="50" charset="-127"/>
                        </a:rPr>
                        <a:t> 선택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나눔고딕 ExtraBold" panose="020D0904000000000000" pitchFamily="50" charset="-127"/>
                        <a:ea typeface="나눔고딕 ExtraBold" panose="020D09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0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1161467"/>
                  </a:ext>
                </a:extLst>
              </a:tr>
              <a:tr h="326794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나눔고딕 ExtraBold" panose="020D0904000000000000" pitchFamily="50" charset="-127"/>
                          <a:ea typeface="나눔고딕 ExtraBold" panose="020D0904000000000000" pitchFamily="50" charset="-127"/>
                        </a:rPr>
                        <a:t>구분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나눔고딕 ExtraBold" panose="020D0904000000000000" pitchFamily="50" charset="-127"/>
                        <a:ea typeface="나눔고딕 ExtraBold" panose="020D09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err="1" smtClean="0">
                          <a:solidFill>
                            <a:schemeClr val="tx1"/>
                          </a:solidFill>
                          <a:latin typeface="나눔고딕 ExtraBold" panose="020D0904000000000000" pitchFamily="50" charset="-127"/>
                          <a:ea typeface="나눔고딕 ExtraBold" panose="020D0904000000000000" pitchFamily="50" charset="-127"/>
                        </a:rPr>
                        <a:t>연금액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8734650"/>
                  </a:ext>
                </a:extLst>
              </a:tr>
              <a:tr h="46296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연금개시시점 </a:t>
                      </a:r>
                      <a:r>
                        <a:rPr lang="ko-KR" altLang="en-US" sz="1200" b="0" dirty="0" err="1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적립액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4,076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원</a:t>
                      </a:r>
                      <a:endParaRPr lang="en-US" altLang="ko-KR" sz="12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0023728"/>
                  </a:ext>
                </a:extLst>
              </a:tr>
              <a:tr h="46296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10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회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보증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78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원</a:t>
                      </a:r>
                      <a:endParaRPr lang="en-US" altLang="ko-KR" sz="12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1029034"/>
                  </a:ext>
                </a:extLst>
              </a:tr>
              <a:tr h="462966">
                <a:tc>
                  <a:txBody>
                    <a:bodyPr/>
                    <a:lstStyle/>
                    <a:p>
                      <a:pPr marL="0" marR="0" indent="0" algn="ctr" defTabSz="91202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20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회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보증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34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원</a:t>
                      </a:r>
                      <a:endParaRPr lang="en-US" altLang="ko-KR" sz="12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3044747"/>
                  </a:ext>
                </a:extLst>
              </a:tr>
              <a:tr h="462966">
                <a:tc>
                  <a:txBody>
                    <a:bodyPr/>
                    <a:lstStyle/>
                    <a:p>
                      <a:pPr marL="0" marR="0" indent="0" algn="ctr" defTabSz="91202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0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30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회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보증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62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원</a:t>
                      </a:r>
                      <a:endParaRPr lang="en-US" altLang="ko-KR" sz="12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6087736"/>
                  </a:ext>
                </a:extLst>
              </a:tr>
              <a:tr h="462966">
                <a:tc>
                  <a:txBody>
                    <a:bodyPr/>
                    <a:lstStyle/>
                    <a:p>
                      <a:pPr marL="0" marR="0" indent="0" algn="ctr" defTabSz="91202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0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 보증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13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원</a:t>
                      </a:r>
                      <a:endParaRPr lang="en-US" altLang="ko-KR" sz="12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757576"/>
                  </a:ext>
                </a:extLst>
              </a:tr>
              <a:tr h="46296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100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 보증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총 연금 수령액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1,448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원</a:t>
                      </a:r>
                      <a:endParaRPr lang="en-US" altLang="ko-KR" sz="12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517053"/>
                  </a:ext>
                </a:extLst>
              </a:tr>
            </a:tbl>
          </a:graphicData>
        </a:graphic>
      </p:graphicFrame>
      <p:graphicFrame>
        <p:nvGraphicFramePr>
          <p:cNvPr id="5" name="표 4"/>
          <p:cNvGraphicFramePr>
            <a:graphicFrameLocks noGrp="1"/>
          </p:cNvGraphicFramePr>
          <p:nvPr>
            <p:extLst/>
          </p:nvPr>
        </p:nvGraphicFramePr>
        <p:xfrm>
          <a:off x="5335935" y="1179165"/>
          <a:ext cx="4608512" cy="12366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5493">
                  <a:extLst>
                    <a:ext uri="{9D8B030D-6E8A-4147-A177-3AD203B41FA5}">
                      <a16:colId xmlns:a16="http://schemas.microsoft.com/office/drawing/2014/main" val="4208931138"/>
                    </a:ext>
                  </a:extLst>
                </a:gridCol>
                <a:gridCol w="446595">
                  <a:extLst>
                    <a:ext uri="{9D8B030D-6E8A-4147-A177-3AD203B41FA5}">
                      <a16:colId xmlns:a16="http://schemas.microsoft.com/office/drawing/2014/main" val="1509828937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3619285650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91559068"/>
                    </a:ext>
                  </a:extLst>
                </a:gridCol>
                <a:gridCol w="1188132">
                  <a:extLst>
                    <a:ext uri="{9D8B030D-6E8A-4147-A177-3AD203B41FA5}">
                      <a16:colId xmlns:a16="http://schemas.microsoft.com/office/drawing/2014/main" val="1913134348"/>
                    </a:ext>
                  </a:extLst>
                </a:gridCol>
                <a:gridCol w="1188132">
                  <a:extLst>
                    <a:ext uri="{9D8B030D-6E8A-4147-A177-3AD203B41FA5}">
                      <a16:colId xmlns:a16="http://schemas.microsoft.com/office/drawing/2014/main" val="3558132741"/>
                    </a:ext>
                  </a:extLst>
                </a:gridCol>
              </a:tblGrid>
              <a:tr h="312826">
                <a:tc>
                  <a:txBody>
                    <a:bodyPr/>
                    <a:lstStyle/>
                    <a:p>
                      <a:pPr latinLnBrk="1"/>
                      <a:endParaRPr lang="ko-KR" altLang="en-US" sz="1200" b="1" dirty="0">
                        <a:latin typeface="나눔고딕 ExtraBold" panose="020D0904000000000000" pitchFamily="50" charset="-127"/>
                        <a:ea typeface="나눔고딕 ExtraBold" panose="020D0904000000000000" pitchFamily="50" charset="-127"/>
                      </a:endParaRPr>
                    </a:p>
                  </a:txBody>
                  <a:tcPr marL="79815" marR="79815" marT="62846" marB="62846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  <a:alpha val="9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latinLnBrk="1"/>
                      <a:r>
                        <a:rPr lang="ko-KR" altLang="en-US" sz="1400" b="1" dirty="0" err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나눔고딕 ExtraBold" panose="020D0904000000000000" pitchFamily="50" charset="-127"/>
                          <a:ea typeface="나눔고딕 ExtraBold" panose="020D0904000000000000" pitchFamily="50" charset="-127"/>
                        </a:rPr>
                        <a:t>교보</a:t>
                      </a:r>
                      <a:r>
                        <a:rPr lang="ko-KR" altLang="en-US" sz="14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나눔고딕 ExtraBold" panose="020D0904000000000000" pitchFamily="50" charset="-127"/>
                          <a:ea typeface="나눔고딕 ExtraBold" panose="020D0904000000000000" pitchFamily="50" charset="-127"/>
                        </a:rPr>
                        <a:t> 뉴플랜</a:t>
                      </a:r>
                      <a:r>
                        <a:rPr lang="ko-KR" altLang="en-US" sz="1400" b="1" dirty="0" smtClean="0">
                          <a:solidFill>
                            <a:srgbClr val="FFFF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나눔고딕 ExtraBold" panose="020D0904000000000000" pitchFamily="50" charset="-127"/>
                          <a:ea typeface="나눔고딕 ExtraBold" panose="020D0904000000000000" pitchFamily="50" charset="-127"/>
                        </a:rPr>
                        <a:t>연금</a:t>
                      </a:r>
                      <a:r>
                        <a:rPr lang="ko-KR" altLang="en-US" sz="14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나눔고딕 ExtraBold" panose="020D0904000000000000" pitchFamily="50" charset="-127"/>
                          <a:ea typeface="나눔고딕 ExtraBold" panose="020D0904000000000000" pitchFamily="50" charset="-127"/>
                        </a:rPr>
                        <a:t>보험</a:t>
                      </a:r>
                      <a:r>
                        <a:rPr lang="en-US" altLang="ko-KR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나눔고딕 ExtraBold" panose="020D0904000000000000" pitchFamily="50" charset="-127"/>
                          <a:ea typeface="나눔고딕 ExtraBold" panose="020D0904000000000000" pitchFamily="50" charset="-127"/>
                        </a:rPr>
                        <a:t> </a:t>
                      </a:r>
                      <a:endParaRPr lang="ko-KR" altLang="en-US" sz="14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나눔고딕 ExtraBold" panose="020D0904000000000000" pitchFamily="50" charset="-127"/>
                        <a:ea typeface="나눔고딕 ExtraBold" panose="020D0904000000000000" pitchFamily="50" charset="-127"/>
                      </a:endParaRPr>
                    </a:p>
                  </a:txBody>
                  <a:tcPr marL="79815" marR="79815" marT="62846" marB="6284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B0A7">
                        <a:alpha val="9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4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나눔고딕 ExtraBold" panose="020D0904000000000000" pitchFamily="50" charset="-127"/>
                        <a:ea typeface="나눔고딕 ExtraBold" panose="020D0904000000000000" pitchFamily="50" charset="-127"/>
                      </a:endParaRPr>
                    </a:p>
                  </a:txBody>
                  <a:tcPr marL="79815" marR="79815" marT="62846" marB="62846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B0A7">
                        <a:alpha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3481914"/>
                  </a:ext>
                </a:extLst>
              </a:tr>
              <a:tr h="53467">
                <a:tc gridSpan="5">
                  <a:txBody>
                    <a:bodyPr/>
                    <a:lstStyle/>
                    <a:p>
                      <a:pPr algn="ctr" latinLnBrk="1"/>
                      <a:endParaRPr lang="ko-KR" altLang="en-US" sz="400" b="1" dirty="0">
                        <a:latin typeface="나눔고딕 ExtraBold" panose="020D0904000000000000" pitchFamily="50" charset="-127"/>
                        <a:ea typeface="나눔고딕 ExtraBold" panose="020D0904000000000000" pitchFamily="50" charset="-127"/>
                      </a:endParaRPr>
                    </a:p>
                  </a:txBody>
                  <a:tcPr marL="79815" marR="7981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endParaRPr lang="ko-KR" altLang="en-US" sz="400" b="1" dirty="0">
                        <a:latin typeface="나눔고딕 ExtraBold" panose="020D0904000000000000" pitchFamily="50" charset="-127"/>
                        <a:ea typeface="나눔고딕 ExtraBold" panose="020D0904000000000000" pitchFamily="50" charset="-127"/>
                      </a:endParaRPr>
                    </a:p>
                  </a:txBody>
                  <a:tcPr marL="79815" marR="7981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8927921"/>
                  </a:ext>
                </a:extLst>
              </a:tr>
              <a:tr h="493891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피보험자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납입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기간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가입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금액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보험료</a:t>
                      </a:r>
                    </a:p>
                  </a:txBody>
                  <a:tcPr marL="79815" marR="79815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err="1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총납입</a:t>
                      </a:r>
                      <a:endParaRPr lang="en-US" altLang="ko-KR" sz="1200" b="1" dirty="0" smtClean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보험료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7981998"/>
                  </a:ext>
                </a:extLst>
              </a:tr>
              <a:tr h="249981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0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1200" b="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남</a:t>
                      </a:r>
                      <a:r>
                        <a:rPr lang="en-US" altLang="ko-KR" sz="1200" b="0" baseline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-</a:t>
                      </a:r>
                      <a:endParaRPr lang="en-US" altLang="ko-KR" sz="12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,030,000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원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86,520,010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원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8329210"/>
                  </a:ext>
                </a:extLst>
              </a:tr>
            </a:tbl>
          </a:graphicData>
        </a:graphic>
      </p:graphicFrame>
      <p:graphicFrame>
        <p:nvGraphicFramePr>
          <p:cNvPr id="6" name="표 5"/>
          <p:cNvGraphicFramePr>
            <a:graphicFrameLocks noGrp="1"/>
          </p:cNvGraphicFramePr>
          <p:nvPr>
            <p:extLst/>
          </p:nvPr>
        </p:nvGraphicFramePr>
        <p:xfrm>
          <a:off x="5335935" y="2601364"/>
          <a:ext cx="4608513" cy="35167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8065">
                  <a:extLst>
                    <a:ext uri="{9D8B030D-6E8A-4147-A177-3AD203B41FA5}">
                      <a16:colId xmlns:a16="http://schemas.microsoft.com/office/drawing/2014/main" val="3439892459"/>
                    </a:ext>
                  </a:extLst>
                </a:gridCol>
                <a:gridCol w="1132202">
                  <a:extLst>
                    <a:ext uri="{9D8B030D-6E8A-4147-A177-3AD203B41FA5}">
                      <a16:colId xmlns:a16="http://schemas.microsoft.com/office/drawing/2014/main" val="4290004269"/>
                    </a:ext>
                  </a:extLst>
                </a:gridCol>
                <a:gridCol w="1104123">
                  <a:extLst>
                    <a:ext uri="{9D8B030D-6E8A-4147-A177-3AD203B41FA5}">
                      <a16:colId xmlns:a16="http://schemas.microsoft.com/office/drawing/2014/main" val="2520548533"/>
                    </a:ext>
                  </a:extLst>
                </a:gridCol>
                <a:gridCol w="1104123">
                  <a:extLst>
                    <a:ext uri="{9D8B030D-6E8A-4147-A177-3AD203B41FA5}">
                      <a16:colId xmlns:a16="http://schemas.microsoft.com/office/drawing/2014/main" val="219715521"/>
                    </a:ext>
                  </a:extLst>
                </a:gridCol>
              </a:tblGrid>
              <a:tr h="410896">
                <a:tc gridSpan="4"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나눔고딕 ExtraBold" panose="020D0904000000000000" pitchFamily="50" charset="-127"/>
                          <a:ea typeface="나눔고딕 ExtraBold" panose="020D0904000000000000" pitchFamily="50" charset="-127"/>
                        </a:rPr>
                        <a:t>65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나눔고딕 ExtraBold" panose="020D0904000000000000" pitchFamily="50" charset="-127"/>
                          <a:ea typeface="나눔고딕 ExtraBold" panose="020D0904000000000000" pitchFamily="50" charset="-127"/>
                        </a:rPr>
                        <a:t>세 연금개시</a:t>
                      </a: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나눔고딕 ExtraBold" panose="020D0904000000000000" pitchFamily="50" charset="-127"/>
                          <a:ea typeface="나눔고딕 ExtraBold" panose="020D0904000000000000" pitchFamily="50" charset="-127"/>
                        </a:rPr>
                        <a:t>, </a:t>
                      </a:r>
                      <a:r>
                        <a:rPr lang="ko-KR" altLang="en-US" sz="1200" b="1" dirty="0" err="1" smtClean="0">
                          <a:solidFill>
                            <a:schemeClr val="tx1"/>
                          </a:solidFill>
                          <a:latin typeface="나눔고딕 ExtraBold" panose="020D0904000000000000" pitchFamily="50" charset="-127"/>
                          <a:ea typeface="나눔고딕 ExtraBold" panose="020D0904000000000000" pitchFamily="50" charset="-127"/>
                        </a:rPr>
                        <a:t>종신연금형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나눔고딕 ExtraBold" panose="020D0904000000000000" pitchFamily="50" charset="-127"/>
                          <a:ea typeface="나눔고딕 ExtraBold" panose="020D0904000000000000" pitchFamily="50" charset="-127"/>
                        </a:rPr>
                        <a:t> 선택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나눔고딕 ExtraBold" panose="020D0904000000000000" pitchFamily="50" charset="-127"/>
                        <a:ea typeface="나눔고딕 ExtraBold" panose="020D09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0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b="1" dirty="0">
                        <a:solidFill>
                          <a:schemeClr val="tx1"/>
                        </a:solidFill>
                        <a:latin typeface="나눔고딕 ExtraBold" panose="020D0904000000000000" pitchFamily="50" charset="-127"/>
                        <a:ea typeface="나눔고딕 ExtraBold" panose="020D09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latinLnBrk="1"/>
                      <a:endParaRPr lang="ko-KR" altLang="en-US" sz="1200" b="1" dirty="0">
                        <a:solidFill>
                          <a:schemeClr val="tx1"/>
                        </a:solidFill>
                        <a:latin typeface="나눔고딕 ExtraBold" panose="020D0904000000000000" pitchFamily="50" charset="-127"/>
                        <a:ea typeface="나눔고딕 ExtraBold" panose="020D09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1161467"/>
                  </a:ext>
                </a:extLst>
              </a:tr>
              <a:tr h="183129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나눔고딕 ExtraBold" panose="020D0904000000000000" pitchFamily="50" charset="-127"/>
                          <a:ea typeface="나눔고딕 ExtraBold" panose="020D0904000000000000" pitchFamily="50" charset="-127"/>
                        </a:rPr>
                        <a:t>구분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나눔고딕 ExtraBold" panose="020D0904000000000000" pitchFamily="50" charset="-127"/>
                        <a:ea typeface="나눔고딕 ExtraBold" panose="020D09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나눔고딕 ExtraBold" panose="020D0904000000000000" pitchFamily="50" charset="-127"/>
                          <a:ea typeface="나눔고딕 ExtraBold" panose="020D0904000000000000" pitchFamily="50" charset="-127"/>
                        </a:rPr>
                        <a:t>2.95% 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나눔고딕 ExtraBold" panose="020D0904000000000000" pitchFamily="50" charset="-127"/>
                          <a:ea typeface="나눔고딕 ExtraBold" panose="020D0904000000000000" pitchFamily="50" charset="-127"/>
                        </a:rPr>
                        <a:t>가정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나눔고딕 ExtraBold" panose="020D0904000000000000" pitchFamily="50" charset="-127"/>
                        <a:ea typeface="나눔고딕 ExtraBold" panose="020D09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02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나눔고딕 ExtraBold" panose="020D0904000000000000" pitchFamily="50" charset="-127"/>
                          <a:ea typeface="나눔고딕 ExtraBold" panose="020D0904000000000000" pitchFamily="50" charset="-127"/>
                          <a:cs typeface="+mn-cs"/>
                        </a:rPr>
                        <a:t>2.25%</a:t>
                      </a:r>
                      <a:r>
                        <a:rPr kumimoji="0" lang="ko-KR" alt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나눔고딕 ExtraBold" panose="020D0904000000000000" pitchFamily="50" charset="-127"/>
                          <a:ea typeface="나눔고딕 ExtraBold" panose="020D0904000000000000" pitchFamily="50" charset="-127"/>
                          <a:cs typeface="+mn-cs"/>
                        </a:rPr>
                        <a:t> 가정</a:t>
                      </a:r>
                      <a:endParaRPr kumimoji="0" lang="ko-KR" altLang="en-US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나눔고딕 ExtraBold" panose="020D0904000000000000" pitchFamily="50" charset="-127"/>
                        <a:ea typeface="나눔고딕 ExtraBold" panose="020D0904000000000000" pitchFamily="50" charset="-127"/>
                        <a:cs typeface="+mn-cs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02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나눔고딕 ExtraBold" panose="020D0904000000000000" pitchFamily="50" charset="-127"/>
                          <a:ea typeface="나눔고딕 ExtraBold" panose="020D0904000000000000" pitchFamily="50" charset="-127"/>
                          <a:cs typeface="+mn-cs"/>
                        </a:rPr>
                        <a:t>최저보증이율</a:t>
                      </a:r>
                      <a:endParaRPr kumimoji="0" lang="en-US" altLang="ko-KR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나눔고딕 ExtraBold" panose="020D0904000000000000" pitchFamily="50" charset="-127"/>
                        <a:ea typeface="나눔고딕 ExtraBold" panose="020D0904000000000000" pitchFamily="50" charset="-127"/>
                        <a:cs typeface="+mn-cs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8734650"/>
                  </a:ext>
                </a:extLst>
              </a:tr>
              <a:tr h="448636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연금개시 </a:t>
                      </a:r>
                      <a:r>
                        <a:rPr lang="ko-KR" altLang="en-US" sz="1200" b="0" dirty="0" err="1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적립액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4,664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원</a:t>
                      </a:r>
                      <a:endParaRPr lang="en-US" altLang="ko-KR" sz="12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2,637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원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,010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원</a:t>
                      </a:r>
                      <a:endParaRPr lang="en-US" altLang="ko-KR" sz="12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1606591"/>
                  </a:ext>
                </a:extLst>
              </a:tr>
              <a:tr h="44863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10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회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보증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47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원</a:t>
                      </a:r>
                      <a:endParaRPr lang="en-US" altLang="ko-KR" sz="12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90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원</a:t>
                      </a:r>
                      <a:endParaRPr lang="en-US" altLang="ko-KR" sz="12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30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원</a:t>
                      </a:r>
                      <a:endParaRPr lang="en-US" altLang="ko-KR" sz="12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1029034"/>
                  </a:ext>
                </a:extLst>
              </a:tr>
              <a:tr h="466302">
                <a:tc>
                  <a:txBody>
                    <a:bodyPr/>
                    <a:lstStyle/>
                    <a:p>
                      <a:pPr marL="0" marR="0" indent="0" algn="ctr" defTabSz="91202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0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20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회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보증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726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원</a:t>
                      </a:r>
                      <a:endParaRPr lang="en-US" altLang="ko-KR" sz="12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72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원</a:t>
                      </a:r>
                      <a:endParaRPr lang="en-US" altLang="ko-KR" sz="12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20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원</a:t>
                      </a:r>
                      <a:endParaRPr lang="en-US" altLang="ko-KR" sz="12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3044747"/>
                  </a:ext>
                </a:extLst>
              </a:tr>
              <a:tr h="425649">
                <a:tc>
                  <a:txBody>
                    <a:bodyPr/>
                    <a:lstStyle/>
                    <a:p>
                      <a:pPr marL="0" marR="0" indent="0" algn="ctr" defTabSz="91202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0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30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회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보증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77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원</a:t>
                      </a:r>
                      <a:endParaRPr lang="en-US" altLang="ko-KR" sz="12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31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원</a:t>
                      </a:r>
                      <a:endParaRPr lang="en-US" altLang="ko-KR" sz="12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92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원</a:t>
                      </a:r>
                      <a:endParaRPr lang="en-US" altLang="ko-KR" sz="12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6087736"/>
                  </a:ext>
                </a:extLst>
              </a:tr>
              <a:tr h="479987">
                <a:tc>
                  <a:txBody>
                    <a:bodyPr/>
                    <a:lstStyle/>
                    <a:p>
                      <a:pPr marL="0" marR="0" indent="0" algn="ctr" defTabSz="91202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00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 보증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35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원</a:t>
                      </a:r>
                      <a:endParaRPr lang="en-US" altLang="ko-KR" sz="12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494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원</a:t>
                      </a:r>
                      <a:endParaRPr lang="en-US" altLang="ko-KR" sz="12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65</a:t>
                      </a:r>
                      <a:r>
                        <a:rPr lang="ko-KR" altLang="en-US" sz="1200" b="1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원</a:t>
                      </a:r>
                      <a:endParaRPr lang="en-US" altLang="ko-KR" sz="12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757576"/>
                  </a:ext>
                </a:extLst>
              </a:tr>
              <a:tr h="499826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100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세 보증</a:t>
                      </a:r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</a:p>
                    <a:p>
                      <a:pPr algn="ctr" latinLnBrk="1"/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총 연금 수령액</a:t>
                      </a:r>
                      <a:endParaRPr lang="ko-KR" altLang="en-US" sz="12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22,871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원</a:t>
                      </a:r>
                      <a:endParaRPr lang="en-US" altLang="ko-KR" sz="12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7,784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원</a:t>
                      </a:r>
                      <a:endParaRPr lang="en-US" altLang="ko-KR" sz="12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9,551</a:t>
                      </a:r>
                      <a:r>
                        <a:rPr lang="ko-KR" altLang="en-US" sz="1200" b="0" dirty="0" smtClean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만원</a:t>
                      </a:r>
                      <a:endParaRPr lang="en-US" altLang="ko-KR" sz="12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79815" marR="79815" marT="72000" marB="72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517053"/>
                  </a:ext>
                </a:extLst>
              </a:tr>
            </a:tbl>
          </a:graphicData>
        </a:graphic>
      </p:graphicFrame>
      <p:sp>
        <p:nvSpPr>
          <p:cNvPr id="7" name="직사각형 6"/>
          <p:cNvSpPr/>
          <p:nvPr/>
        </p:nvSpPr>
        <p:spPr>
          <a:xfrm>
            <a:off x="825259" y="6256669"/>
            <a:ext cx="9262165" cy="683136"/>
          </a:xfrm>
          <a:prstGeom prst="rect">
            <a:avLst/>
          </a:prstGeom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altLang="ko-KR" sz="1600" dirty="0" smtClean="0"/>
              <a:t>  </a:t>
            </a:r>
            <a:r>
              <a:rPr lang="ko-KR" altLang="en-US" sz="1600" dirty="0" smtClean="0"/>
              <a:t>① 노후자금은 금리변동 </a:t>
            </a:r>
            <a:r>
              <a:rPr lang="en-US" altLang="ko-KR" sz="1600" dirty="0" smtClean="0"/>
              <a:t>Risk</a:t>
            </a:r>
            <a:r>
              <a:rPr lang="ko-KR" altLang="en-US" sz="1600" dirty="0" smtClean="0"/>
              <a:t>가 없는 안전자산으로 준비가 필요</a:t>
            </a:r>
            <a:r>
              <a:rPr lang="en-US" altLang="ko-KR" sz="1600" dirty="0"/>
              <a:t>(</a:t>
            </a:r>
            <a:r>
              <a:rPr lang="ko-KR" altLang="en-US" sz="1600" dirty="0" smtClean="0"/>
              <a:t>가입시 노후자금 확정</a:t>
            </a:r>
            <a:r>
              <a:rPr lang="en-US" altLang="ko-KR" sz="1600" dirty="0" smtClean="0"/>
              <a:t>)</a:t>
            </a:r>
          </a:p>
          <a:p>
            <a:r>
              <a:rPr lang="en-US" altLang="ko-KR" sz="1600" dirty="0"/>
              <a:t> </a:t>
            </a:r>
            <a:r>
              <a:rPr lang="en-US" altLang="ko-KR" sz="1600" dirty="0" smtClean="0"/>
              <a:t> </a:t>
            </a:r>
            <a:r>
              <a:rPr lang="ko-KR" altLang="en-US" sz="1600" dirty="0" smtClean="0"/>
              <a:t>② </a:t>
            </a:r>
            <a:r>
              <a:rPr lang="ko-KR" altLang="en-US" sz="1600" dirty="0" err="1" smtClean="0"/>
              <a:t>가입후</a:t>
            </a:r>
            <a:r>
              <a:rPr lang="ko-KR" altLang="en-US" sz="1600" dirty="0" smtClean="0"/>
              <a:t> 헬스케어서비스를 통한 본인 및 부모님 건강관리까지 다양한 혜택을 보장</a:t>
            </a:r>
            <a:endParaRPr lang="ko-KR" altLang="en-US" sz="1600" dirty="0"/>
          </a:p>
        </p:txBody>
      </p:sp>
      <p:sp>
        <p:nvSpPr>
          <p:cNvPr id="8" name="오른쪽 화살표 7"/>
          <p:cNvSpPr/>
          <p:nvPr/>
        </p:nvSpPr>
        <p:spPr>
          <a:xfrm>
            <a:off x="336550" y="6270727"/>
            <a:ext cx="683470" cy="650909"/>
          </a:xfrm>
          <a:prstGeom prst="rightArrow">
            <a:avLst>
              <a:gd name="adj1" fmla="val 96176"/>
              <a:gd name="adj2" fmla="val 32432"/>
            </a:avLst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9" name="TextBox 8"/>
          <p:cNvSpPr txBox="1"/>
          <p:nvPr/>
        </p:nvSpPr>
        <p:spPr>
          <a:xfrm>
            <a:off x="240757" y="128492"/>
            <a:ext cx="7354035" cy="483960"/>
          </a:xfrm>
          <a:prstGeom prst="rect">
            <a:avLst/>
          </a:prstGeom>
          <a:noFill/>
        </p:spPr>
        <p:txBody>
          <a:bodyPr wrap="square" lIns="108000" tIns="108000" bIns="36000" rtlCol="0" anchor="ctr" anchorCtr="0">
            <a:spAutoFit/>
          </a:bodyPr>
          <a:lstStyle/>
          <a:p>
            <a:r>
              <a:rPr lang="ko-KR" altLang="en-US" sz="2200" b="1" dirty="0" err="1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교보</a:t>
            </a:r>
            <a:r>
              <a:rPr lang="ko-KR" altLang="en-US" sz="2200" b="1" dirty="0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 실속종신보험</a:t>
            </a:r>
            <a:r>
              <a:rPr lang="en-US" altLang="ko-KR" sz="2200" b="1" dirty="0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Plus_</a:t>
            </a:r>
            <a:r>
              <a:rPr lang="ko-KR" altLang="en-US" sz="2200" b="1" dirty="0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확실한 노후자금</a:t>
            </a:r>
            <a:endParaRPr lang="en-US" altLang="ko-KR" sz="2200" b="1" dirty="0">
              <a:solidFill>
                <a:srgbClr val="141450"/>
              </a:solidFill>
              <a:latin typeface="교보서체 Bold" panose="020B0600000101010101" pitchFamily="50" charset="-127"/>
              <a:ea typeface="교보서체 Bold" panose="020B0600000101010101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181069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직사각형 13"/>
          <p:cNvSpPr/>
          <p:nvPr/>
        </p:nvSpPr>
        <p:spPr>
          <a:xfrm>
            <a:off x="222657" y="1107158"/>
            <a:ext cx="9775698" cy="38884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6145"/>
            <a:endParaRPr lang="ko-KR" altLang="en-US" sz="1626">
              <a:solidFill>
                <a:prstClr val="white"/>
              </a:solidFill>
              <a:latin typeface="맑은 고딕"/>
              <a:ea typeface="맑은 고딕" panose="020B0503020000020004" pitchFamily="50" charset="-127"/>
            </a:endParaRP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 defTabSz="778733"/>
            <a:fld id="{2747D207-944B-4363-884F-A02296F6E65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 defTabSz="778733"/>
              <a:t>44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40757" y="128492"/>
            <a:ext cx="7354035" cy="483960"/>
          </a:xfrm>
          <a:prstGeom prst="rect">
            <a:avLst/>
          </a:prstGeom>
          <a:noFill/>
        </p:spPr>
        <p:txBody>
          <a:bodyPr wrap="square" lIns="108000" tIns="108000" bIns="36000" rtlCol="0" anchor="ctr" anchorCtr="0">
            <a:spAutoFit/>
          </a:bodyPr>
          <a:lstStyle/>
          <a:p>
            <a:r>
              <a:rPr lang="ko-KR" altLang="en-US" sz="2200" b="1" dirty="0" err="1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교보</a:t>
            </a:r>
            <a:r>
              <a:rPr lang="ko-KR" altLang="en-US" sz="2200" b="1" dirty="0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 실속종신보험</a:t>
            </a:r>
            <a:r>
              <a:rPr lang="en-US" altLang="ko-KR" sz="2200" b="1" dirty="0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Plus_</a:t>
            </a:r>
            <a:r>
              <a:rPr lang="ko-KR" altLang="en-US" sz="2200" b="1" dirty="0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자녀에게 물려주고 싶다면</a:t>
            </a:r>
            <a:r>
              <a:rPr lang="en-US" altLang="ko-KR" sz="2200" b="1" dirty="0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?</a:t>
            </a:r>
            <a:endParaRPr lang="en-US" altLang="ko-KR" sz="2200" b="1" dirty="0">
              <a:solidFill>
                <a:srgbClr val="141450"/>
              </a:solidFill>
              <a:latin typeface="교보서체 Bold" panose="020B0600000101010101" pitchFamily="50" charset="-127"/>
              <a:ea typeface="교보서체 Bold" panose="020B0600000101010101" pitchFamily="50" charset="-127"/>
            </a:endParaRPr>
          </a:p>
        </p:txBody>
      </p:sp>
      <p:pic>
        <p:nvPicPr>
          <p:cNvPr id="10" name="그림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7866" y="1849094"/>
            <a:ext cx="3931554" cy="247165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1" name="TextBox 10"/>
          <p:cNvSpPr txBox="1"/>
          <p:nvPr/>
        </p:nvSpPr>
        <p:spPr>
          <a:xfrm>
            <a:off x="1247834" y="1458626"/>
            <a:ext cx="2811618" cy="354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702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[2023</a:t>
            </a:r>
            <a:r>
              <a:rPr lang="ko-KR" altLang="en-US" sz="1702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년 세법개정</a:t>
            </a:r>
            <a:r>
              <a:rPr lang="en-US" altLang="ko-KR" sz="1702" dirty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]</a:t>
            </a:r>
            <a:endParaRPr lang="ko-KR" altLang="en-US" sz="1702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graphicFrame>
        <p:nvGraphicFramePr>
          <p:cNvPr id="12" name="다이어그램 11"/>
          <p:cNvGraphicFramePr/>
          <p:nvPr>
            <p:extLst/>
          </p:nvPr>
        </p:nvGraphicFramePr>
        <p:xfrm>
          <a:off x="5226361" y="1243324"/>
          <a:ext cx="4286038" cy="36831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5" name="모서리가 둥근 직사각형 14"/>
          <p:cNvSpPr/>
          <p:nvPr/>
        </p:nvSpPr>
        <p:spPr>
          <a:xfrm>
            <a:off x="205196" y="5088518"/>
            <a:ext cx="9793159" cy="1799402"/>
          </a:xfrm>
          <a:prstGeom prst="roundRect">
            <a:avLst>
              <a:gd name="adj" fmla="val 1474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20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자녀 키우는 동안 사망보장 </a:t>
            </a:r>
            <a:r>
              <a:rPr lang="en-US" altLang="ko-KR" sz="20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+ </a:t>
            </a:r>
            <a:r>
              <a:rPr lang="ko-KR" altLang="en-US" sz="20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중도인출 </a:t>
            </a:r>
            <a:r>
              <a:rPr lang="en-US" altLang="ko-KR" sz="20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+ </a:t>
            </a:r>
            <a:r>
              <a:rPr lang="ko-KR" altLang="en-US" sz="2000" dirty="0" err="1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온가족</a:t>
            </a:r>
            <a:r>
              <a:rPr lang="ko-KR" altLang="en-US" sz="20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헬스케어 받고</a:t>
            </a:r>
            <a:endParaRPr lang="en-US" altLang="ko-KR" sz="2000" dirty="0" smtClean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tx1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2000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chemeClr val="tx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쌓인 적립금은 자녀에게 증여</a:t>
            </a:r>
            <a:endParaRPr lang="en-US" altLang="ko-KR" sz="2000" dirty="0" smtClean="0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tx1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 algn="ctr">
              <a:lnSpc>
                <a:spcPct val="150000"/>
              </a:lnSpc>
            </a:pPr>
            <a:r>
              <a:rPr lang="ko-KR" altLang="en-US" sz="2000" u="sng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자녀는 </a:t>
            </a:r>
            <a:r>
              <a:rPr lang="en-US" altLang="ko-KR" sz="2000" u="sng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? </a:t>
            </a:r>
            <a:r>
              <a:rPr lang="ko-KR" altLang="en-US" sz="2000" u="sng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중도인출</a:t>
            </a:r>
            <a:r>
              <a:rPr lang="en-US" altLang="ko-KR" sz="2000" u="sng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, </a:t>
            </a:r>
            <a:r>
              <a:rPr lang="ko-KR" altLang="en-US" sz="2000" u="sng" dirty="0" err="1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추가납입하며</a:t>
            </a:r>
            <a:r>
              <a:rPr lang="ko-KR" altLang="en-US" sz="2000" u="sng" dirty="0" smtClean="0">
                <a:ln>
                  <a:solidFill>
                    <a:schemeClr val="tx1">
                      <a:alpha val="0"/>
                    </a:schemeClr>
                  </a:solidFill>
                </a:ln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대를 물려주는 비과세통장으로 활용</a:t>
            </a:r>
            <a:endParaRPr lang="en-US" altLang="ko-KR" sz="2000" u="sng" dirty="0">
              <a:ln>
                <a:solidFill>
                  <a:schemeClr val="tx1">
                    <a:alpha val="0"/>
                  </a:schemeClr>
                </a:solidFill>
              </a:ln>
              <a:solidFill>
                <a:srgbClr val="0000FF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05925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번호 개체 틀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 defTabSz="778733"/>
            <a:fld id="{2747D207-944B-4363-884F-A02296F6E65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 defTabSz="778733"/>
              <a:t>45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40757" y="128492"/>
            <a:ext cx="7354035" cy="483960"/>
          </a:xfrm>
          <a:prstGeom prst="rect">
            <a:avLst/>
          </a:prstGeom>
          <a:noFill/>
        </p:spPr>
        <p:txBody>
          <a:bodyPr wrap="square" lIns="108000" tIns="108000" bIns="36000" rtlCol="0" anchor="ctr" anchorCtr="0">
            <a:spAutoFit/>
          </a:bodyPr>
          <a:lstStyle/>
          <a:p>
            <a:r>
              <a:rPr lang="ko-KR" altLang="en-US" sz="2200" b="1" dirty="0" err="1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교보</a:t>
            </a:r>
            <a:r>
              <a:rPr lang="ko-KR" altLang="en-US" sz="2200" b="1" dirty="0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 실속종신보험</a:t>
            </a:r>
            <a:r>
              <a:rPr lang="en-US" altLang="ko-KR" sz="2200" b="1" dirty="0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Plus</a:t>
            </a:r>
            <a:r>
              <a:rPr lang="ko-KR" altLang="en-US" sz="2200" b="1" dirty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 </a:t>
            </a:r>
            <a:r>
              <a:rPr lang="ko-KR" altLang="en-US" sz="2200" b="1" dirty="0" smtClean="0">
                <a:solidFill>
                  <a:srgbClr val="141450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제안 포인트</a:t>
            </a:r>
            <a:endParaRPr lang="en-US" altLang="ko-KR" sz="2200" b="1" dirty="0">
              <a:solidFill>
                <a:srgbClr val="141450"/>
              </a:solidFill>
              <a:latin typeface="교보서체 Bold" panose="020B0600000101010101" pitchFamily="50" charset="-127"/>
              <a:ea typeface="교보서체 Bold" panose="020B0600000101010101" pitchFamily="50" charset="-127"/>
            </a:endParaRPr>
          </a:p>
        </p:txBody>
      </p:sp>
      <p:sp>
        <p:nvSpPr>
          <p:cNvPr id="4" name="직사각형 3"/>
          <p:cNvSpPr/>
          <p:nvPr/>
        </p:nvSpPr>
        <p:spPr>
          <a:xfrm>
            <a:off x="2604714" y="1611213"/>
            <a:ext cx="7388053" cy="1172560"/>
          </a:xfrm>
          <a:prstGeom prst="rect">
            <a:avLst/>
          </a:prstGeom>
          <a:noFill/>
          <a:ln w="12700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035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5" name="직사각형 4"/>
          <p:cNvSpPr/>
          <p:nvPr/>
        </p:nvSpPr>
        <p:spPr>
          <a:xfrm>
            <a:off x="295375" y="1611213"/>
            <a:ext cx="2419114" cy="1172560"/>
          </a:xfrm>
          <a:prstGeom prst="rect">
            <a:avLst/>
          </a:prstGeom>
          <a:solidFill>
            <a:srgbClr val="439622"/>
          </a:solidFill>
          <a:ln>
            <a:solidFill>
              <a:srgbClr val="439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035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FECC1F9-0725-4124-921B-37DDC7D3FC75}"/>
              </a:ext>
            </a:extLst>
          </p:cNvPr>
          <p:cNvSpPr txBox="1"/>
          <p:nvPr/>
        </p:nvSpPr>
        <p:spPr>
          <a:xfrm>
            <a:off x="499830" y="1822966"/>
            <a:ext cx="2131259" cy="7971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11"/>
              </a:spcBef>
            </a:pPr>
            <a:r>
              <a:rPr lang="en-US" altLang="ko-KR" sz="4580" b="1" spc="-153" dirty="0">
                <a:solidFill>
                  <a:schemeClr val="bg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Point 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FECC1F9-0725-4124-921B-37DDC7D3FC75}"/>
              </a:ext>
            </a:extLst>
          </p:cNvPr>
          <p:cNvSpPr txBox="1"/>
          <p:nvPr/>
        </p:nvSpPr>
        <p:spPr>
          <a:xfrm>
            <a:off x="2416270" y="1747295"/>
            <a:ext cx="7505920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11"/>
              </a:spcBef>
            </a:pPr>
            <a:r>
              <a:rPr lang="ko-KR" altLang="en-US" sz="2400" b="1" spc="-153" dirty="0" err="1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단기납</a:t>
            </a:r>
            <a:r>
              <a:rPr lang="ko-KR" altLang="en-US" sz="2400" b="1" spc="-153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종신보험 </a:t>
            </a:r>
            <a:r>
              <a:rPr lang="ko-KR" altLang="en-US" sz="2400" b="1" spc="-153" dirty="0" err="1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환급율</a:t>
            </a:r>
            <a:r>
              <a:rPr lang="ko-KR" altLang="en-US" sz="2400" b="1" spc="-153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개정으로 </a:t>
            </a:r>
            <a:endParaRPr lang="en-US" altLang="ko-KR" sz="2400" b="1" spc="-153" dirty="0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  <a:p>
            <a:pPr algn="ctr">
              <a:spcBef>
                <a:spcPts val="611"/>
              </a:spcBef>
            </a:pPr>
            <a:r>
              <a:rPr lang="ko-KR" altLang="en-US" sz="2400" b="1" spc="-153" dirty="0" err="1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노후자산을</a:t>
            </a:r>
            <a:r>
              <a:rPr lang="ko-KR" altLang="en-US" sz="2400" b="1" spc="-153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</a:t>
            </a:r>
            <a:r>
              <a:rPr lang="ko-KR" altLang="en-US" sz="2400" b="1" u="sng" spc="-153" dirty="0" smtClean="0"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비과세로 더 크게 만들 수 있는 기회</a:t>
            </a:r>
            <a:endParaRPr lang="en-US" altLang="ko-KR" sz="2400" b="1" u="sng" spc="-153" dirty="0" smtClean="0">
              <a:solidFill>
                <a:srgbClr val="0000FF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2608344" y="3267397"/>
            <a:ext cx="7384424" cy="1172560"/>
          </a:xfrm>
          <a:prstGeom prst="rect">
            <a:avLst/>
          </a:prstGeom>
          <a:noFill/>
          <a:ln w="12700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035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299005" y="3267397"/>
            <a:ext cx="2419114" cy="1172560"/>
          </a:xfrm>
          <a:prstGeom prst="rect">
            <a:avLst/>
          </a:prstGeom>
          <a:solidFill>
            <a:srgbClr val="439622"/>
          </a:solidFill>
          <a:ln>
            <a:solidFill>
              <a:srgbClr val="439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035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FECC1F9-0725-4124-921B-37DDC7D3FC75}"/>
              </a:ext>
            </a:extLst>
          </p:cNvPr>
          <p:cNvSpPr txBox="1"/>
          <p:nvPr/>
        </p:nvSpPr>
        <p:spPr>
          <a:xfrm>
            <a:off x="499831" y="3410470"/>
            <a:ext cx="2076320" cy="7971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11"/>
              </a:spcBef>
            </a:pPr>
            <a:r>
              <a:rPr lang="en-US" altLang="ko-KR" sz="4580" b="1" spc="-153" dirty="0">
                <a:solidFill>
                  <a:schemeClr val="bg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Point </a:t>
            </a:r>
            <a:r>
              <a:rPr lang="en-US" altLang="ko-KR" sz="4580" b="1" spc="-153" dirty="0" smtClean="0">
                <a:solidFill>
                  <a:schemeClr val="bg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2</a:t>
            </a:r>
            <a:endParaRPr lang="en-US" altLang="ko-KR" sz="4580" b="1" spc="-153" dirty="0">
              <a:solidFill>
                <a:schemeClr val="bg1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2832383" y="3460426"/>
            <a:ext cx="6740948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latinLnBrk="0"/>
            <a:r>
              <a:rPr kumimoji="1" lang="ko-KR" altLang="en-US" sz="2400" b="1" kern="100" dirty="0" err="1" smtClean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Times New Roman" panose="02020603050405020304" pitchFamily="18" charset="0"/>
              </a:rPr>
              <a:t>저출산</a:t>
            </a:r>
            <a:r>
              <a:rPr kumimoji="1" lang="en-US" altLang="ko-KR" sz="2400" b="1" kern="1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Times New Roman" panose="02020603050405020304" pitchFamily="18" charset="0"/>
              </a:rPr>
              <a:t>, </a:t>
            </a:r>
            <a:r>
              <a:rPr kumimoji="1" lang="ko-KR" altLang="en-US" sz="2400" b="1" kern="1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Times New Roman" panose="02020603050405020304" pitchFamily="18" charset="0"/>
              </a:rPr>
              <a:t>고령화 시대 목돈마련 핵심은 </a:t>
            </a:r>
            <a:r>
              <a:rPr kumimoji="1" lang="ko-KR" altLang="en-US" sz="2400" b="1" kern="100" dirty="0" smtClean="0"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Times New Roman" panose="02020603050405020304" pitchFamily="18" charset="0"/>
              </a:rPr>
              <a:t>비과세 자산</a:t>
            </a:r>
            <a:endParaRPr kumimoji="1" lang="en-US" altLang="ko-KR" sz="2400" b="1" kern="100" dirty="0" smtClean="0">
              <a:latin typeface="나눔고딕 ExtraBold" panose="020D0904000000000000" pitchFamily="50" charset="-127"/>
              <a:ea typeface="나눔고딕 ExtraBold" panose="020D0904000000000000" pitchFamily="50" charset="-127"/>
              <a:cs typeface="Times New Roman" panose="02020603050405020304" pitchFamily="18" charset="0"/>
            </a:endParaRPr>
          </a:p>
          <a:p>
            <a:pPr algn="ctr" latinLnBrk="0"/>
            <a:r>
              <a:rPr kumimoji="1" lang="ko-KR" altLang="en-US" sz="2400" b="1" kern="1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Times New Roman" panose="02020603050405020304" pitchFamily="18" charset="0"/>
              </a:rPr>
              <a:t>→ 종신보험 복리</a:t>
            </a:r>
            <a:r>
              <a:rPr kumimoji="1" lang="en-US" altLang="ko-KR" sz="2400" b="1" kern="1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Times New Roman" panose="02020603050405020304" pitchFamily="18" charset="0"/>
              </a:rPr>
              <a:t>, </a:t>
            </a:r>
            <a:r>
              <a:rPr kumimoji="1" lang="ko-KR" altLang="en-US" sz="2400" b="1" kern="100" dirty="0" smtClean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Times New Roman" panose="02020603050405020304" pitchFamily="18" charset="0"/>
              </a:rPr>
              <a:t>비과세 혜택은 </a:t>
            </a:r>
            <a:r>
              <a:rPr kumimoji="1" lang="ko-KR" altLang="en-US" sz="2400" b="1" kern="100" dirty="0" smtClean="0">
                <a:solidFill>
                  <a:srgbClr val="FF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Times New Roman" panose="02020603050405020304" pitchFamily="18" charset="0"/>
              </a:rPr>
              <a:t>최고의 자산</a:t>
            </a:r>
            <a:endParaRPr kumimoji="1" lang="en-US" altLang="ko-KR" sz="2400" b="1" kern="100" dirty="0" smtClean="0">
              <a:solidFill>
                <a:srgbClr val="FF0000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  <a:cs typeface="Times New Roman" panose="02020603050405020304" pitchFamily="18" charset="0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2604715" y="4908793"/>
            <a:ext cx="7411740" cy="1238924"/>
          </a:xfrm>
          <a:prstGeom prst="rect">
            <a:avLst/>
          </a:prstGeom>
          <a:noFill/>
          <a:ln w="12700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035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295376" y="4908793"/>
            <a:ext cx="2419114" cy="1238924"/>
          </a:xfrm>
          <a:prstGeom prst="rect">
            <a:avLst/>
          </a:prstGeom>
          <a:solidFill>
            <a:srgbClr val="439622"/>
          </a:solidFill>
          <a:ln>
            <a:solidFill>
              <a:srgbClr val="439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035"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ECC1F9-0725-4124-921B-37DDC7D3FC75}"/>
              </a:ext>
            </a:extLst>
          </p:cNvPr>
          <p:cNvSpPr txBox="1"/>
          <p:nvPr/>
        </p:nvSpPr>
        <p:spPr>
          <a:xfrm>
            <a:off x="499830" y="5174041"/>
            <a:ext cx="2076320" cy="7971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11"/>
              </a:spcBef>
            </a:pPr>
            <a:r>
              <a:rPr lang="en-US" altLang="ko-KR" sz="4580" b="1" spc="-153" dirty="0">
                <a:solidFill>
                  <a:schemeClr val="bg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Point </a:t>
            </a:r>
            <a:r>
              <a:rPr lang="en-US" altLang="ko-KR" sz="4580" b="1" spc="-153" dirty="0" smtClean="0">
                <a:solidFill>
                  <a:schemeClr val="bg1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3</a:t>
            </a:r>
            <a:endParaRPr lang="en-US" altLang="ko-KR" sz="4580" b="1" spc="-153" dirty="0">
              <a:solidFill>
                <a:schemeClr val="bg1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2671639" y="5118001"/>
            <a:ext cx="732112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latinLnBrk="0"/>
            <a:r>
              <a:rPr kumimoji="1" lang="en-US" altLang="ko-KR" sz="2400" b="1" kern="100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Times New Roman" panose="02020603050405020304" pitchFamily="18" charset="0"/>
              </a:rPr>
              <a:t>5</a:t>
            </a:r>
            <a:r>
              <a:rPr kumimoji="1" lang="ko-KR" altLang="en-US" sz="2400" b="1" kern="100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Times New Roman" panose="02020603050405020304" pitchFamily="18" charset="0"/>
              </a:rPr>
              <a:t>년납</a:t>
            </a:r>
            <a:r>
              <a:rPr kumimoji="1" lang="en-US" altLang="ko-KR" sz="2400" b="1" kern="100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Times New Roman" panose="02020603050405020304" pitchFamily="18" charset="0"/>
              </a:rPr>
              <a:t>, 7</a:t>
            </a:r>
            <a:r>
              <a:rPr kumimoji="1" lang="ko-KR" altLang="en-US" sz="2400" b="1" kern="100" dirty="0" err="1">
                <a:latin typeface="나눔고딕 ExtraBold" panose="020D0904000000000000" pitchFamily="50" charset="-127"/>
                <a:ea typeface="나눔고딕 ExtraBold" panose="020D0904000000000000" pitchFamily="50" charset="-127"/>
                <a:cs typeface="Times New Roman" panose="02020603050405020304" pitchFamily="18" charset="0"/>
              </a:rPr>
              <a:t>년납</a:t>
            </a:r>
            <a:r>
              <a:rPr kumimoji="1" lang="ko-KR" altLang="en-US" sz="2400" b="1" kern="100" dirty="0">
                <a:latin typeface="나눔고딕 ExtraBold" panose="020D0904000000000000" pitchFamily="50" charset="-127"/>
                <a:ea typeface="나눔고딕 ExtraBold" panose="020D0904000000000000" pitchFamily="50" charset="-127"/>
                <a:cs typeface="Times New Roman" panose="02020603050405020304" pitchFamily="18" charset="0"/>
              </a:rPr>
              <a:t> 이제는 </a:t>
            </a:r>
            <a:r>
              <a:rPr kumimoji="1" lang="en-US" altLang="ko-KR" sz="2400" b="1" kern="100" dirty="0">
                <a:solidFill>
                  <a:srgbClr val="FF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Times New Roman" panose="02020603050405020304" pitchFamily="18" charset="0"/>
              </a:rPr>
              <a:t>10</a:t>
            </a:r>
            <a:r>
              <a:rPr kumimoji="1" lang="ko-KR" altLang="en-US" sz="2400" b="1" kern="100" dirty="0">
                <a:solidFill>
                  <a:srgbClr val="FF0000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Times New Roman" panose="02020603050405020304" pitchFamily="18" charset="0"/>
              </a:rPr>
              <a:t>년이 되어야 효과</a:t>
            </a:r>
            <a:endParaRPr kumimoji="1" lang="en-US" altLang="ko-KR" sz="2400" b="1" kern="100" dirty="0">
              <a:solidFill>
                <a:srgbClr val="FF0000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  <a:cs typeface="Times New Roman" panose="02020603050405020304" pitchFamily="18" charset="0"/>
            </a:endParaRPr>
          </a:p>
          <a:p>
            <a:pPr algn="ctr" latinLnBrk="0"/>
            <a:r>
              <a:rPr kumimoji="1" lang="en-US" altLang="ko-KR" sz="2400" b="1" kern="100" dirty="0"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Times New Roman" panose="02020603050405020304" pitchFamily="18" charset="0"/>
              </a:rPr>
              <a:t>5</a:t>
            </a:r>
            <a:r>
              <a:rPr kumimoji="1" lang="ko-KR" altLang="en-US" sz="2400" b="1" kern="100" dirty="0"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Times New Roman" panose="02020603050405020304" pitchFamily="18" charset="0"/>
              </a:rPr>
              <a:t>년 내고 </a:t>
            </a:r>
            <a:r>
              <a:rPr kumimoji="1" lang="en-US" altLang="ko-KR" sz="2400" b="1" kern="100" dirty="0"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Times New Roman" panose="02020603050405020304" pitchFamily="18" charset="0"/>
              </a:rPr>
              <a:t>5</a:t>
            </a:r>
            <a:r>
              <a:rPr kumimoji="1" lang="ko-KR" altLang="en-US" sz="2400" b="1" kern="100" dirty="0"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Times New Roman" panose="02020603050405020304" pitchFamily="18" charset="0"/>
              </a:rPr>
              <a:t>년 유지 ▶ </a:t>
            </a:r>
            <a:r>
              <a:rPr kumimoji="1" lang="en-US" altLang="ko-KR" sz="2400" b="1" u="sng" kern="100" dirty="0"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Times New Roman" panose="02020603050405020304" pitchFamily="18" charset="0"/>
              </a:rPr>
              <a:t>10</a:t>
            </a:r>
            <a:r>
              <a:rPr kumimoji="1" lang="ko-KR" altLang="en-US" sz="2400" b="1" u="sng" kern="100" dirty="0"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Times New Roman" panose="02020603050405020304" pitchFamily="18" charset="0"/>
              </a:rPr>
              <a:t>년 내고 </a:t>
            </a:r>
            <a:r>
              <a:rPr kumimoji="1" lang="en-US" altLang="ko-KR" sz="2400" b="1" u="sng" kern="100" dirty="0"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Times New Roman" panose="02020603050405020304" pitchFamily="18" charset="0"/>
              </a:rPr>
              <a:t>3</a:t>
            </a:r>
            <a:r>
              <a:rPr kumimoji="1" lang="ko-KR" altLang="en-US" sz="2400" b="1" u="sng" kern="100" dirty="0"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Times New Roman" panose="02020603050405020304" pitchFamily="18" charset="0"/>
              </a:rPr>
              <a:t>년 유지</a:t>
            </a:r>
            <a:r>
              <a:rPr kumimoji="1" lang="ko-KR" altLang="en-US" sz="2400" b="1" kern="100" dirty="0"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Times New Roman" panose="02020603050405020304" pitchFamily="18" charset="0"/>
              </a:rPr>
              <a:t>가 더 쉽다</a:t>
            </a:r>
            <a:r>
              <a:rPr kumimoji="1" lang="en-US" altLang="ko-KR" sz="2400" b="1" kern="100" dirty="0">
                <a:solidFill>
                  <a:srgbClr val="0000FF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  <a:cs typeface="Times New Roman" panose="02020603050405020304" pitchFamily="18" charset="0"/>
              </a:rPr>
              <a:t>!</a:t>
            </a:r>
            <a:endParaRPr kumimoji="1" lang="en-US" altLang="ko-KR" sz="1800" b="1" kern="100" dirty="0">
              <a:solidFill>
                <a:srgbClr val="0000FF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7055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Box 2"/>
          <p:cNvSpPr txBox="1">
            <a:spLocks noChangeArrowheads="1"/>
          </p:cNvSpPr>
          <p:nvPr/>
        </p:nvSpPr>
        <p:spPr bwMode="auto">
          <a:xfrm>
            <a:off x="367385" y="139265"/>
            <a:ext cx="6972913" cy="463836"/>
          </a:xfrm>
          <a:prstGeom prst="rect">
            <a:avLst/>
          </a:prstGeom>
          <a:noFill/>
          <a:ln w="25400">
            <a:noFill/>
            <a:miter lim="800000"/>
            <a:headEnd type="none" w="sm" len="sm"/>
            <a:tailEnd type="none" w="sm" len="sm"/>
          </a:ln>
        </p:spPr>
        <p:txBody>
          <a:bodyPr wrap="square" lIns="35996" tIns="46795" rIns="35996" bIns="46795">
            <a:spAutoFit/>
          </a:bodyPr>
          <a:lstStyle/>
          <a:p>
            <a:pPr eaLnBrk="0" latinLnBrk="0" hangingPunct="0">
              <a:spcBef>
                <a:spcPct val="50000"/>
              </a:spcBef>
            </a:pPr>
            <a:r>
              <a:rPr lang="ko-KR" altLang="en-US" sz="2400" spc="-100" dirty="0">
                <a:solidFill>
                  <a:prstClr val="black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금융소비자보호법 </a:t>
            </a:r>
            <a:r>
              <a:rPr lang="en-US" altLang="ko-KR" sz="2400" spc="-100" dirty="0">
                <a:solidFill>
                  <a:prstClr val="black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_</a:t>
            </a:r>
            <a:r>
              <a:rPr lang="en-US" altLang="ko-KR" sz="2000" spc="-100" dirty="0">
                <a:solidFill>
                  <a:prstClr val="black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6</a:t>
            </a:r>
            <a:r>
              <a:rPr lang="ko-KR" altLang="en-US" sz="2000" spc="-100" dirty="0">
                <a:solidFill>
                  <a:prstClr val="black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대 </a:t>
            </a:r>
            <a:r>
              <a:rPr lang="ko-KR" altLang="en-US" sz="2000" spc="-100" dirty="0" err="1">
                <a:solidFill>
                  <a:prstClr val="black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판매원칙</a:t>
            </a:r>
            <a:r>
              <a:rPr lang="ko-KR" altLang="en-US" sz="2000" spc="-100" dirty="0">
                <a:solidFill>
                  <a:prstClr val="black"/>
                </a:solidFill>
                <a:latin typeface="교보서체 Bold" panose="020B0600000101010101" pitchFamily="50" charset="-127"/>
                <a:ea typeface="교보서체 Bold" panose="020B0600000101010101" pitchFamily="50" charset="-127"/>
              </a:rPr>
              <a:t> 준수</a:t>
            </a:r>
          </a:p>
        </p:txBody>
      </p:sp>
      <p:graphicFrame>
        <p:nvGraphicFramePr>
          <p:cNvPr id="4" name="표 3"/>
          <p:cNvGraphicFramePr>
            <a:graphicFrameLocks noGrp="1"/>
          </p:cNvGraphicFramePr>
          <p:nvPr>
            <p:extLst/>
          </p:nvPr>
        </p:nvGraphicFramePr>
        <p:xfrm>
          <a:off x="511401" y="1265420"/>
          <a:ext cx="9433047" cy="52873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68152">
                  <a:extLst>
                    <a:ext uri="{9D8B030D-6E8A-4147-A177-3AD203B41FA5}">
                      <a16:colId xmlns:a16="http://schemas.microsoft.com/office/drawing/2014/main" val="2884278816"/>
                    </a:ext>
                  </a:extLst>
                </a:gridCol>
                <a:gridCol w="5832648">
                  <a:extLst>
                    <a:ext uri="{9D8B030D-6E8A-4147-A177-3AD203B41FA5}">
                      <a16:colId xmlns:a16="http://schemas.microsoft.com/office/drawing/2014/main" val="2785070221"/>
                    </a:ext>
                  </a:extLst>
                </a:gridCol>
                <a:gridCol w="2232247">
                  <a:extLst>
                    <a:ext uri="{9D8B030D-6E8A-4147-A177-3AD203B41FA5}">
                      <a16:colId xmlns:a16="http://schemas.microsoft.com/office/drawing/2014/main" val="2747172896"/>
                    </a:ext>
                  </a:extLst>
                </a:gridCol>
              </a:tblGrid>
              <a:tr h="507282">
                <a:tc>
                  <a:txBody>
                    <a:bodyPr/>
                    <a:lstStyle/>
                    <a:p>
                      <a:pPr algn="ctr" latinLnBrk="1"/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6</a:t>
                      </a: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대 </a:t>
                      </a:r>
                      <a:r>
                        <a:rPr lang="ko-KR" altLang="en-US" sz="1200" b="1" dirty="0" err="1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판매원칙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0522" marR="80522" marT="40261" marB="40261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                           </a:t>
                      </a:r>
                      <a:r>
                        <a:rPr lang="en-US" altLang="ko-KR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GA-FP </a:t>
                      </a:r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핵심 실천사항</a:t>
                      </a:r>
                    </a:p>
                  </a:txBody>
                  <a:tcPr marL="80522" marR="80522" marT="40261" marB="40261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비고</a:t>
                      </a:r>
                    </a:p>
                  </a:txBody>
                  <a:tcPr marL="80522" marR="80522" marT="40261" marB="40261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4103280"/>
                  </a:ext>
                </a:extLst>
              </a:tr>
              <a:tr h="51752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적합성 원칙</a:t>
                      </a:r>
                    </a:p>
                  </a:txBody>
                  <a:tcPr marL="80522" marR="80522" marT="40261" marB="40261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2025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dirty="0" err="1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변액보험</a:t>
                      </a:r>
                      <a:r>
                        <a:rPr lang="ko-KR" altLang="en-US" sz="1200" b="1" dirty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적합성 진단 프로세스 준수</a:t>
                      </a:r>
                      <a:endParaRPr lang="en-US" altLang="ko-KR" sz="1200" b="1" dirty="0">
                        <a:solidFill>
                          <a:srgbClr val="FF0000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indent="0" algn="l" defTabSz="912025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spc="-138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판매자 입장에서</a:t>
                      </a:r>
                      <a:r>
                        <a:rPr lang="en-US" altLang="ko-KR" sz="900" b="0" spc="-138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ko-KR" altLang="en-US" sz="900" b="0" spc="-138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소비자의 재산</a:t>
                      </a:r>
                      <a:r>
                        <a:rPr lang="en-US" altLang="ko-KR" sz="900" b="0" spc="-138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 </a:t>
                      </a:r>
                      <a:r>
                        <a:rPr lang="ko-KR" altLang="en-US" sz="900" b="0" spc="-138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금융상품 취득</a:t>
                      </a:r>
                      <a:r>
                        <a:rPr lang="en-US" altLang="ko-KR" sz="900" b="0" spc="-138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 </a:t>
                      </a:r>
                      <a:r>
                        <a:rPr lang="ko-KR" altLang="en-US" sz="900" b="0" spc="-138" dirty="0" err="1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처분목적</a:t>
                      </a:r>
                      <a:r>
                        <a:rPr lang="en-US" altLang="ko-KR" sz="900" b="0" spc="-138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 </a:t>
                      </a:r>
                      <a:r>
                        <a:rPr lang="ko-KR" altLang="en-US" sz="900" b="0" spc="-138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경험에   비추어  부적합한 상품 체결 권유 금지 </a:t>
                      </a:r>
                      <a:r>
                        <a:rPr lang="en-US" altLang="ko-KR" sz="900" b="0" spc="-138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(</a:t>
                      </a:r>
                      <a:r>
                        <a:rPr lang="ko-KR" altLang="en-US" sz="900" b="0" spc="-138" dirty="0" err="1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변액보험</a:t>
                      </a:r>
                      <a:r>
                        <a:rPr lang="en-US" altLang="ko-KR" sz="900" b="0" spc="-138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0522" marR="80522" marT="40261" marB="40261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indent="0" algn="l" defTabSz="912025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spc="-138" dirty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★ </a:t>
                      </a:r>
                      <a:r>
                        <a:rPr lang="en-US" altLang="ko-KR" sz="1200" b="1" dirty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3</a:t>
                      </a:r>
                      <a:r>
                        <a:rPr lang="ko-KR" altLang="en-US" sz="1200" b="1" dirty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천만원 이하 과태료</a:t>
                      </a:r>
                    </a:p>
                  </a:txBody>
                  <a:tcPr marL="80522" marR="80522" marT="40261" marB="40261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6313752"/>
                  </a:ext>
                </a:extLst>
              </a:tr>
              <a:tr h="517528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적정성 원칙</a:t>
                      </a:r>
                    </a:p>
                  </a:txBody>
                  <a:tcPr marL="80522" marR="80522" marT="40261" marB="40261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2025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dirty="0" err="1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변액보험</a:t>
                      </a:r>
                      <a:r>
                        <a:rPr lang="ko-KR" altLang="en-US" sz="1200" b="1" dirty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적합성 진단 프로세스 준수</a:t>
                      </a:r>
                      <a:endParaRPr lang="en-US" altLang="ko-KR" sz="1200" b="1" dirty="0">
                        <a:solidFill>
                          <a:srgbClr val="FF0000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marL="0" marR="0" indent="0" algn="l" defTabSz="912025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spc="-138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소비자가 자발적으로 구매하려는 상품이 소비자 </a:t>
                      </a:r>
                      <a:r>
                        <a:rPr lang="ko-KR" altLang="en-US" sz="900" b="0" spc="-138" dirty="0" err="1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재산등에</a:t>
                      </a:r>
                      <a:r>
                        <a:rPr lang="ko-KR" altLang="en-US" sz="900" b="0" spc="-138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</a:t>
                      </a:r>
                      <a:r>
                        <a:rPr lang="en-US" altLang="ko-KR" sz="900" b="0" spc="-138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  <a:r>
                        <a:rPr lang="ko-KR" altLang="en-US" sz="900" b="0" spc="-138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비추어 </a:t>
                      </a:r>
                      <a:r>
                        <a:rPr lang="ko-KR" altLang="en-US" sz="900" b="0" spc="-138" dirty="0" err="1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부적정할</a:t>
                      </a:r>
                      <a:r>
                        <a:rPr lang="ko-KR" altLang="en-US" sz="900" b="0" spc="-138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경우 그 사실을 알리고 확인 받아야함 </a:t>
                      </a:r>
                      <a:endParaRPr lang="ko-KR" altLang="en-US" sz="9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0522" marR="80522" marT="40261" marB="40261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2025" rtl="0" eaLnBrk="1" fontAlgn="auto" latinLnBrk="1" hangingPunct="1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ko-KR" altLang="en-US" sz="10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3263001"/>
                  </a:ext>
                </a:extLst>
              </a:tr>
              <a:tr h="993105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설명의무</a:t>
                      </a:r>
                    </a:p>
                  </a:txBody>
                  <a:tcPr marL="80522" marR="80522" marT="40261" marB="40261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defTabSz="844174">
                        <a:defRPr/>
                      </a:pPr>
                      <a:r>
                        <a:rPr lang="ko-KR" altLang="en-US" sz="1200" b="1" dirty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상품을 권유하거나 소비자가 설명을 요청하는 경우 상품설명서의 모든 항목을 반드시 </a:t>
                      </a:r>
                      <a:endParaRPr lang="en-US" altLang="ko-KR" sz="1200" b="1" dirty="0">
                        <a:solidFill>
                          <a:srgbClr val="FF0000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defTabSz="844174">
                        <a:defRPr/>
                      </a:pPr>
                      <a:r>
                        <a:rPr lang="ko-KR" altLang="en-US" sz="1200" b="1" dirty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설명하며</a:t>
                      </a:r>
                      <a:r>
                        <a:rPr lang="en-US" altLang="ko-KR" sz="1200" b="1" dirty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 </a:t>
                      </a:r>
                      <a:r>
                        <a:rPr lang="ko-KR" altLang="en-US" sz="1200" b="1" dirty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소비자가 원하는 부분은 추가하여 설명해야 함   </a:t>
                      </a:r>
                    </a:p>
                    <a:p>
                      <a:pPr latinLnBrk="1">
                        <a:lnSpc>
                          <a:spcPct val="130000"/>
                        </a:lnSpc>
                      </a:pPr>
                      <a:r>
                        <a:rPr lang="ko-KR" altLang="en-US" sz="9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소비자가 합리적인 판단 또는 상품 가치에 중대한 영향을 미칠 수 있는 사항을 거짓 또는 왜곡하여</a:t>
                      </a:r>
                      <a:endParaRPr lang="en-US" altLang="ko-KR" sz="9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latinLnBrk="1">
                        <a:lnSpc>
                          <a:spcPct val="130000"/>
                        </a:lnSpc>
                      </a:pPr>
                      <a:r>
                        <a:rPr lang="ko-KR" altLang="en-US" sz="9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설명해서는 안됨</a:t>
                      </a:r>
                      <a:r>
                        <a:rPr lang="en-US" altLang="ko-KR" sz="9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.</a:t>
                      </a:r>
                      <a:r>
                        <a:rPr lang="ko-KR" altLang="en-US" sz="9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상품의 중요한 사항을 빠뜨리지 않고 설명</a:t>
                      </a:r>
                      <a:endParaRPr lang="en-US" altLang="ko-KR" sz="9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0522" marR="80522" marT="40261" marB="40261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200" b="1" spc="-138" dirty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★ </a:t>
                      </a:r>
                      <a:r>
                        <a:rPr lang="en-US" altLang="ko-KR" sz="1200" b="1" spc="-138" dirty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</a:t>
                      </a:r>
                      <a:r>
                        <a:rPr lang="ko-KR" altLang="en-US" sz="1200" b="1" spc="-138" dirty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 이내 해지 요구 가능</a:t>
                      </a:r>
                    </a:p>
                    <a:p>
                      <a:r>
                        <a:rPr lang="ko-KR" altLang="en-US" sz="1200" b="1" spc="-138" dirty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★ 판매자  →  최대   </a:t>
                      </a:r>
                      <a:r>
                        <a:rPr lang="en-US" altLang="ko-KR" sz="1200" b="1" spc="-138" dirty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</a:t>
                      </a:r>
                      <a:r>
                        <a:rPr lang="ko-KR" altLang="en-US" sz="1200" b="1" spc="-138" dirty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억    과태료</a:t>
                      </a:r>
                      <a:endParaRPr lang="en-US" altLang="ko-KR" sz="1200" b="1" spc="-138" dirty="0">
                        <a:solidFill>
                          <a:srgbClr val="FF0000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r>
                        <a:rPr lang="ko-KR" altLang="en-US" sz="1200" b="1" spc="-138" dirty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★ 회사      →  수입의 </a:t>
                      </a:r>
                      <a:r>
                        <a:rPr lang="en-US" altLang="ko-KR" sz="1200" b="1" spc="-138" dirty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0% </a:t>
                      </a:r>
                      <a:r>
                        <a:rPr lang="ko-KR" altLang="en-US" sz="1200" b="1" spc="-138" dirty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과징금</a:t>
                      </a:r>
                      <a:endParaRPr lang="en-US" altLang="ko-KR" sz="1200" b="1" dirty="0">
                        <a:solidFill>
                          <a:srgbClr val="FF0000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0522" marR="80522" marT="40261" marB="40261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5561032"/>
                  </a:ext>
                </a:extLst>
              </a:tr>
              <a:tr h="805220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불공정영업금지</a:t>
                      </a:r>
                    </a:p>
                  </a:txBody>
                  <a:tcPr marL="80522" marR="80522" marT="40261" marB="40261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202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제휴서비스 관련 알려야 할 사항 안내 준수</a:t>
                      </a: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!!</a:t>
                      </a:r>
                      <a:endParaRPr lang="ko-KR" altLang="en-US" sz="1200" b="1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latinLnBrk="1"/>
                      <a:r>
                        <a:rPr lang="ko-KR" altLang="en-US" sz="9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금융상품 </a:t>
                      </a:r>
                      <a:r>
                        <a:rPr lang="ko-KR" altLang="en-US" sz="900" b="0" dirty="0" err="1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판매시</a:t>
                      </a:r>
                      <a:r>
                        <a:rPr lang="ko-KR" altLang="en-US" sz="9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우월적 지위를 이용하여 소비자 권익 침해 행위 금지 </a:t>
                      </a:r>
                      <a:endParaRPr lang="en-US" altLang="ko-KR" sz="9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latinLnBrk="1"/>
                      <a:r>
                        <a:rPr lang="en-US" altLang="ko-KR" sz="9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· </a:t>
                      </a:r>
                      <a:r>
                        <a:rPr lang="ko-KR" altLang="en-US" sz="9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소비자 의사에 반한 상품 강요 및 계약체결</a:t>
                      </a:r>
                      <a:endParaRPr lang="en-US" altLang="ko-KR" sz="9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latinLnBrk="1"/>
                      <a:r>
                        <a:rPr lang="en-US" altLang="ko-KR" sz="9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· </a:t>
                      </a:r>
                      <a:r>
                        <a:rPr lang="ko-KR" altLang="en-US" sz="9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회사의 부당 담보</a:t>
                      </a:r>
                      <a:r>
                        <a:rPr lang="en-US" altLang="ko-KR" sz="9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 </a:t>
                      </a:r>
                      <a:r>
                        <a:rPr lang="ko-KR" altLang="en-US" sz="9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편익 요구 및 제공 받는 행위</a:t>
                      </a:r>
                      <a:endParaRPr lang="en-US" altLang="ko-KR" sz="9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latinLnBrk="1"/>
                      <a:r>
                        <a:rPr lang="en-US" altLang="ko-KR" sz="9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· </a:t>
                      </a:r>
                      <a:r>
                        <a:rPr lang="ko-KR" altLang="en-US" sz="9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연계</a:t>
                      </a:r>
                      <a:r>
                        <a:rPr lang="en-US" altLang="ko-KR" sz="9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/</a:t>
                      </a:r>
                      <a:r>
                        <a:rPr lang="ko-KR" altLang="en-US" sz="9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제휴서비스를 부당하게 축소</a:t>
                      </a:r>
                      <a:r>
                        <a:rPr lang="en-US" altLang="ko-KR" sz="9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 </a:t>
                      </a:r>
                      <a:r>
                        <a:rPr lang="ko-KR" altLang="en-US" sz="9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변경하는 행위</a:t>
                      </a:r>
                      <a:endParaRPr lang="en-US" altLang="ko-KR" sz="9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0522" marR="80522" marT="40261" marB="40261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200" b="1" spc="-138" dirty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★ </a:t>
                      </a:r>
                      <a:r>
                        <a:rPr lang="en-US" altLang="ko-KR" sz="1200" b="1" spc="-138" dirty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</a:t>
                      </a:r>
                      <a:r>
                        <a:rPr lang="ko-KR" altLang="en-US" sz="1200" b="1" spc="-138" dirty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 이내 해지 요구 가능</a:t>
                      </a:r>
                    </a:p>
                    <a:p>
                      <a:r>
                        <a:rPr lang="ko-KR" altLang="en-US" sz="1200" b="1" spc="-138" dirty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★ 판매자  →  최대   </a:t>
                      </a:r>
                      <a:r>
                        <a:rPr lang="en-US" altLang="ko-KR" sz="1200" b="1" spc="-138" dirty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</a:t>
                      </a:r>
                      <a:r>
                        <a:rPr lang="ko-KR" altLang="en-US" sz="1200" b="1" spc="-138" dirty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억     과태료</a:t>
                      </a:r>
                      <a:endParaRPr lang="en-US" altLang="ko-KR" sz="1200" b="1" spc="-138" dirty="0">
                        <a:solidFill>
                          <a:srgbClr val="FF0000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r>
                        <a:rPr lang="ko-KR" altLang="en-US" sz="1200" b="1" spc="-138" dirty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★ 회사      →   수입의 </a:t>
                      </a:r>
                      <a:r>
                        <a:rPr lang="en-US" altLang="ko-KR" sz="1200" b="1" spc="-138" dirty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0% </a:t>
                      </a:r>
                      <a:r>
                        <a:rPr lang="ko-KR" altLang="en-US" sz="1200" b="1" spc="-138" dirty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과징금</a:t>
                      </a:r>
                      <a:endParaRPr lang="en-US" altLang="ko-KR" sz="1200" b="1" dirty="0">
                        <a:solidFill>
                          <a:srgbClr val="FF0000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0522" marR="80522" marT="40261" marB="40261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482231"/>
                  </a:ext>
                </a:extLst>
              </a:tr>
              <a:tr h="107362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부당권유금지</a:t>
                      </a:r>
                    </a:p>
                  </a:txBody>
                  <a:tcPr marL="80522" marR="80522" marT="40261" marB="40261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2025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신의성실 원칙에 근거한 고지의무 작성</a:t>
                      </a:r>
                    </a:p>
                    <a:p>
                      <a:pPr latinLnBrk="1"/>
                      <a:r>
                        <a:rPr lang="ko-KR" altLang="en-US" sz="9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단정적 판단 제공</a:t>
                      </a:r>
                      <a:r>
                        <a:rPr lang="en-US" altLang="ko-KR" sz="9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 </a:t>
                      </a:r>
                      <a:r>
                        <a:rPr lang="ko-KR" altLang="en-US" sz="9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오인할 소지의 내용</a:t>
                      </a:r>
                      <a:r>
                        <a:rPr lang="en-US" altLang="ko-KR" sz="9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 </a:t>
                      </a:r>
                      <a:r>
                        <a:rPr lang="ko-KR" altLang="en-US" sz="9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중요한 사항을 사실과 다르게 알리거나 알리지 않도록 부당하게 </a:t>
                      </a:r>
                      <a:endParaRPr lang="en-US" altLang="ko-KR" sz="9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latinLnBrk="1"/>
                      <a:r>
                        <a:rPr lang="ko-KR" altLang="en-US" sz="9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권유하는 행위 금지 </a:t>
                      </a:r>
                      <a:endParaRPr lang="en-US" altLang="ko-KR" sz="9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defTabSz="844174">
                        <a:defRPr/>
                      </a:pPr>
                      <a:r>
                        <a:rPr lang="en-US" altLang="ko-KR" sz="9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· </a:t>
                      </a:r>
                      <a:r>
                        <a:rPr lang="ko-KR" altLang="en-US" sz="9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불확실한 사항에 대한 단정적 판단을 제공하는 행위</a:t>
                      </a:r>
                      <a:endParaRPr lang="en-US" altLang="ko-KR" sz="9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defTabSz="844174">
                        <a:defRPr/>
                      </a:pPr>
                      <a:r>
                        <a:rPr lang="en-US" altLang="ko-KR" sz="9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· </a:t>
                      </a:r>
                      <a:r>
                        <a:rPr lang="ko-KR" altLang="en-US" sz="9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객관적 근거없이 금융상품을 비교하여 우수하거나 유리하다고 알리는 행위 </a:t>
                      </a:r>
                      <a:endParaRPr lang="en-US" altLang="ko-KR" sz="9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defTabSz="844174">
                        <a:defRPr/>
                      </a:pPr>
                      <a:r>
                        <a:rPr lang="en-US" altLang="ko-KR" sz="9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· </a:t>
                      </a:r>
                      <a:r>
                        <a:rPr lang="ko-KR" altLang="en-US" sz="9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금융상품의 내용을 사실과 다르게 알리는 행위</a:t>
                      </a:r>
                      <a:endParaRPr lang="en-US" altLang="ko-KR" sz="9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defTabSz="844174">
                        <a:defRPr/>
                      </a:pPr>
                      <a:r>
                        <a:rPr lang="en-US" altLang="ko-KR" sz="9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· </a:t>
                      </a:r>
                      <a:r>
                        <a:rPr lang="ko-KR" altLang="en-US" sz="9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고지의무를 방해하거나 부실하게 알리도록 하는 행위</a:t>
                      </a:r>
                      <a:r>
                        <a:rPr lang="en-US" altLang="ko-KR" sz="9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</a:p>
                  </a:txBody>
                  <a:tcPr marL="80522" marR="80522" marT="40261" marB="40261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200" b="1" spc="-138" dirty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★ </a:t>
                      </a:r>
                      <a:r>
                        <a:rPr lang="en-US" altLang="ko-KR" sz="1200" b="1" spc="-138" dirty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</a:t>
                      </a:r>
                      <a:r>
                        <a:rPr lang="ko-KR" altLang="en-US" sz="1200" b="1" spc="-138" dirty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년 이내 해지 요구 가능</a:t>
                      </a:r>
                    </a:p>
                    <a:p>
                      <a:r>
                        <a:rPr lang="ko-KR" altLang="en-US" sz="1200" b="1" spc="-138" dirty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★ 판매자  →  최대   </a:t>
                      </a:r>
                      <a:r>
                        <a:rPr lang="en-US" altLang="ko-KR" sz="1200" b="1" spc="-138" dirty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</a:t>
                      </a:r>
                      <a:r>
                        <a:rPr lang="ko-KR" altLang="en-US" sz="1200" b="1" spc="-138" dirty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억    과태료</a:t>
                      </a:r>
                      <a:endParaRPr lang="en-US" altLang="ko-KR" sz="1200" b="1" spc="-138" dirty="0">
                        <a:solidFill>
                          <a:srgbClr val="FF0000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r>
                        <a:rPr lang="ko-KR" altLang="en-US" sz="1200" b="1" spc="-138" dirty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★ 회사    →    수입의 </a:t>
                      </a:r>
                      <a:r>
                        <a:rPr lang="en-US" altLang="ko-KR" sz="1200" b="1" spc="-138" dirty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0% </a:t>
                      </a:r>
                      <a:r>
                        <a:rPr lang="ko-KR" altLang="en-US" sz="1200" b="1" spc="-138" dirty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과징금</a:t>
                      </a:r>
                      <a:endParaRPr lang="en-US" altLang="ko-KR" sz="1200" b="1" dirty="0">
                        <a:solidFill>
                          <a:srgbClr val="FF0000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0522" marR="80522" marT="40261" marB="40261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0190526"/>
                  </a:ext>
                </a:extLst>
              </a:tr>
              <a:tr h="853533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200" b="1" dirty="0"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광고 규제</a:t>
                      </a:r>
                    </a:p>
                  </a:txBody>
                  <a:tcPr marL="80522" marR="80522" marT="40261" marB="40261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2025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200" b="1" dirty="0" err="1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교보생명이</a:t>
                      </a: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승인한 광고</a:t>
                      </a: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· </a:t>
                      </a:r>
                      <a:r>
                        <a:rPr lang="ko-KR" altLang="en-US" sz="12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안내자료 사용</a:t>
                      </a:r>
                      <a:r>
                        <a:rPr lang="en-US" altLang="ko-KR" sz="1200" b="1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! </a:t>
                      </a:r>
                    </a:p>
                    <a:p>
                      <a:pPr marL="0" marR="0" indent="0" algn="l" defTabSz="912025" rtl="0" eaLnBrk="1" fontAlgn="auto" latinLnBrk="1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dirty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※ </a:t>
                      </a:r>
                      <a:r>
                        <a:rPr lang="ko-KR" altLang="en-US" sz="1200" b="1" dirty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교육자료를 광고 및 </a:t>
                      </a:r>
                      <a:r>
                        <a:rPr lang="ko-KR" altLang="en-US" sz="1200" b="1" dirty="0" err="1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인터텟</a:t>
                      </a:r>
                      <a:r>
                        <a:rPr lang="ko-KR" altLang="en-US" sz="1200" b="1" dirty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블로그 등 </a:t>
                      </a:r>
                      <a:r>
                        <a:rPr lang="ko-KR" altLang="en-US" sz="1200" b="1" dirty="0" err="1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사용엄금</a:t>
                      </a:r>
                      <a:endParaRPr lang="ko-KR" altLang="en-US" sz="1200" b="1" dirty="0">
                        <a:solidFill>
                          <a:srgbClr val="FF0000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latinLnBrk="1">
                        <a:lnSpc>
                          <a:spcPct val="120000"/>
                        </a:lnSpc>
                      </a:pPr>
                      <a:r>
                        <a:rPr lang="ko-KR" altLang="en-US" sz="9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소비자가 금융상품을 오해하지 않도록 명확하고 공정하게 전달 </a:t>
                      </a:r>
                      <a:endParaRPr lang="en-US" altLang="ko-KR" sz="900" b="0" dirty="0">
                        <a:solidFill>
                          <a:schemeClr val="tx1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pPr latinLnBrk="1">
                        <a:lnSpc>
                          <a:spcPct val="120000"/>
                        </a:lnSpc>
                      </a:pPr>
                      <a:r>
                        <a:rPr lang="en-US" altLang="ko-KR" sz="9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(</a:t>
                      </a:r>
                      <a:r>
                        <a:rPr lang="ko-KR" altLang="en-US" sz="9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필수사항 포함</a:t>
                      </a:r>
                      <a:r>
                        <a:rPr lang="en-US" altLang="ko-KR" sz="9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 </a:t>
                      </a:r>
                      <a:r>
                        <a:rPr lang="ko-KR" altLang="en-US" sz="9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금지 행위 등을 규제</a:t>
                      </a:r>
                      <a:r>
                        <a:rPr lang="en-US" altLang="ko-KR" sz="9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)</a:t>
                      </a:r>
                      <a:r>
                        <a:rPr lang="ko-KR" altLang="en-US" sz="900" b="0" dirty="0" err="1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미승인</a:t>
                      </a:r>
                      <a:r>
                        <a:rPr lang="ko-KR" altLang="en-US" sz="9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자료 사용</a:t>
                      </a:r>
                      <a:r>
                        <a:rPr lang="en-US" altLang="ko-KR" sz="9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, </a:t>
                      </a:r>
                      <a:r>
                        <a:rPr lang="ko-KR" altLang="en-US" sz="9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과장 광고 금지 </a:t>
                      </a:r>
                      <a:r>
                        <a:rPr lang="en-US" altLang="ko-KR" sz="900" b="0" dirty="0">
                          <a:solidFill>
                            <a:schemeClr val="tx1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</a:t>
                      </a:r>
                    </a:p>
                  </a:txBody>
                  <a:tcPr marL="80522" marR="80522" marT="40261" marB="40261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ko-KR" altLang="en-US" sz="1200" b="1" spc="-138" dirty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★ 최대 </a:t>
                      </a:r>
                      <a:r>
                        <a:rPr lang="en-US" altLang="ko-KR" sz="1200" b="1" spc="-138" dirty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1</a:t>
                      </a:r>
                      <a:r>
                        <a:rPr lang="ko-KR" altLang="en-US" sz="1200" b="1" spc="-138" dirty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억 과태료 </a:t>
                      </a:r>
                      <a:r>
                        <a:rPr lang="en-US" altLang="ko-KR" sz="1200" b="1" spc="-138" dirty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/</a:t>
                      </a:r>
                      <a:endParaRPr lang="ko-KR" altLang="en-US" sz="1200" b="1" spc="-138" dirty="0">
                        <a:solidFill>
                          <a:srgbClr val="FF0000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  <a:p>
                      <a:r>
                        <a:rPr lang="ko-KR" altLang="en-US" sz="1200" b="1" spc="-138" dirty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     회사  수입의 </a:t>
                      </a:r>
                      <a:r>
                        <a:rPr lang="en-US" altLang="ko-KR" sz="1200" b="1" spc="-138" dirty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50% </a:t>
                      </a:r>
                      <a:r>
                        <a:rPr lang="ko-KR" altLang="en-US" sz="1200" b="1" spc="-138" dirty="0">
                          <a:solidFill>
                            <a:srgbClr val="FF0000"/>
                          </a:solidFill>
                          <a:latin typeface="나눔고딕" panose="020D0604000000000000" pitchFamily="50" charset="-127"/>
                          <a:ea typeface="나눔고딕" panose="020D0604000000000000" pitchFamily="50" charset="-127"/>
                        </a:rPr>
                        <a:t>과징금</a:t>
                      </a:r>
                      <a:endParaRPr lang="en-US" altLang="ko-KR" sz="1200" b="1" dirty="0">
                        <a:solidFill>
                          <a:srgbClr val="FF0000"/>
                        </a:solidFill>
                        <a:latin typeface="나눔고딕" panose="020D0604000000000000" pitchFamily="50" charset="-127"/>
                        <a:ea typeface="나눔고딕" panose="020D0604000000000000" pitchFamily="50" charset="-127"/>
                      </a:endParaRPr>
                    </a:p>
                  </a:txBody>
                  <a:tcPr marL="80522" marR="80522" marT="40261" marB="40261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9874228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" y="6997005"/>
            <a:ext cx="9728423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ko-KR" altLang="en-US" sz="9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본 자료는 </a:t>
            </a:r>
            <a:r>
              <a:rPr lang="en-US" altLang="ko-KR" sz="9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GA</a:t>
            </a:r>
            <a:r>
              <a:rPr lang="ko-KR" altLang="en-US" sz="9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교육용 </a:t>
            </a:r>
            <a:r>
              <a:rPr lang="ko-KR" altLang="en-US" sz="900" dirty="0" err="1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요약자료이며</a:t>
            </a:r>
            <a:r>
              <a:rPr lang="en-US" altLang="ko-KR" sz="9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9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고객에게 제시 및 교부를 금지합니다</a:t>
            </a:r>
            <a:r>
              <a:rPr lang="en-US" altLang="ko-KR" sz="9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9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정확한 내용은 약관과 상품설명서를 확인하시기 바랍니다</a:t>
            </a:r>
            <a:r>
              <a:rPr lang="en-US" altLang="ko-KR" sz="9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endParaRPr lang="ko-KR" altLang="en-US" sz="900" dirty="0">
              <a:solidFill>
                <a:srgbClr val="FF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" y="6997007"/>
            <a:ext cx="9728423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ko-KR" altLang="en-US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본 자료는 </a:t>
            </a:r>
            <a:r>
              <a:rPr lang="en-US" altLang="ko-KR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GA</a:t>
            </a:r>
            <a:r>
              <a:rPr lang="ko-KR" altLang="en-US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교육용 요약 자료이며</a:t>
            </a:r>
            <a:r>
              <a:rPr lang="en-US" altLang="ko-KR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고객에게 제시 및 교부를 금지합니다</a:t>
            </a:r>
            <a:r>
              <a:rPr lang="en-US" altLang="ko-KR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정확한 내용은 약관과 상품설명서를 확인하시기 바랍니다</a:t>
            </a:r>
            <a:r>
              <a:rPr lang="en-US" altLang="ko-KR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endParaRPr lang="ko-KR" altLang="en-US" sz="1000" dirty="0">
              <a:solidFill>
                <a:srgbClr val="FF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7" name="모서리가 둥근 직사각형 6"/>
          <p:cNvSpPr/>
          <p:nvPr/>
        </p:nvSpPr>
        <p:spPr>
          <a:xfrm>
            <a:off x="7963287" y="556924"/>
            <a:ext cx="1117064" cy="166755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100" dirty="0"/>
              <a:t>고객 제시 불가</a:t>
            </a:r>
          </a:p>
        </p:txBody>
      </p:sp>
      <p:sp>
        <p:nvSpPr>
          <p:cNvPr id="8" name="모서리가 둥근 직사각형 7"/>
          <p:cNvSpPr/>
          <p:nvPr/>
        </p:nvSpPr>
        <p:spPr>
          <a:xfrm>
            <a:off x="9116164" y="556922"/>
            <a:ext cx="854113" cy="166756"/>
          </a:xfrm>
          <a:prstGeom prst="roundRect">
            <a:avLst/>
          </a:prstGeom>
          <a:solidFill>
            <a:schemeClr val="tx2">
              <a:lumMod val="50000"/>
            </a:schemeClr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1100" dirty="0"/>
              <a:t>GA </a:t>
            </a:r>
            <a:r>
              <a:rPr lang="ko-KR" altLang="en-US" sz="1100" dirty="0"/>
              <a:t>교육용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778733"/>
            <a:fld id="{2747D207-944B-4363-884F-A02296F6E65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 defTabSz="778733"/>
              <a:t>5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0795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"/>
          <p:cNvSpPr txBox="1">
            <a:spLocks noChangeArrowheads="1"/>
          </p:cNvSpPr>
          <p:nvPr/>
        </p:nvSpPr>
        <p:spPr bwMode="auto">
          <a:xfrm>
            <a:off x="381952" y="149288"/>
            <a:ext cx="9504536" cy="433058"/>
          </a:xfrm>
          <a:prstGeom prst="rect">
            <a:avLst/>
          </a:prstGeom>
          <a:noFill/>
          <a:ln w="25400">
            <a:noFill/>
            <a:miter lim="800000"/>
            <a:headEnd type="none" w="sm" len="sm"/>
            <a:tailEnd type="none" w="sm" len="sm"/>
          </a:ln>
        </p:spPr>
        <p:txBody>
          <a:bodyPr wrap="square" lIns="35996" tIns="46795" rIns="35996" bIns="46795">
            <a:spAutoFit/>
          </a:bodyPr>
          <a:lstStyle/>
          <a:p>
            <a:pPr lvl="0" eaLnBrk="0" latinLnBrk="0" hangingPunct="0">
              <a:spcBef>
                <a:spcPct val="50000"/>
              </a:spcBef>
              <a:defRPr/>
            </a:pPr>
            <a:r>
              <a:rPr lang="ko-KR" altLang="en-US" sz="2200" dirty="0">
                <a:solidFill>
                  <a:prstClr val="black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계약 </a:t>
            </a:r>
            <a:r>
              <a:rPr lang="ko-KR" altLang="en-US" sz="2200" dirty="0" err="1">
                <a:solidFill>
                  <a:prstClr val="black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체결시</a:t>
            </a:r>
            <a:r>
              <a:rPr lang="ko-KR" altLang="en-US" sz="2200" dirty="0">
                <a:solidFill>
                  <a:prstClr val="black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정확한 설명의무 이행</a:t>
            </a:r>
          </a:p>
        </p:txBody>
      </p:sp>
      <p:grpSp>
        <p:nvGrpSpPr>
          <p:cNvPr id="6" name="그룹 5"/>
          <p:cNvGrpSpPr/>
          <p:nvPr/>
        </p:nvGrpSpPr>
        <p:grpSpPr>
          <a:xfrm>
            <a:off x="439391" y="1423209"/>
            <a:ext cx="3816424" cy="5300572"/>
            <a:chOff x="443372" y="2500447"/>
            <a:chExt cx="4284476" cy="4168914"/>
          </a:xfrm>
        </p:grpSpPr>
        <p:sp>
          <p:nvSpPr>
            <p:cNvPr id="7" name="직사각형 6"/>
            <p:cNvSpPr/>
            <p:nvPr/>
          </p:nvSpPr>
          <p:spPr>
            <a:xfrm>
              <a:off x="443372" y="2500447"/>
              <a:ext cx="4284476" cy="4168914"/>
            </a:xfrm>
            <a:prstGeom prst="rect">
              <a:avLst/>
            </a:prstGeom>
            <a:solidFill>
              <a:srgbClr val="DCE6F2"/>
            </a:solidFill>
            <a:ln w="19050">
              <a:solidFill>
                <a:schemeClr val="bg1">
                  <a:lumMod val="8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88900" algn="ctr" defTabSz="914400" fontAlgn="base">
                <a:spcBef>
                  <a:spcPts val="300"/>
                </a:spcBef>
                <a:spcAft>
                  <a:spcPct val="0"/>
                </a:spcAft>
                <a:defRPr/>
              </a:pPr>
              <a:endParaRPr kumimoji="1" lang="ko-KR" altLang="en-US" sz="1200" dirty="0">
                <a:solidFill>
                  <a:sysClr val="windowText" lastClr="000000"/>
                </a:solidFill>
                <a:latin typeface="교보서체 SemiBold" panose="020B0600000101010101" pitchFamily="50" charset="-127"/>
                <a:ea typeface="교보서체 SemiBold" panose="020B0600000101010101" pitchFamily="50" charset="-127"/>
              </a:endParaRPr>
            </a:p>
          </p:txBody>
        </p:sp>
        <p:pic>
          <p:nvPicPr>
            <p:cNvPr id="8" name="그림 7"/>
            <p:cNvPicPr>
              <a:picLocks noChangeAspect="1"/>
            </p:cNvPicPr>
            <p:nvPr/>
          </p:nvPicPr>
          <p:blipFill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33000"/>
                      </a14:imgEffect>
                    </a14:imgLayer>
                  </a14:imgProps>
                </a:ext>
              </a:extLst>
            </a:blip>
            <a:srcRect l="1505" t="1657" r="723"/>
            <a:stretch/>
          </p:blipFill>
          <p:spPr>
            <a:xfrm>
              <a:off x="512044" y="2547417"/>
              <a:ext cx="4142828" cy="4077524"/>
            </a:xfrm>
            <a:prstGeom prst="rect">
              <a:avLst/>
            </a:prstGeom>
          </p:spPr>
        </p:pic>
        <p:sp>
          <p:nvSpPr>
            <p:cNvPr id="9" name="모서리가 둥근 직사각형 8"/>
            <p:cNvSpPr/>
            <p:nvPr/>
          </p:nvSpPr>
          <p:spPr>
            <a:xfrm>
              <a:off x="1080793" y="5041169"/>
              <a:ext cx="2448000" cy="72000"/>
            </a:xfrm>
            <a:prstGeom prst="roundRect">
              <a:avLst/>
            </a:prstGeom>
            <a:solidFill>
              <a:srgbClr val="FF66FF">
                <a:alpha val="40000"/>
              </a:srgbClr>
            </a:solidFill>
          </p:spPr>
          <p:txBody>
            <a:bodyPr wrap="none" lIns="94383" tIns="111475" rIns="94383" bIns="47192" rtlCol="0" anchor="ctr">
              <a:noAutofit/>
            </a:bodyPr>
            <a:lstStyle/>
            <a:p>
              <a:pPr algn="ctr" defTabSz="914191">
                <a:lnSpc>
                  <a:spcPct val="150000"/>
                </a:lnSpc>
                <a:defRPr/>
              </a:pPr>
              <a:endParaRPr lang="ko-KR" altLang="en-US" sz="6000" b="1" dirty="0">
                <a:solidFill>
                  <a:srgbClr val="000066"/>
                </a:solidFill>
                <a:latin typeface="교보서체 SemiBold" panose="020B0600000101010101" pitchFamily="50" charset="-127"/>
                <a:ea typeface="교보서체 SemiBold" panose="020B0600000101010101" pitchFamily="50" charset="-127"/>
              </a:endParaRPr>
            </a:p>
          </p:txBody>
        </p:sp>
        <p:sp>
          <p:nvSpPr>
            <p:cNvPr id="10" name="모서리가 둥근 직사각형 9"/>
            <p:cNvSpPr/>
            <p:nvPr/>
          </p:nvSpPr>
          <p:spPr>
            <a:xfrm>
              <a:off x="1856859" y="5238531"/>
              <a:ext cx="2628000" cy="72000"/>
            </a:xfrm>
            <a:prstGeom prst="roundRect">
              <a:avLst/>
            </a:prstGeom>
            <a:solidFill>
              <a:srgbClr val="FF66FF">
                <a:alpha val="40000"/>
              </a:srgbClr>
            </a:solidFill>
          </p:spPr>
          <p:txBody>
            <a:bodyPr wrap="none" lIns="94383" tIns="111475" rIns="94383" bIns="47192" rtlCol="0" anchor="ctr">
              <a:noAutofit/>
            </a:bodyPr>
            <a:lstStyle/>
            <a:p>
              <a:pPr algn="ctr" defTabSz="914191">
                <a:lnSpc>
                  <a:spcPct val="150000"/>
                </a:lnSpc>
                <a:defRPr/>
              </a:pPr>
              <a:endParaRPr lang="ko-KR" altLang="en-US" sz="6000" b="1" dirty="0">
                <a:solidFill>
                  <a:srgbClr val="000066"/>
                </a:solidFill>
                <a:latin typeface="교보서체 SemiBold" panose="020B0600000101010101" pitchFamily="50" charset="-127"/>
                <a:ea typeface="교보서체 SemiBold" panose="020B0600000101010101" pitchFamily="50" charset="-127"/>
              </a:endParaRPr>
            </a:p>
          </p:txBody>
        </p:sp>
        <p:sp>
          <p:nvSpPr>
            <p:cNvPr id="11" name="모서리가 둥근 직사각형 10"/>
            <p:cNvSpPr/>
            <p:nvPr/>
          </p:nvSpPr>
          <p:spPr>
            <a:xfrm>
              <a:off x="2676432" y="5741774"/>
              <a:ext cx="1836000" cy="72000"/>
            </a:xfrm>
            <a:prstGeom prst="roundRect">
              <a:avLst/>
            </a:prstGeom>
            <a:solidFill>
              <a:srgbClr val="FF66FF">
                <a:alpha val="40000"/>
              </a:srgbClr>
            </a:solidFill>
          </p:spPr>
          <p:txBody>
            <a:bodyPr wrap="none" lIns="94383" tIns="111475" rIns="94383" bIns="47192" rtlCol="0" anchor="ctr">
              <a:noAutofit/>
            </a:bodyPr>
            <a:lstStyle/>
            <a:p>
              <a:pPr algn="ctr" defTabSz="914191">
                <a:lnSpc>
                  <a:spcPct val="150000"/>
                </a:lnSpc>
                <a:defRPr/>
              </a:pPr>
              <a:endParaRPr lang="ko-KR" altLang="en-US" sz="6000" b="1" dirty="0">
                <a:solidFill>
                  <a:srgbClr val="000066"/>
                </a:solidFill>
                <a:latin typeface="교보서체 SemiBold" panose="020B0600000101010101" pitchFamily="50" charset="-127"/>
                <a:ea typeface="교보서체 SemiBold" panose="020B0600000101010101" pitchFamily="50" charset="-127"/>
              </a:endParaRPr>
            </a:p>
          </p:txBody>
        </p:sp>
        <p:sp>
          <p:nvSpPr>
            <p:cNvPr id="12" name="모서리가 둥근 직사각형 11"/>
            <p:cNvSpPr/>
            <p:nvPr/>
          </p:nvSpPr>
          <p:spPr>
            <a:xfrm>
              <a:off x="2379577" y="6199686"/>
              <a:ext cx="2196000" cy="72000"/>
            </a:xfrm>
            <a:prstGeom prst="roundRect">
              <a:avLst/>
            </a:prstGeom>
            <a:solidFill>
              <a:srgbClr val="FF66FF">
                <a:alpha val="40000"/>
              </a:srgbClr>
            </a:solidFill>
          </p:spPr>
          <p:txBody>
            <a:bodyPr wrap="none" lIns="94383" tIns="111475" rIns="94383" bIns="47192" rtlCol="0" anchor="ctr">
              <a:noAutofit/>
            </a:bodyPr>
            <a:lstStyle/>
            <a:p>
              <a:pPr algn="ctr" defTabSz="914191">
                <a:lnSpc>
                  <a:spcPct val="150000"/>
                </a:lnSpc>
                <a:defRPr/>
              </a:pPr>
              <a:endParaRPr lang="ko-KR" altLang="en-US" sz="6000" b="1" dirty="0">
                <a:solidFill>
                  <a:srgbClr val="000066"/>
                </a:solidFill>
                <a:latin typeface="교보서체 SemiBold" panose="020B0600000101010101" pitchFamily="50" charset="-127"/>
                <a:ea typeface="교보서체 SemiBold" panose="020B0600000101010101" pitchFamily="50" charset="-127"/>
              </a:endParaRPr>
            </a:p>
          </p:txBody>
        </p:sp>
      </p:grpSp>
      <p:sp>
        <p:nvSpPr>
          <p:cNvPr id="16" name="TextBox 15"/>
          <p:cNvSpPr txBox="1"/>
          <p:nvPr/>
        </p:nvSpPr>
        <p:spPr>
          <a:xfrm>
            <a:off x="4344930" y="1423209"/>
            <a:ext cx="5383494" cy="1700466"/>
          </a:xfrm>
          <a:prstGeom prst="rect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1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&lt; </a:t>
            </a:r>
            <a:r>
              <a:rPr lang="ko-KR" altLang="en-US" sz="1100" b="1" dirty="0" err="1">
                <a:latin typeface="나눔고딕" panose="020D0604000000000000" pitchFamily="50" charset="-127"/>
                <a:ea typeface="나눔고딕" panose="020D0604000000000000" pitchFamily="50" charset="-127"/>
              </a:rPr>
              <a:t>소비자경보</a:t>
            </a:r>
            <a:r>
              <a:rPr lang="ko-KR" altLang="en-US" sz="11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1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‘</a:t>
            </a:r>
            <a:r>
              <a:rPr lang="ko-KR" altLang="en-US" sz="11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주의</a:t>
            </a:r>
            <a:r>
              <a:rPr lang="en-US" altLang="ko-KR" sz="11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’ </a:t>
            </a:r>
            <a:r>
              <a:rPr lang="ko-KR" altLang="en-US" sz="11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발령 배경 </a:t>
            </a:r>
            <a:r>
              <a:rPr lang="en-US" altLang="ko-KR" sz="11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&gt;</a:t>
            </a:r>
          </a:p>
          <a:p>
            <a:pPr>
              <a:lnSpc>
                <a:spcPct val="150000"/>
              </a:lnSpc>
            </a:pPr>
            <a:r>
              <a:rPr lang="en-US" altLang="ko-KR" sz="11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• </a:t>
            </a:r>
            <a:r>
              <a:rPr lang="ko-KR" altLang="en-US" sz="11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최근 </a:t>
            </a:r>
            <a:r>
              <a:rPr lang="ko-KR" altLang="en-US" sz="1100" b="1" dirty="0" err="1">
                <a:latin typeface="나눔고딕" panose="020D0604000000000000" pitchFamily="50" charset="-127"/>
                <a:ea typeface="나눔고딕" panose="020D0604000000000000" pitchFamily="50" charset="-127"/>
              </a:rPr>
              <a:t>단기납</a:t>
            </a:r>
            <a:r>
              <a:rPr lang="ko-KR" altLang="en-US" sz="11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 종신보험 판매 증가에 따라 </a:t>
            </a:r>
            <a:endParaRPr lang="en-US" altLang="ko-KR" sz="11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100" b="1" dirty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   </a:t>
            </a:r>
            <a:r>
              <a:rPr lang="ko-KR" altLang="en-US" sz="1100" b="1" dirty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종신보험 불완전판매 민원도 증가 </a:t>
            </a:r>
            <a:r>
              <a:rPr lang="ko-KR" altLang="en-US" sz="11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추세임</a:t>
            </a:r>
            <a:endParaRPr lang="en-US" altLang="ko-KR" sz="11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1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• </a:t>
            </a:r>
            <a:r>
              <a:rPr lang="ko-KR" altLang="en-US" sz="11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이에 금감원에서는 </a:t>
            </a:r>
            <a:r>
              <a:rPr lang="ko-KR" altLang="en-US" sz="1100" b="1" dirty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종신보험 판매 미스터리쇼핑을 실시</a:t>
            </a:r>
            <a:r>
              <a:rPr lang="ko-KR" altLang="en-US" sz="11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하였으며</a:t>
            </a:r>
            <a:r>
              <a:rPr lang="en-US" altLang="ko-KR" sz="11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,</a:t>
            </a:r>
            <a:r>
              <a:rPr lang="ko-KR" altLang="en-US" sz="11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endParaRPr lang="en-US" altLang="ko-KR" sz="11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    민원 </a:t>
            </a:r>
            <a:r>
              <a:rPr lang="ko-KR" altLang="en-US" sz="1100" b="1" dirty="0" err="1">
                <a:latin typeface="나눔고딕" panose="020D0604000000000000" pitchFamily="50" charset="-127"/>
                <a:ea typeface="나눔고딕" panose="020D0604000000000000" pitchFamily="50" charset="-127"/>
              </a:rPr>
              <a:t>유발소지가</a:t>
            </a:r>
            <a:r>
              <a:rPr lang="ko-KR" altLang="en-US" sz="11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 큰 종신보험의</a:t>
            </a:r>
            <a:endParaRPr lang="en-US" altLang="ko-KR" sz="11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r>
              <a:rPr lang="en-US" altLang="ko-KR" sz="11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    </a:t>
            </a:r>
            <a:r>
              <a:rPr lang="en-US" altLang="ko-KR" sz="1100" b="1" dirty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‘</a:t>
            </a:r>
            <a:r>
              <a:rPr lang="ko-KR" altLang="en-US" sz="1100" b="1" dirty="0" err="1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해약환급금</a:t>
            </a:r>
            <a:r>
              <a:rPr lang="en-US" altLang="ko-KR" sz="1100" b="1" dirty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’</a:t>
            </a:r>
            <a:r>
              <a:rPr lang="en-US" altLang="ko-KR" sz="11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en-US" altLang="ko-KR" sz="1100" b="1" dirty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‘</a:t>
            </a:r>
            <a:r>
              <a:rPr lang="ko-KR" altLang="en-US" sz="1100" b="1" dirty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보험금 지급 </a:t>
            </a:r>
            <a:r>
              <a:rPr lang="ko-KR" altLang="en-US" sz="1100" b="1" dirty="0" err="1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제한사유</a:t>
            </a:r>
            <a:r>
              <a:rPr lang="en-US" altLang="ko-KR" sz="1100" b="1" dirty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’</a:t>
            </a:r>
            <a:r>
              <a:rPr lang="en-US" altLang="ko-KR" sz="11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ko-KR" altLang="en-US" sz="11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등에 대한 설명 미흡이 확인되어</a:t>
            </a:r>
            <a:r>
              <a:rPr lang="en-US" altLang="ko-KR" sz="11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</a:p>
          <a:p>
            <a:r>
              <a:rPr lang="en-US" altLang="ko-KR" sz="11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    </a:t>
            </a:r>
            <a:r>
              <a:rPr lang="ko-KR" altLang="en-US" sz="1100" b="1" dirty="0" err="1">
                <a:latin typeface="나눔고딕" panose="020D0604000000000000" pitchFamily="50" charset="-127"/>
                <a:ea typeface="나눔고딕" panose="020D0604000000000000" pitchFamily="50" charset="-127"/>
              </a:rPr>
              <a:t>소비자경보</a:t>
            </a:r>
            <a:r>
              <a:rPr lang="ko-KR" altLang="en-US" sz="11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100" b="1" dirty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‘</a:t>
            </a:r>
            <a:r>
              <a:rPr lang="ko-KR" altLang="en-US" sz="1100" b="1" dirty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주의</a:t>
            </a:r>
            <a:r>
              <a:rPr lang="en-US" altLang="ko-KR" sz="11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’ </a:t>
            </a:r>
            <a:r>
              <a:rPr lang="ko-KR" altLang="en-US" sz="11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를 발령함</a:t>
            </a:r>
            <a:endParaRPr lang="en-US" altLang="ko-KR" sz="11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338372" y="5167627"/>
            <a:ext cx="60381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※</a:t>
            </a:r>
            <a:r>
              <a:rPr lang="ko-KR" altLang="en-US" sz="12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 제재 규정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327823" y="5531147"/>
            <a:ext cx="6048672" cy="11926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1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- </a:t>
            </a:r>
            <a:r>
              <a:rPr lang="ko-KR" altLang="en-US" sz="1100" b="1" u="sng" dirty="0">
                <a:solidFill>
                  <a:srgbClr val="0000C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금융소비자보호법 제</a:t>
            </a:r>
            <a:r>
              <a:rPr lang="en-US" altLang="ko-KR" sz="1100" b="1" u="sng" dirty="0">
                <a:solidFill>
                  <a:srgbClr val="0000C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47</a:t>
            </a:r>
            <a:r>
              <a:rPr lang="ko-KR" altLang="en-US" sz="1100" b="1" u="sng" dirty="0">
                <a:solidFill>
                  <a:srgbClr val="0000C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조</a:t>
            </a:r>
            <a:r>
              <a:rPr lang="en-US" altLang="ko-KR" sz="1100" b="1" u="sng" dirty="0">
                <a:solidFill>
                  <a:srgbClr val="0000C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100" b="1" u="sng" dirty="0" err="1">
                <a:solidFill>
                  <a:srgbClr val="0000C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위법계약의</a:t>
            </a:r>
            <a:r>
              <a:rPr lang="ko-KR" altLang="en-US" sz="1100" b="1" u="sng" dirty="0">
                <a:solidFill>
                  <a:srgbClr val="0000C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해지</a:t>
            </a:r>
            <a:r>
              <a:rPr lang="en-US" altLang="ko-KR" sz="1100" b="1" u="sng" dirty="0">
                <a:solidFill>
                  <a:srgbClr val="0000C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 </a:t>
            </a:r>
            <a:r>
              <a:rPr lang="ko-KR" altLang="en-US" sz="1100" b="1" u="sng" dirty="0">
                <a:solidFill>
                  <a:srgbClr val="0000C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및 제 </a:t>
            </a:r>
            <a:r>
              <a:rPr lang="en-US" altLang="ko-KR" sz="1100" b="1" u="sng" dirty="0">
                <a:solidFill>
                  <a:srgbClr val="0000C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57</a:t>
            </a:r>
            <a:r>
              <a:rPr lang="ko-KR" altLang="en-US" sz="1100" b="1" u="sng" dirty="0">
                <a:solidFill>
                  <a:srgbClr val="0000C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조</a:t>
            </a:r>
            <a:r>
              <a:rPr lang="en-US" altLang="ko-KR" sz="1100" b="1" u="sng" dirty="0">
                <a:solidFill>
                  <a:srgbClr val="0000C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100" b="1" u="sng" dirty="0">
                <a:solidFill>
                  <a:srgbClr val="0000C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과징금</a:t>
            </a:r>
            <a:r>
              <a:rPr lang="en-US" altLang="ko-KR" sz="1100" b="1" u="sng" dirty="0">
                <a:solidFill>
                  <a:srgbClr val="0000C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, </a:t>
            </a:r>
            <a:r>
              <a:rPr lang="ko-KR" altLang="en-US" sz="1100" b="1" u="sng" dirty="0">
                <a:solidFill>
                  <a:srgbClr val="0000C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제 </a:t>
            </a:r>
            <a:r>
              <a:rPr lang="en-US" altLang="ko-KR" sz="1100" b="1" u="sng" dirty="0">
                <a:solidFill>
                  <a:srgbClr val="0000C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69</a:t>
            </a:r>
            <a:r>
              <a:rPr lang="ko-KR" altLang="en-US" sz="1100" b="1" u="sng" dirty="0">
                <a:solidFill>
                  <a:srgbClr val="0000C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조</a:t>
            </a:r>
            <a:r>
              <a:rPr lang="en-US" altLang="ko-KR" sz="1100" b="1" u="sng" dirty="0">
                <a:solidFill>
                  <a:srgbClr val="0000C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100" b="1" u="sng" dirty="0">
                <a:solidFill>
                  <a:srgbClr val="0000C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과태료</a:t>
            </a:r>
            <a:r>
              <a:rPr lang="en-US" altLang="ko-KR" sz="1100" b="1" u="sng" dirty="0">
                <a:solidFill>
                  <a:srgbClr val="0000C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en-US" altLang="ko-KR" sz="11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   </a:t>
            </a:r>
            <a:r>
              <a:rPr lang="en-US" altLang="ko-KR" sz="1100" b="1" u="sng" dirty="0">
                <a:solidFill>
                  <a:srgbClr val="0000C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* </a:t>
            </a:r>
            <a:r>
              <a:rPr lang="ko-KR" altLang="en-US" sz="1100" b="1" u="sng" dirty="0" err="1">
                <a:solidFill>
                  <a:srgbClr val="0000C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위법계약의</a:t>
            </a:r>
            <a:r>
              <a:rPr lang="ko-KR" altLang="en-US" sz="1100" b="1" u="sng" dirty="0">
                <a:solidFill>
                  <a:srgbClr val="0000C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해지</a:t>
            </a:r>
            <a:r>
              <a:rPr lang="ko-KR" altLang="en-US" sz="1100" dirty="0">
                <a:solidFill>
                  <a:srgbClr val="0000C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1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11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설명의무 위반 시 소비자가 위반사항을 안 날로부터 </a:t>
            </a:r>
            <a:r>
              <a:rPr lang="en-US" altLang="ko-KR" sz="11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1</a:t>
            </a:r>
            <a:r>
              <a:rPr lang="ko-KR" altLang="en-US" sz="11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년</a:t>
            </a:r>
            <a:r>
              <a:rPr lang="en-US" altLang="ko-KR" sz="11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,</a:t>
            </a:r>
          </a:p>
          <a:p>
            <a:r>
              <a:rPr lang="en-US" altLang="ko-KR" sz="11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                                   </a:t>
            </a:r>
            <a:r>
              <a:rPr lang="ko-KR" altLang="en-US" sz="11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계약체결일로부터 </a:t>
            </a:r>
            <a:r>
              <a:rPr lang="en-US" altLang="ko-KR" sz="11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5</a:t>
            </a:r>
            <a:r>
              <a:rPr lang="ko-KR" altLang="en-US" sz="11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년 이내 계약 해지 요구</a:t>
            </a:r>
            <a:endParaRPr lang="en-US" altLang="ko-KR" sz="11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1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   </a:t>
            </a:r>
            <a:r>
              <a:rPr lang="en-US" altLang="ko-KR" sz="1100" b="1" u="sng" dirty="0">
                <a:solidFill>
                  <a:srgbClr val="0000C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* </a:t>
            </a:r>
            <a:r>
              <a:rPr lang="ko-KR" altLang="en-US" sz="1100" b="1" u="sng" dirty="0">
                <a:solidFill>
                  <a:srgbClr val="0000CC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과징금</a:t>
            </a:r>
            <a:r>
              <a:rPr lang="en-US" altLang="ko-KR" sz="11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1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회사 </a:t>
            </a:r>
            <a:r>
              <a:rPr lang="en-US" altLang="ko-KR" sz="11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: </a:t>
            </a:r>
            <a:r>
              <a:rPr lang="ko-KR" altLang="en-US" sz="11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해당보험계약 수입보험료의 </a:t>
            </a:r>
            <a:r>
              <a:rPr lang="en-US" altLang="ko-KR" sz="11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50%), </a:t>
            </a:r>
            <a:r>
              <a:rPr lang="ko-KR" altLang="en-US" sz="11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과태료</a:t>
            </a:r>
            <a:r>
              <a:rPr lang="en-US" altLang="ko-KR" sz="11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(</a:t>
            </a:r>
            <a:r>
              <a:rPr lang="ko-KR" altLang="en-US" sz="11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행위자 </a:t>
            </a:r>
            <a:r>
              <a:rPr lang="en-US" altLang="ko-KR" sz="11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: 1</a:t>
            </a:r>
            <a:r>
              <a:rPr lang="ko-KR" altLang="en-US" sz="11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억원 이하</a:t>
            </a:r>
            <a:r>
              <a:rPr lang="en-US" altLang="ko-KR" sz="11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), </a:t>
            </a:r>
            <a:r>
              <a:rPr lang="ko-KR" altLang="en-US" sz="11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임직원 조치</a:t>
            </a:r>
            <a:endParaRPr lang="en-US" altLang="ko-KR" sz="11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1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- </a:t>
            </a:r>
            <a:r>
              <a:rPr lang="ko-KR" altLang="en-US" sz="11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컨설턴트조치기준 </a:t>
            </a:r>
            <a:r>
              <a:rPr lang="en-US" altLang="ko-KR" sz="11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2</a:t>
            </a:r>
            <a:r>
              <a:rPr lang="ko-KR" altLang="en-US" sz="11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항 </a:t>
            </a:r>
            <a:r>
              <a:rPr lang="ko-KR" altLang="en-US" sz="1100" b="1" dirty="0" err="1">
                <a:latin typeface="나눔고딕" panose="020D0604000000000000" pitchFamily="50" charset="-127"/>
                <a:ea typeface="나눔고딕" panose="020D0604000000000000" pitchFamily="50" charset="-127"/>
              </a:rPr>
              <a:t>바호</a:t>
            </a:r>
            <a:r>
              <a:rPr lang="ko-KR" altLang="en-US" sz="11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1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‘</a:t>
            </a:r>
            <a:r>
              <a:rPr lang="ko-KR" altLang="en-US" sz="11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상품의 주요내용 설명 불성실</a:t>
            </a:r>
            <a:r>
              <a:rPr lang="en-US" altLang="ko-KR" sz="11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’ : </a:t>
            </a:r>
            <a:r>
              <a:rPr lang="ko-KR" altLang="en-US" sz="11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보수교육 </a:t>
            </a:r>
            <a:r>
              <a:rPr lang="en-US" altLang="ko-KR" sz="11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~ </a:t>
            </a:r>
            <a:r>
              <a:rPr lang="ko-KR" altLang="en-US" sz="1100" b="1" dirty="0" err="1">
                <a:latin typeface="나눔고딕" panose="020D0604000000000000" pitchFamily="50" charset="-127"/>
                <a:ea typeface="나눔고딕" panose="020D0604000000000000" pitchFamily="50" charset="-127"/>
              </a:rPr>
              <a:t>모집정지</a:t>
            </a:r>
            <a:r>
              <a:rPr lang="ko-KR" altLang="en-US" sz="11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 </a:t>
            </a:r>
            <a:r>
              <a:rPr lang="en-US" altLang="ko-KR" sz="11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1</a:t>
            </a:r>
            <a:r>
              <a:rPr lang="ko-KR" altLang="en-US" sz="11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월</a:t>
            </a:r>
            <a:endParaRPr lang="en-US" altLang="ko-KR" sz="1100" b="1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344930" y="3223411"/>
            <a:ext cx="5383494" cy="1869743"/>
          </a:xfrm>
          <a:prstGeom prst="rect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11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&lt;</a:t>
            </a:r>
            <a:r>
              <a:rPr lang="ko-KR" altLang="en-US" sz="11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종신보험 </a:t>
            </a:r>
            <a:r>
              <a:rPr lang="ko-KR" altLang="en-US" sz="1100" b="1" dirty="0" err="1">
                <a:latin typeface="나눔고딕" panose="020D0604000000000000" pitchFamily="50" charset="-127"/>
                <a:ea typeface="나눔고딕" panose="020D0604000000000000" pitchFamily="50" charset="-127"/>
              </a:rPr>
              <a:t>가입권유시</a:t>
            </a:r>
            <a:r>
              <a:rPr lang="ko-KR" altLang="en-US" sz="11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 실천사항</a:t>
            </a:r>
            <a:r>
              <a:rPr lang="en-US" altLang="ko-KR" sz="1100" b="1" dirty="0">
                <a:latin typeface="나눔고딕" panose="020D0604000000000000" pitchFamily="50" charset="-127"/>
                <a:ea typeface="나눔고딕" panose="020D0604000000000000" pitchFamily="50" charset="-127"/>
              </a:rPr>
              <a:t>&gt;</a:t>
            </a:r>
          </a:p>
          <a:p>
            <a:pPr>
              <a:lnSpc>
                <a:spcPct val="150000"/>
              </a:lnSpc>
            </a:pPr>
            <a:r>
              <a:rPr lang="ko-KR" altLang="en-US" sz="11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① </a:t>
            </a:r>
            <a:r>
              <a:rPr lang="ko-KR" altLang="en-US" sz="1100" b="1" dirty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종신보험</a:t>
            </a:r>
            <a:r>
              <a:rPr lang="ko-KR" altLang="en-US" sz="11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은 보장성보험으로 </a:t>
            </a:r>
            <a:r>
              <a:rPr lang="ko-KR" altLang="en-US" sz="1100" b="1" dirty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저축성 보험상품이 아님</a:t>
            </a:r>
            <a:r>
              <a:rPr lang="ko-KR" altLang="en-US" sz="11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을 안내</a:t>
            </a:r>
            <a:endParaRPr lang="en-US" altLang="ko-KR" sz="11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② </a:t>
            </a:r>
            <a:r>
              <a:rPr lang="ko-KR" altLang="en-US" sz="1100" dirty="0" err="1">
                <a:latin typeface="나눔고딕" panose="020D0604000000000000" pitchFamily="50" charset="-127"/>
                <a:ea typeface="나눔고딕" panose="020D0604000000000000" pitchFamily="50" charset="-127"/>
              </a:rPr>
              <a:t>당기납</a:t>
            </a:r>
            <a:r>
              <a:rPr lang="ko-KR" altLang="en-US" sz="11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종신보험은 </a:t>
            </a:r>
            <a:r>
              <a:rPr lang="ko-KR" altLang="en-US" sz="1100" b="1" dirty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동일한 </a:t>
            </a:r>
            <a:r>
              <a:rPr lang="ko-KR" altLang="en-US" sz="1100" b="1" dirty="0" err="1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보장내용의</a:t>
            </a:r>
            <a:r>
              <a:rPr lang="ko-KR" altLang="en-US" sz="1100" b="1" dirty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종신보험</a:t>
            </a:r>
            <a:r>
              <a:rPr lang="ko-KR" altLang="en-US" sz="11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에 비해 </a:t>
            </a:r>
            <a:r>
              <a:rPr lang="ko-KR" altLang="en-US" sz="1100" b="1" dirty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보험료가 높음</a:t>
            </a:r>
            <a:r>
              <a:rPr lang="ko-KR" altLang="en-US" sz="11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을 안내</a:t>
            </a:r>
            <a:endParaRPr lang="en-US" altLang="ko-KR" sz="11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③ </a:t>
            </a:r>
            <a:r>
              <a:rPr lang="ko-KR" altLang="en-US" sz="1100" b="1" dirty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저해지환급형</a:t>
            </a:r>
            <a:r>
              <a:rPr lang="ko-KR" altLang="en-US" sz="11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으로 가입하는 경우 </a:t>
            </a:r>
            <a:r>
              <a:rPr lang="ko-KR" altLang="en-US" sz="1100" b="1" dirty="0" err="1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중도해지시</a:t>
            </a:r>
            <a:r>
              <a:rPr lang="ko-KR" altLang="en-US" sz="1100" b="1" dirty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표준형 상품보다 해약환급금이 없거나 </a:t>
            </a:r>
            <a:endParaRPr lang="en-US" altLang="ko-KR" sz="1100" b="1" dirty="0">
              <a:solidFill>
                <a:srgbClr val="C0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100" b="1" dirty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    </a:t>
            </a:r>
            <a:r>
              <a:rPr lang="ko-KR" altLang="en-US" sz="1100" b="1" dirty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적을 수 있음</a:t>
            </a:r>
            <a:r>
              <a:rPr lang="ko-KR" altLang="en-US" sz="11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을 안내</a:t>
            </a:r>
            <a:endParaRPr lang="en-US" altLang="ko-KR" sz="11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>
              <a:lnSpc>
                <a:spcPct val="150000"/>
              </a:lnSpc>
            </a:pPr>
            <a:r>
              <a:rPr lang="ko-KR" altLang="en-US" sz="11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④ </a:t>
            </a:r>
            <a:r>
              <a:rPr lang="ko-KR" altLang="en-US" sz="1100" dirty="0" err="1">
                <a:latin typeface="나눔고딕" panose="020D0604000000000000" pitchFamily="50" charset="-127"/>
                <a:ea typeface="나눔고딕" panose="020D0604000000000000" pitchFamily="50" charset="-127"/>
              </a:rPr>
              <a:t>상품설명서</a:t>
            </a:r>
            <a:r>
              <a:rPr lang="ko-KR" altLang="en-US" sz="11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內 </a:t>
            </a:r>
            <a:r>
              <a:rPr lang="ko-KR" altLang="en-US" sz="1100" b="1" dirty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상품의 특징</a:t>
            </a:r>
            <a:r>
              <a:rPr lang="ko-KR" altLang="en-US" sz="11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에 대해 </a:t>
            </a:r>
            <a:r>
              <a:rPr lang="ko-KR" altLang="en-US" sz="1100" b="1" dirty="0">
                <a:solidFill>
                  <a:srgbClr val="C0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누락없이 설명</a:t>
            </a:r>
            <a:r>
              <a:rPr lang="ko-KR" altLang="en-US" sz="11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해야함을 안내</a:t>
            </a:r>
            <a:endParaRPr lang="en-US" altLang="ko-KR" sz="11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1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     - </a:t>
            </a:r>
            <a:r>
              <a:rPr lang="ko-KR" altLang="en-US" sz="11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상품설명서의 내용을 충분히 설명하여 가입하도록 안내</a:t>
            </a:r>
            <a:endParaRPr lang="en-US" altLang="ko-KR" sz="11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" y="6997005"/>
            <a:ext cx="9728423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ko-KR" altLang="en-US" sz="9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본 자료는 </a:t>
            </a:r>
            <a:r>
              <a:rPr lang="en-US" altLang="ko-KR" sz="9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GA</a:t>
            </a:r>
            <a:r>
              <a:rPr lang="ko-KR" altLang="en-US" sz="9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교육용 </a:t>
            </a:r>
            <a:r>
              <a:rPr lang="ko-KR" altLang="en-US" sz="900" dirty="0" err="1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요약자료이며</a:t>
            </a:r>
            <a:r>
              <a:rPr lang="en-US" altLang="ko-KR" sz="9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9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고객에게 제시 및 교부를 금지합니다</a:t>
            </a:r>
            <a:r>
              <a:rPr lang="en-US" altLang="ko-KR" sz="9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9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정확한 내용은 약관과 상품설명서를 확인하시기 바랍니다</a:t>
            </a:r>
            <a:r>
              <a:rPr lang="en-US" altLang="ko-KR" sz="9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endParaRPr lang="ko-KR" altLang="en-US" sz="900" dirty="0">
              <a:solidFill>
                <a:srgbClr val="FF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" y="6997007"/>
            <a:ext cx="9728423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ko-KR" altLang="en-US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본 자료는 </a:t>
            </a:r>
            <a:r>
              <a:rPr lang="en-US" altLang="ko-KR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GA</a:t>
            </a:r>
            <a:r>
              <a:rPr lang="ko-KR" altLang="en-US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교육용 요약 자료이며</a:t>
            </a:r>
            <a:r>
              <a:rPr lang="en-US" altLang="ko-KR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고객에게 제시 및 교부를 금지합니다</a:t>
            </a:r>
            <a:r>
              <a:rPr lang="en-US" altLang="ko-KR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정확한 내용은 약관과 상품설명서를 확인하시기 바랍니다</a:t>
            </a:r>
            <a:r>
              <a:rPr lang="en-US" altLang="ko-KR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endParaRPr lang="ko-KR" altLang="en-US" sz="1000" dirty="0">
              <a:solidFill>
                <a:srgbClr val="FF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1" name="모서리가 둥근 직사각형 20"/>
          <p:cNvSpPr/>
          <p:nvPr/>
        </p:nvSpPr>
        <p:spPr>
          <a:xfrm>
            <a:off x="7963287" y="556924"/>
            <a:ext cx="1117064" cy="166755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100" dirty="0"/>
              <a:t>고객 제시 불가</a:t>
            </a:r>
          </a:p>
        </p:txBody>
      </p:sp>
      <p:sp>
        <p:nvSpPr>
          <p:cNvPr id="22" name="모서리가 둥근 직사각형 21"/>
          <p:cNvSpPr/>
          <p:nvPr/>
        </p:nvSpPr>
        <p:spPr>
          <a:xfrm>
            <a:off x="9116164" y="556922"/>
            <a:ext cx="854113" cy="166756"/>
          </a:xfrm>
          <a:prstGeom prst="roundRect">
            <a:avLst/>
          </a:prstGeom>
          <a:solidFill>
            <a:schemeClr val="tx2">
              <a:lumMod val="50000"/>
            </a:schemeClr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1100" dirty="0"/>
              <a:t>GA </a:t>
            </a:r>
            <a:r>
              <a:rPr lang="ko-KR" altLang="en-US" sz="1100" dirty="0"/>
              <a:t>교육용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778733"/>
            <a:fld id="{2747D207-944B-4363-884F-A02296F6E65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 defTabSz="778733"/>
              <a:t>6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3653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"/>
          <p:cNvSpPr txBox="1">
            <a:spLocks noChangeArrowheads="1"/>
          </p:cNvSpPr>
          <p:nvPr/>
        </p:nvSpPr>
        <p:spPr bwMode="auto">
          <a:xfrm>
            <a:off x="398544" y="149288"/>
            <a:ext cx="9504536" cy="433058"/>
          </a:xfrm>
          <a:prstGeom prst="rect">
            <a:avLst/>
          </a:prstGeom>
          <a:noFill/>
          <a:ln w="25400">
            <a:noFill/>
            <a:miter lim="800000"/>
            <a:headEnd type="none" w="sm" len="sm"/>
            <a:tailEnd type="none" w="sm" len="sm"/>
          </a:ln>
        </p:spPr>
        <p:txBody>
          <a:bodyPr wrap="square" lIns="35996" tIns="46795" rIns="35996" bIns="46795">
            <a:spAutoFit/>
          </a:bodyPr>
          <a:lstStyle/>
          <a:p>
            <a:pPr defTabSz="914295" eaLnBrk="0" latinLnBrk="0" hangingPunct="0">
              <a:spcBef>
                <a:spcPct val="50000"/>
              </a:spcBef>
              <a:defRPr/>
            </a:pPr>
            <a:r>
              <a:rPr lang="ko-KR" altLang="en-US" sz="2200" dirty="0" smtClean="0">
                <a:solidFill>
                  <a:prstClr val="black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소비자의 </a:t>
            </a:r>
            <a:r>
              <a:rPr lang="ko-KR" altLang="en-US" sz="2200" dirty="0">
                <a:solidFill>
                  <a:prstClr val="black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올바른 선택을 위한 설명의무 준수 </a:t>
            </a:r>
            <a:r>
              <a:rPr lang="en-US" altLang="ko-KR" sz="2200" dirty="0">
                <a:solidFill>
                  <a:prstClr val="black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(1/2)</a:t>
            </a:r>
            <a:endParaRPr lang="ko-KR" altLang="en-US" sz="2200" dirty="0">
              <a:solidFill>
                <a:prstClr val="black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cxnSp>
        <p:nvCxnSpPr>
          <p:cNvPr id="6" name="직선 연결선 5"/>
          <p:cNvCxnSpPr/>
          <p:nvPr/>
        </p:nvCxnSpPr>
        <p:spPr>
          <a:xfrm>
            <a:off x="1064568" y="1611664"/>
            <a:ext cx="7524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sp>
        <p:nvSpPr>
          <p:cNvPr id="7" name="Rectangle 35"/>
          <p:cNvSpPr>
            <a:spLocks noChangeArrowheads="1"/>
          </p:cNvSpPr>
          <p:nvPr/>
        </p:nvSpPr>
        <p:spPr bwMode="auto">
          <a:xfrm>
            <a:off x="940535" y="1251173"/>
            <a:ext cx="80678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67126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kumimoji="1" lang="en-US" altLang="ko-KR" sz="1600" b="1" dirty="0">
                <a:solidFill>
                  <a:prstClr val="black"/>
                </a:solidFill>
                <a:latin typeface="교보서체 SemiBold" panose="020B0600000101010101" pitchFamily="50" charset="-127"/>
                <a:ea typeface="교보서체 SemiBold" panose="020B0600000101010101" pitchFamily="50" charset="-127"/>
              </a:rPr>
              <a:t>‘22</a:t>
            </a:r>
            <a:r>
              <a:rPr kumimoji="1" lang="ko-KR" altLang="en-US" sz="1600" b="1" dirty="0">
                <a:solidFill>
                  <a:prstClr val="black"/>
                </a:solidFill>
                <a:latin typeface="교보서체 SemiBold" panose="020B0600000101010101" pitchFamily="50" charset="-127"/>
                <a:ea typeface="교보서체 SemiBold" panose="020B0600000101010101" pitchFamily="50" charset="-127"/>
              </a:rPr>
              <a:t>년 </a:t>
            </a:r>
            <a:r>
              <a:rPr kumimoji="1" lang="ko-KR" altLang="en-US" sz="1600" b="1" dirty="0" err="1">
                <a:solidFill>
                  <a:prstClr val="black"/>
                </a:solidFill>
                <a:latin typeface="교보서체 SemiBold" panose="020B0600000101010101" pitchFamily="50" charset="-127"/>
                <a:ea typeface="교보서체 SemiBold" panose="020B0600000101010101" pitchFamily="50" charset="-127"/>
              </a:rPr>
              <a:t>금감원</a:t>
            </a:r>
            <a:r>
              <a:rPr kumimoji="1" lang="ko-KR" altLang="en-US" sz="1600" b="1" dirty="0">
                <a:solidFill>
                  <a:prstClr val="black"/>
                </a:solidFill>
                <a:latin typeface="교보서체 SemiBold" panose="020B0600000101010101" pitchFamily="50" charset="-127"/>
                <a:ea typeface="교보서체 SemiBold" panose="020B0600000101010101" pitchFamily="50" charset="-127"/>
              </a:rPr>
              <a:t> </a:t>
            </a:r>
            <a:r>
              <a:rPr kumimoji="1" lang="en-US" altLang="ko-KR" sz="1600" b="1" dirty="0">
                <a:solidFill>
                  <a:prstClr val="black"/>
                </a:solidFill>
                <a:latin typeface="교보서체 SemiBold" panose="020B0600000101010101" pitchFamily="50" charset="-127"/>
                <a:ea typeface="교보서체 SemiBold" panose="020B0600000101010101" pitchFamily="50" charset="-127"/>
              </a:rPr>
              <a:t>‘</a:t>
            </a:r>
            <a:r>
              <a:rPr kumimoji="1" lang="ko-KR" altLang="en-US" sz="1600" b="1" dirty="0">
                <a:solidFill>
                  <a:prstClr val="black"/>
                </a:solidFill>
                <a:latin typeface="교보서체 SemiBold" panose="020B0600000101010101" pitchFamily="50" charset="-127"/>
                <a:ea typeface="교보서체 SemiBold" panose="020B0600000101010101" pitchFamily="50" charset="-127"/>
              </a:rPr>
              <a:t>종신보험</a:t>
            </a:r>
            <a:r>
              <a:rPr kumimoji="1" lang="en-US" altLang="ko-KR" sz="1600" b="1" dirty="0">
                <a:solidFill>
                  <a:prstClr val="black"/>
                </a:solidFill>
                <a:latin typeface="교보서체 SemiBold" panose="020B0600000101010101" pitchFamily="50" charset="-127"/>
                <a:ea typeface="교보서체 SemiBold" panose="020B0600000101010101" pitchFamily="50" charset="-127"/>
              </a:rPr>
              <a:t>’</a:t>
            </a:r>
            <a:r>
              <a:rPr kumimoji="1" lang="ko-KR" altLang="en-US" sz="1600" b="1" dirty="0">
                <a:solidFill>
                  <a:prstClr val="black"/>
                </a:solidFill>
                <a:latin typeface="교보서체 SemiBold" panose="020B0600000101010101" pitchFamily="50" charset="-127"/>
                <a:ea typeface="교보서체 SemiBold" panose="020B0600000101010101" pitchFamily="50" charset="-127"/>
              </a:rPr>
              <a:t> 미스터리쇼핑 주요 평가 항목을 통한 보험상품 설명 시 유의사항</a:t>
            </a:r>
          </a:p>
        </p:txBody>
      </p:sp>
      <p:graphicFrame>
        <p:nvGraphicFramePr>
          <p:cNvPr id="8" name="표 7"/>
          <p:cNvGraphicFramePr>
            <a:graphicFrameLocks noGrp="1"/>
          </p:cNvGraphicFramePr>
          <p:nvPr>
            <p:extLst/>
          </p:nvPr>
        </p:nvGraphicFramePr>
        <p:xfrm>
          <a:off x="967917" y="1755228"/>
          <a:ext cx="8328458" cy="47029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181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103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5949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구분</a:t>
                      </a:r>
                    </a:p>
                  </a:txBody>
                  <a:tcPr marL="80045" marR="80045" marT="40023" marB="400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설명 시 주요내용</a:t>
                      </a:r>
                    </a:p>
                  </a:txBody>
                  <a:tcPr marL="80045" marR="80045" marT="40023" marB="40023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9986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위험보장내용 및 위험보장 기간</a:t>
                      </a:r>
                    </a:p>
                  </a:txBody>
                  <a:tcPr marL="80045" marR="80045" marT="40023" marB="400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50" b="0" kern="120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  <a:cs typeface="+mn-cs"/>
                        </a:rPr>
                        <a:t>- </a:t>
                      </a:r>
                      <a:r>
                        <a:rPr lang="ko-KR" altLang="en-US" sz="1050" b="1" kern="120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  <a:cs typeface="+mn-cs"/>
                        </a:rPr>
                        <a:t>주계약</a:t>
                      </a:r>
                      <a:r>
                        <a:rPr lang="en-US" altLang="ko-KR" sz="1050" b="1" kern="120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  <a:cs typeface="+mn-cs"/>
                        </a:rPr>
                        <a:t>,</a:t>
                      </a:r>
                      <a:r>
                        <a:rPr lang="en-US" altLang="ko-KR" sz="1050" b="1" kern="1200" baseline="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50" b="1" kern="1200" baseline="0" dirty="0" err="1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  <a:cs typeface="+mn-cs"/>
                        </a:rPr>
                        <a:t>특약별</a:t>
                      </a:r>
                      <a:r>
                        <a:rPr lang="ko-KR" altLang="en-US" sz="1050" b="0" kern="1200" baseline="0" dirty="0" err="1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  <a:cs typeface="+mn-cs"/>
                        </a:rPr>
                        <a:t>에</a:t>
                      </a:r>
                      <a:r>
                        <a:rPr lang="ko-KR" altLang="en-US" sz="1050" b="0" kern="1200" baseline="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50" b="1" kern="1200" baseline="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  <a:cs typeface="+mn-cs"/>
                        </a:rPr>
                        <a:t>보장하는 범위</a:t>
                      </a:r>
                      <a:r>
                        <a:rPr lang="en-US" altLang="ko-KR" sz="1050" b="0" kern="1200" baseline="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050" b="1" kern="1200" baseline="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  <a:cs typeface="+mn-cs"/>
                        </a:rPr>
                        <a:t>보험금이 지급되지 않는 사유</a:t>
                      </a:r>
                      <a:r>
                        <a:rPr lang="en-US" altLang="ko-KR" sz="1050" b="1" kern="1200" baseline="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  <a:cs typeface="+mn-cs"/>
                        </a:rPr>
                        <a:t>(</a:t>
                      </a:r>
                      <a:r>
                        <a:rPr lang="ko-KR" altLang="en-US" sz="1050" b="1" kern="1200" baseline="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  <a:cs typeface="+mn-cs"/>
                        </a:rPr>
                        <a:t>면책</a:t>
                      </a:r>
                      <a:r>
                        <a:rPr lang="en-US" altLang="ko-KR" sz="1050" b="1" kern="1200" baseline="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  <a:cs typeface="+mn-cs"/>
                        </a:rPr>
                        <a:t>) </a:t>
                      </a:r>
                      <a:r>
                        <a:rPr lang="ko-KR" altLang="en-US" sz="1050" b="1" kern="1200" baseline="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  <a:cs typeface="+mn-cs"/>
                        </a:rPr>
                        <a:t>및 기간을 구분</a:t>
                      </a:r>
                      <a:r>
                        <a:rPr lang="ko-KR" altLang="en-US" sz="1050" b="0" kern="1200" baseline="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  <a:cs typeface="+mn-cs"/>
                        </a:rPr>
                        <a:t>하여 설명</a:t>
                      </a:r>
                      <a:r>
                        <a:rPr lang="en-US" altLang="ko-KR" sz="1050" b="0" kern="1200" baseline="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  <a:cs typeface="+mn-cs"/>
                        </a:rPr>
                        <a:t/>
                      </a:r>
                      <a:br>
                        <a:rPr lang="en-US" altLang="ko-KR" sz="1050" b="0" kern="1200" baseline="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  <a:cs typeface="+mn-cs"/>
                        </a:rPr>
                      </a:br>
                      <a:r>
                        <a:rPr lang="en-US" altLang="ko-KR" sz="1050" b="0" kern="1200" baseline="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  <a:cs typeface="+mn-cs"/>
                        </a:rPr>
                        <a:t>- </a:t>
                      </a:r>
                      <a:r>
                        <a:rPr lang="ko-KR" altLang="en-US" sz="1050" b="1" kern="1200" baseline="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  <a:cs typeface="+mn-cs"/>
                        </a:rPr>
                        <a:t>주계약</a:t>
                      </a:r>
                      <a:r>
                        <a:rPr lang="en-US" altLang="ko-KR" sz="1050" b="1" kern="1200" baseline="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  <a:cs typeface="+mn-cs"/>
                        </a:rPr>
                        <a:t>, </a:t>
                      </a:r>
                      <a:r>
                        <a:rPr lang="ko-KR" altLang="en-US" sz="1050" b="1" kern="1200" baseline="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  <a:cs typeface="+mn-cs"/>
                        </a:rPr>
                        <a:t>각</a:t>
                      </a:r>
                      <a:r>
                        <a:rPr lang="en-US" altLang="ko-KR" sz="1050" b="1" kern="1200" baseline="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50" b="1" kern="1200" baseline="0" dirty="0" err="1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  <a:cs typeface="+mn-cs"/>
                        </a:rPr>
                        <a:t>특약별</a:t>
                      </a:r>
                      <a:r>
                        <a:rPr lang="ko-KR" altLang="en-US" sz="1050" b="1" kern="1200" baseline="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  <a:cs typeface="+mn-cs"/>
                        </a:rPr>
                        <a:t> 보험기간을 구분</a:t>
                      </a:r>
                      <a:r>
                        <a:rPr lang="ko-KR" altLang="en-US" sz="1050" b="0" kern="1200" baseline="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  <a:cs typeface="+mn-cs"/>
                        </a:rPr>
                        <a:t>하여 설명 </a:t>
                      </a:r>
                      <a:r>
                        <a:rPr lang="ko-KR" altLang="en-US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</a:t>
                      </a:r>
                    </a:p>
                  </a:txBody>
                  <a:tcPr marL="80045" marR="80045" marT="40023" marB="40023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6015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보험료 및 보험료 납입기간</a:t>
                      </a:r>
                    </a:p>
                  </a:txBody>
                  <a:tcPr marL="80045" marR="80045" marT="40023" marB="400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50" b="0" kern="120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  <a:cs typeface="+mn-cs"/>
                        </a:rPr>
                        <a:t>-</a:t>
                      </a:r>
                      <a:r>
                        <a:rPr lang="en-US" altLang="ko-KR" sz="1050" b="0" kern="1200" baseline="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50" b="1" kern="120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  <a:cs typeface="+mn-cs"/>
                        </a:rPr>
                        <a:t>총 납입보험료</a:t>
                      </a:r>
                      <a:r>
                        <a:rPr lang="en-US" altLang="ko-KR" sz="1050" b="0" kern="120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  <a:cs typeface="+mn-cs"/>
                        </a:rPr>
                        <a:t>(</a:t>
                      </a:r>
                      <a:r>
                        <a:rPr lang="ko-KR" altLang="en-US" sz="1050" b="1" kern="120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  <a:cs typeface="+mn-cs"/>
                        </a:rPr>
                        <a:t>주계약</a:t>
                      </a:r>
                      <a:r>
                        <a:rPr lang="ko-KR" altLang="en-US" sz="1050" b="1" kern="120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  <a:cs typeface="+mn-cs"/>
                        </a:rPr>
                        <a:t> 및 </a:t>
                      </a:r>
                      <a:r>
                        <a:rPr lang="ko-KR" altLang="en-US" sz="1050" b="1" kern="120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  <a:cs typeface="+mn-cs"/>
                        </a:rPr>
                        <a:t>각 </a:t>
                      </a:r>
                      <a:r>
                        <a:rPr lang="ko-KR" altLang="en-US" sz="1050" b="1" kern="1200" dirty="0" err="1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  <a:cs typeface="+mn-cs"/>
                        </a:rPr>
                        <a:t>특약별</a:t>
                      </a:r>
                      <a:r>
                        <a:rPr lang="ko-KR" altLang="en-US" sz="1050" b="1" kern="120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  <a:cs typeface="+mn-cs"/>
                        </a:rPr>
                        <a:t> </a:t>
                      </a:r>
                      <a:r>
                        <a:rPr lang="ko-KR" altLang="en-US" sz="1050" b="1" u="sng" kern="120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  <a:cs typeface="+mn-cs"/>
                        </a:rPr>
                        <a:t>월 보험료 </a:t>
                      </a:r>
                      <a:r>
                        <a:rPr lang="ko-KR" altLang="en-US" sz="1050" b="1" kern="120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  <a:cs typeface="+mn-cs"/>
                        </a:rPr>
                        <a:t>포함</a:t>
                      </a:r>
                      <a:r>
                        <a:rPr lang="en-US" altLang="ko-KR" sz="1050" b="0" kern="120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  <a:cs typeface="+mn-cs"/>
                        </a:rPr>
                        <a:t>) </a:t>
                      </a:r>
                      <a:r>
                        <a:rPr lang="ko-KR" altLang="en-US" sz="1050" b="0" kern="120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  <a:cs typeface="+mn-cs"/>
                        </a:rPr>
                        <a:t>및 </a:t>
                      </a:r>
                      <a:r>
                        <a:rPr lang="ko-KR" altLang="en-US" sz="1050" b="1" kern="120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  <a:cs typeface="+mn-cs"/>
                        </a:rPr>
                        <a:t>주계약 및 각 </a:t>
                      </a:r>
                      <a:r>
                        <a:rPr lang="ko-KR" altLang="en-US" sz="1050" b="1" kern="1200" dirty="0" err="1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  <a:cs typeface="+mn-cs"/>
                        </a:rPr>
                        <a:t>특약별</a:t>
                      </a:r>
                      <a:r>
                        <a:rPr lang="ko-KR" altLang="en-US" sz="1050" b="1" kern="120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  <a:cs typeface="+mn-cs"/>
                        </a:rPr>
                        <a:t> 납입기간 </a:t>
                      </a:r>
                      <a:r>
                        <a:rPr lang="ko-KR" altLang="en-US" sz="1050" b="0" kern="120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  <a:cs typeface="+mn-cs"/>
                        </a:rPr>
                        <a:t>설명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교보서체 SemiBold" panose="020B0600000101010101" pitchFamily="50" charset="-127"/>
                        <a:ea typeface="교보서체 SemiBold" panose="020B0600000101010101" pitchFamily="50" charset="-127"/>
                      </a:endParaRPr>
                    </a:p>
                  </a:txBody>
                  <a:tcPr marL="80045" marR="80045" marT="40023" marB="40023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43963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보험료 </a:t>
                      </a:r>
                      <a:r>
                        <a:rPr lang="ko-KR" altLang="en-US" sz="1100" b="1" dirty="0" err="1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감액청구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교보서체 SemiBold" panose="020B0600000101010101" pitchFamily="50" charset="-127"/>
                        <a:ea typeface="교보서체 SemiBold" panose="020B0600000101010101" pitchFamily="50" charset="-127"/>
                      </a:endParaRPr>
                    </a:p>
                  </a:txBody>
                  <a:tcPr marL="80045" marR="80045" marT="40023" marB="400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- </a:t>
                      </a:r>
                      <a:r>
                        <a:rPr lang="ko-KR" altLang="en-US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상법 제 </a:t>
                      </a:r>
                      <a:r>
                        <a:rPr lang="en-US" altLang="ko-KR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647</a:t>
                      </a:r>
                      <a:r>
                        <a:rPr lang="ko-KR" altLang="en-US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조</a:t>
                      </a:r>
                      <a:r>
                        <a:rPr lang="en-US" altLang="ko-KR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(</a:t>
                      </a:r>
                      <a:r>
                        <a:rPr lang="ko-KR" altLang="en-US" sz="1050" b="0" dirty="0" err="1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특별위험의</a:t>
                      </a:r>
                      <a:r>
                        <a:rPr lang="ko-KR" altLang="en-US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소멸로 인한 보험료의 </a:t>
                      </a:r>
                      <a:r>
                        <a:rPr lang="ko-KR" altLang="en-US" sz="1050" b="0" dirty="0" err="1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감액청구</a:t>
                      </a:r>
                      <a:r>
                        <a:rPr lang="en-US" altLang="ko-KR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)</a:t>
                      </a:r>
                    </a:p>
                    <a:p>
                      <a:pPr marL="0" indent="0" algn="l" latinLnBrk="1">
                        <a:buFontTx/>
                        <a:buNone/>
                      </a:pPr>
                      <a:r>
                        <a:rPr lang="en-US" altLang="ko-KR" sz="1050" b="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- </a:t>
                      </a:r>
                      <a:r>
                        <a:rPr lang="ko-KR" altLang="en-US" sz="1050" b="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보험계약의 당사자가 특별한 위험을 예기하여 보험료의 액을 정한 경우에 보험기간 중 그 예기한 </a:t>
                      </a:r>
                      <a:r>
                        <a:rPr lang="en-US" altLang="ko-KR" sz="1050" b="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/>
                      </a:r>
                      <a:br>
                        <a:rPr lang="en-US" altLang="ko-KR" sz="1050" b="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</a:br>
                      <a:r>
                        <a:rPr lang="en-US" altLang="ko-KR" sz="1050" b="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  </a:t>
                      </a:r>
                      <a:r>
                        <a:rPr lang="ko-KR" altLang="en-US" sz="1050" b="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위험이 소멸한 때에는 보험계약자는 그 후의 보험료의 감액을 청구할 수</a:t>
                      </a:r>
                      <a:r>
                        <a:rPr lang="ko-KR" altLang="en-US" sz="1050" b="0" baseline="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있음을 설명</a:t>
                      </a:r>
                      <a:endParaRPr lang="en-US" altLang="ko-KR" sz="1050" b="0" dirty="0">
                        <a:ln>
                          <a:solidFill>
                            <a:schemeClr val="accent6">
                              <a:lumMod val="75000"/>
                              <a:alpha val="5000"/>
                            </a:schemeClr>
                          </a:solidFill>
                        </a:ln>
                        <a:solidFill>
                          <a:schemeClr val="tx1"/>
                        </a:solidFill>
                        <a:latin typeface="교보서체 SemiBold" panose="020B0600000101010101" pitchFamily="50" charset="-127"/>
                        <a:ea typeface="교보서체 SemiBold" panose="020B0600000101010101" pitchFamily="50" charset="-127"/>
                      </a:endParaRPr>
                    </a:p>
                  </a:txBody>
                  <a:tcPr marL="80045" marR="80045" marT="40023" marB="40023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27941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보험금 지급제한 사유 및</a:t>
                      </a:r>
                      <a:endParaRPr lang="en-US" altLang="ko-KR" sz="1100" b="1" dirty="0">
                        <a:solidFill>
                          <a:schemeClr val="tx1"/>
                        </a:solidFill>
                        <a:latin typeface="교보서체 SemiBold" panose="020B0600000101010101" pitchFamily="50" charset="-127"/>
                        <a:ea typeface="교보서체 SemiBold" panose="020B0600000101010101" pitchFamily="50" charset="-127"/>
                      </a:endParaRPr>
                    </a:p>
                    <a:p>
                      <a:pPr algn="l" latinLnBrk="1"/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보험금 지급절차</a:t>
                      </a:r>
                    </a:p>
                  </a:txBody>
                  <a:tcPr marL="80045" marR="80045" marT="40023" marB="400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피보험자가 고의로 자신을 해친 경우</a:t>
                      </a:r>
                      <a:r>
                        <a:rPr lang="en-US" altLang="ko-KR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, </a:t>
                      </a:r>
                      <a:r>
                        <a:rPr lang="ko-KR" altLang="en-US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계약자가 고의로 피보험자를 해친 경우</a:t>
                      </a:r>
                      <a:r>
                        <a:rPr lang="en-US" altLang="ko-KR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, </a:t>
                      </a:r>
                      <a:r>
                        <a:rPr lang="ko-KR" altLang="en-US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보험수익자가</a:t>
                      </a:r>
                      <a:r>
                        <a:rPr lang="en-US" altLang="ko-KR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/>
                      </a:r>
                      <a:br>
                        <a:rPr lang="en-US" altLang="ko-KR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</a:br>
                      <a:r>
                        <a:rPr lang="ko-KR" altLang="en-US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고의로 피보험자를 해친 경우 보험금 지급이 제한</a:t>
                      </a:r>
                      <a:endParaRPr lang="en-US" altLang="ko-KR" sz="1050" b="0" baseline="0" dirty="0">
                        <a:solidFill>
                          <a:schemeClr val="tx1"/>
                        </a:solidFill>
                        <a:latin typeface="교보서체 SemiBold" panose="020B0600000101010101" pitchFamily="50" charset="-127"/>
                        <a:ea typeface="교보서체 SemiBold" panose="020B0600000101010101" pitchFamily="50" charset="-127"/>
                      </a:endParaRPr>
                    </a:p>
                    <a:p>
                      <a:pPr marL="171450" marR="0" indent="-17145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ko-KR" altLang="en-US" sz="1050" b="1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보험금 청구 서류를 </a:t>
                      </a:r>
                      <a:r>
                        <a:rPr lang="ko-KR" altLang="en-US" sz="105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접수한 날로부터 </a:t>
                      </a:r>
                      <a:r>
                        <a:rPr lang="en-US" altLang="ko-KR" sz="105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3</a:t>
                      </a:r>
                      <a:r>
                        <a:rPr lang="ko-KR" altLang="en-US" sz="105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영업일 이내</a:t>
                      </a:r>
                      <a:r>
                        <a:rPr lang="ko-KR" altLang="en-US" sz="1050" b="1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에 보험금을 지급 </a:t>
                      </a:r>
                      <a:r>
                        <a:rPr lang="en-US" altLang="ko-KR" sz="1050" b="1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(</a:t>
                      </a:r>
                      <a:r>
                        <a:rPr lang="ko-KR" altLang="en-US" sz="1050" b="1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조사</a:t>
                      </a:r>
                      <a:r>
                        <a:rPr lang="en-US" altLang="ko-KR" sz="1050" b="1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,</a:t>
                      </a:r>
                      <a:r>
                        <a:rPr lang="ko-KR" altLang="en-US" sz="1050" b="1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확인 필요시 </a:t>
                      </a:r>
                      <a:r>
                        <a:rPr lang="en-US" altLang="ko-KR" sz="1050" b="1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10</a:t>
                      </a:r>
                      <a:r>
                        <a:rPr lang="ko-KR" altLang="en-US" sz="1050" b="1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영업일</a:t>
                      </a:r>
                      <a:r>
                        <a:rPr lang="en-US" altLang="ko-KR" sz="1050" b="1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)</a:t>
                      </a:r>
                      <a:r>
                        <a:rPr lang="ko-KR" altLang="en-US" sz="1050" b="1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</a:t>
                      </a:r>
                      <a:r>
                        <a:rPr lang="en-US" altLang="ko-KR" sz="1050" b="1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</a:t>
                      </a: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1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   </a:t>
                      </a:r>
                      <a:r>
                        <a:rPr lang="ko-KR" altLang="en-US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지연될 경우 </a:t>
                      </a:r>
                      <a:r>
                        <a:rPr lang="ko-KR" altLang="en-US" sz="1050" b="0" baseline="0" dirty="0" err="1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지연사유</a:t>
                      </a:r>
                      <a:r>
                        <a:rPr lang="ko-KR" altLang="en-US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및 보험금 지급 지연이자를 더하여 지급 함을 설명  </a:t>
                      </a:r>
                      <a:endParaRPr lang="en-US" altLang="ko-KR" sz="1050" b="0" dirty="0">
                        <a:solidFill>
                          <a:schemeClr val="tx1"/>
                        </a:solidFill>
                        <a:latin typeface="교보서체 SemiBold" panose="020B0600000101010101" pitchFamily="50" charset="-127"/>
                        <a:ea typeface="교보서체 SemiBold" panose="020B0600000101010101" pitchFamily="50" charset="-127"/>
                      </a:endParaRPr>
                    </a:p>
                  </a:txBody>
                  <a:tcPr marL="80045" marR="80045" marT="40023" marB="40023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43963">
                <a:tc>
                  <a:txBody>
                    <a:bodyPr/>
                    <a:lstStyle/>
                    <a:p>
                      <a:pPr marL="0" marR="0" indent="0" algn="l" defTabSz="94297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보험수익자 </a:t>
                      </a:r>
                      <a:r>
                        <a:rPr lang="ko-KR" altLang="en-US" sz="1100" b="1" dirty="0" err="1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지정가능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여부</a:t>
                      </a:r>
                    </a:p>
                  </a:txBody>
                  <a:tcPr marL="80045" marR="80045" marT="40023" marB="400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- </a:t>
                      </a:r>
                      <a:r>
                        <a:rPr lang="ko-KR" altLang="en-US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보험계약자는 계약체결 시 사망보험금</a:t>
                      </a:r>
                      <a:r>
                        <a:rPr lang="en-US" altLang="ko-KR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, </a:t>
                      </a:r>
                      <a:r>
                        <a:rPr lang="ko-KR" altLang="en-US" sz="1050" b="0" dirty="0" err="1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중도보험금</a:t>
                      </a:r>
                      <a:r>
                        <a:rPr lang="en-US" altLang="ko-KR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, </a:t>
                      </a:r>
                      <a:r>
                        <a:rPr lang="ko-KR" altLang="en-US" sz="1050" b="0" dirty="0" err="1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만기보험금</a:t>
                      </a:r>
                      <a:r>
                        <a:rPr lang="en-US" altLang="ko-KR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, </a:t>
                      </a:r>
                      <a:r>
                        <a:rPr lang="ko-KR" altLang="en-US" sz="1050" b="0" dirty="0" err="1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장해보험금</a:t>
                      </a:r>
                      <a:r>
                        <a:rPr lang="en-US" altLang="ko-KR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, </a:t>
                      </a:r>
                      <a:r>
                        <a:rPr lang="ko-KR" altLang="en-US" sz="1050" b="0" dirty="0" err="1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입원보험금</a:t>
                      </a:r>
                      <a:r>
                        <a:rPr lang="ko-KR" altLang="en-US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등 </a:t>
                      </a:r>
                      <a:r>
                        <a:rPr lang="en-US" altLang="ko-KR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/>
                      </a:r>
                      <a:br>
                        <a:rPr lang="en-US" altLang="ko-KR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</a:br>
                      <a:r>
                        <a:rPr lang="en-US" altLang="ko-KR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  </a:t>
                      </a:r>
                      <a:r>
                        <a:rPr lang="ko-KR" altLang="en-US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약관상 보험금 지급사유가 발생하는 때는 회사에 </a:t>
                      </a:r>
                      <a:r>
                        <a:rPr lang="ko-KR" altLang="en-US" sz="105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보험금을 청구하여 받을 수 있는 사람을 지정</a:t>
                      </a:r>
                      <a:r>
                        <a:rPr lang="ko-KR" altLang="en-US" sz="1050" b="1" baseline="0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</a:t>
                      </a:r>
                      <a:r>
                        <a:rPr lang="en-US" altLang="ko-KR" sz="1050" b="1" baseline="0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/>
                      </a:r>
                      <a:br>
                        <a:rPr lang="en-US" altLang="ko-KR" sz="1050" b="1" baseline="0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</a:br>
                      <a:r>
                        <a:rPr lang="en-US" altLang="ko-KR" sz="1050" b="1" baseline="0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  </a:t>
                      </a:r>
                      <a:r>
                        <a:rPr lang="ko-KR" altLang="en-US" sz="105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할 수 있으며</a:t>
                      </a:r>
                      <a:r>
                        <a:rPr lang="en-US" altLang="ko-KR" sz="105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,</a:t>
                      </a:r>
                      <a:r>
                        <a:rPr lang="en-US" altLang="ko-KR" sz="1050" b="1" baseline="0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</a:t>
                      </a:r>
                      <a:r>
                        <a:rPr lang="ko-KR" altLang="en-US" sz="1050" b="1" baseline="0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계약기간 중에도 수익자를 변경할 수 있음</a:t>
                      </a:r>
                      <a:r>
                        <a:rPr lang="ko-KR" altLang="en-US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을 설명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교보서체 SemiBold" panose="020B0600000101010101" pitchFamily="50" charset="-127"/>
                        <a:ea typeface="교보서체 SemiBold" panose="020B0600000101010101" pitchFamily="50" charset="-127"/>
                      </a:endParaRPr>
                    </a:p>
                  </a:txBody>
                  <a:tcPr marL="80045" marR="80045" marT="40023" marB="40023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184079"/>
                  </a:ext>
                </a:extLst>
              </a:tr>
              <a:tr h="906788">
                <a:tc>
                  <a:txBody>
                    <a:bodyPr/>
                    <a:lstStyle/>
                    <a:p>
                      <a:pPr marL="0" marR="0" indent="0" algn="l" defTabSz="94297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dirty="0" err="1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해약환급금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교보서체 SemiBold" panose="020B0600000101010101" pitchFamily="50" charset="-127"/>
                        <a:ea typeface="교보서체 SemiBold" panose="020B0600000101010101" pitchFamily="50" charset="-127"/>
                      </a:endParaRPr>
                    </a:p>
                  </a:txBody>
                  <a:tcPr marL="80045" marR="80045" marT="40023" marB="400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latinLnBrk="1">
                        <a:buFontTx/>
                        <a:buChar char="-"/>
                      </a:pPr>
                      <a:r>
                        <a:rPr lang="ko-KR" altLang="en-US" sz="1050" b="0" dirty="0" err="1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해약환급금</a:t>
                      </a:r>
                      <a:r>
                        <a:rPr lang="ko-KR" altLang="en-US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</a:t>
                      </a:r>
                      <a:r>
                        <a:rPr lang="ko-KR" altLang="en-US" sz="1050" b="0" dirty="0" err="1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예시표를</a:t>
                      </a:r>
                      <a:r>
                        <a:rPr lang="ko-KR" altLang="en-US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활용하여 </a:t>
                      </a:r>
                      <a:r>
                        <a:rPr lang="ko-KR" altLang="en-US" sz="1050" b="1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기간별 해약환급금액</a:t>
                      </a:r>
                      <a:r>
                        <a:rPr lang="ko-KR" altLang="en-US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을 설명</a:t>
                      </a:r>
                      <a:endParaRPr lang="en-US" altLang="ko-KR" sz="1050" b="0" dirty="0">
                        <a:solidFill>
                          <a:schemeClr val="tx1"/>
                        </a:solidFill>
                        <a:latin typeface="교보서체 SemiBold" panose="020B0600000101010101" pitchFamily="50" charset="-127"/>
                        <a:ea typeface="교보서체 SemiBold" panose="020B0600000101010101" pitchFamily="50" charset="-127"/>
                      </a:endParaRPr>
                    </a:p>
                    <a:p>
                      <a:pPr marL="0" indent="0" algn="l" latinLnBrk="1">
                        <a:buFontTx/>
                        <a:buNone/>
                      </a:pPr>
                      <a:r>
                        <a:rPr lang="en-US" altLang="ko-KR" sz="90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  ※ </a:t>
                      </a:r>
                      <a:r>
                        <a:rPr lang="ko-KR" altLang="en-US" sz="90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무 </a:t>
                      </a:r>
                      <a:r>
                        <a:rPr lang="en-US" altLang="ko-KR" sz="90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· </a:t>
                      </a:r>
                      <a:r>
                        <a:rPr lang="ko-KR" altLang="en-US" sz="900" b="1" dirty="0" err="1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저해지</a:t>
                      </a:r>
                      <a:r>
                        <a:rPr lang="ko-KR" altLang="en-US" sz="90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상품</a:t>
                      </a:r>
                      <a:r>
                        <a:rPr lang="ko-KR" altLang="en-US" sz="90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을 권유하는 경우</a:t>
                      </a:r>
                      <a:r>
                        <a:rPr lang="en-US" altLang="ko-KR" sz="90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,</a:t>
                      </a:r>
                      <a:r>
                        <a:rPr lang="en-US" altLang="ko-KR" sz="90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</a:t>
                      </a:r>
                      <a:r>
                        <a:rPr lang="ko-KR" altLang="en-US" sz="900" b="1" baseline="0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동일한 보장의 일반보험상품</a:t>
                      </a:r>
                      <a:r>
                        <a:rPr lang="ko-KR" altLang="en-US" sz="900" b="1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과  </a:t>
                      </a:r>
                      <a:r>
                        <a:rPr lang="en-US" altLang="ko-KR" sz="900" b="1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/>
                      </a:r>
                      <a:br>
                        <a:rPr lang="en-US" altLang="ko-KR" sz="900" b="1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</a:br>
                      <a:r>
                        <a:rPr lang="en-US" altLang="ko-KR" sz="900" b="1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      </a:t>
                      </a:r>
                      <a:r>
                        <a:rPr lang="ko-KR" altLang="en-US" sz="900" b="1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①</a:t>
                      </a:r>
                      <a:r>
                        <a:rPr lang="ko-KR" altLang="en-US" sz="900" b="1" baseline="0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보험료</a:t>
                      </a:r>
                      <a:r>
                        <a:rPr lang="en-US" altLang="ko-KR" sz="900" b="1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 </a:t>
                      </a:r>
                      <a:r>
                        <a:rPr lang="ko-KR" altLang="en-US" sz="900" b="1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②</a:t>
                      </a:r>
                      <a:r>
                        <a:rPr lang="ko-KR" altLang="en-US" sz="900" b="1" baseline="0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기간별 예상 해약환급금</a:t>
                      </a:r>
                      <a:r>
                        <a:rPr lang="ko-KR" altLang="en-US" sz="900" b="1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을</a:t>
                      </a:r>
                      <a:r>
                        <a:rPr lang="en-US" altLang="ko-KR" sz="900" b="1" baseline="0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</a:t>
                      </a:r>
                      <a:r>
                        <a:rPr lang="ko-KR" altLang="en-US" sz="900" b="1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비교하여 설명</a:t>
                      </a:r>
                      <a:endParaRPr lang="en-US" altLang="ko-KR" sz="900" b="1" baseline="0" dirty="0">
                        <a:solidFill>
                          <a:schemeClr val="tx1"/>
                        </a:solidFill>
                        <a:latin typeface="교보서체 SemiBold" panose="020B0600000101010101" pitchFamily="50" charset="-127"/>
                        <a:ea typeface="교보서체 SemiBold" panose="020B0600000101010101" pitchFamily="50" charset="-127"/>
                      </a:endParaRPr>
                    </a:p>
                    <a:p>
                      <a:pPr marL="0" indent="0" algn="l" latinLnBrk="1">
                        <a:buFontTx/>
                        <a:buNone/>
                      </a:pPr>
                      <a:r>
                        <a:rPr lang="en-US" altLang="ko-KR" sz="900" b="1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  ※ </a:t>
                      </a:r>
                      <a:r>
                        <a:rPr lang="ko-KR" altLang="en-US" sz="90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무 </a:t>
                      </a:r>
                      <a:r>
                        <a:rPr lang="en-US" altLang="ko-KR" sz="90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· </a:t>
                      </a:r>
                      <a:r>
                        <a:rPr lang="ko-KR" altLang="en-US" sz="900" b="1" dirty="0" err="1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저해지</a:t>
                      </a:r>
                      <a:r>
                        <a:rPr lang="ko-KR" altLang="en-US" sz="90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상품</a:t>
                      </a:r>
                      <a:r>
                        <a:rPr lang="ko-KR" altLang="en-US" sz="90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의 경우 </a:t>
                      </a:r>
                      <a:r>
                        <a:rPr lang="ko-KR" altLang="en-US" sz="900" b="1" dirty="0" err="1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중도해지시</a:t>
                      </a:r>
                      <a:r>
                        <a:rPr lang="ko-KR" altLang="en-US" sz="90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표준형 </a:t>
                      </a:r>
                      <a:r>
                        <a:rPr lang="ko-KR" altLang="en-US" sz="900" b="1" dirty="0" err="1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상품대비</a:t>
                      </a:r>
                      <a:r>
                        <a:rPr lang="ko-KR" altLang="en-US" sz="90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보험료가 일부 저렴한 대신 </a:t>
                      </a:r>
                      <a:r>
                        <a:rPr lang="en-US" altLang="ko-KR" sz="90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/>
                      </a:r>
                      <a:br>
                        <a:rPr lang="en-US" altLang="ko-KR" sz="90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</a:br>
                      <a:r>
                        <a:rPr lang="en-US" altLang="ko-KR" sz="90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      </a:t>
                      </a:r>
                      <a:r>
                        <a:rPr lang="ko-KR" altLang="en-US" sz="90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해약환급금이</a:t>
                      </a:r>
                      <a:r>
                        <a:rPr lang="en-US" altLang="ko-KR" sz="900" b="1" baseline="0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</a:t>
                      </a:r>
                      <a:r>
                        <a:rPr lang="ko-KR" altLang="en-US" sz="90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없거나 적다는 점을 </a:t>
                      </a:r>
                      <a:r>
                        <a:rPr lang="ko-KR" altLang="en-US" sz="900" b="1" u="none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모두 설명</a:t>
                      </a:r>
                    </a:p>
                  </a:txBody>
                  <a:tcPr marL="80045" marR="80045" marT="40023" marB="40023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9934174"/>
                  </a:ext>
                </a:extLst>
              </a:tr>
              <a:tr h="434842">
                <a:tc>
                  <a:txBody>
                    <a:bodyPr/>
                    <a:lstStyle/>
                    <a:p>
                      <a:pPr marL="0" marR="0" indent="0" algn="l" defTabSz="94297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해약환급금의 손실발생 가능성</a:t>
                      </a:r>
                    </a:p>
                  </a:txBody>
                  <a:tcPr marL="80045" marR="80045" marT="40023" marB="400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latinLnBrk="1">
                        <a:buFontTx/>
                        <a:buNone/>
                      </a:pPr>
                      <a:r>
                        <a:rPr lang="en-US" altLang="ko-KR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- </a:t>
                      </a:r>
                      <a:r>
                        <a:rPr lang="ko-KR" altLang="en-US" sz="1050" b="1" dirty="0" err="1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중도해지시</a:t>
                      </a:r>
                      <a:r>
                        <a:rPr lang="ko-KR" altLang="en-US" sz="1050" b="1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</a:t>
                      </a:r>
                      <a:r>
                        <a:rPr lang="ko-KR" altLang="en-US" sz="105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해약환급금이 납입한 보험료보다 적거나 없을 수 있음</a:t>
                      </a:r>
                      <a:r>
                        <a:rPr lang="ko-KR" altLang="en-US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을 설명</a:t>
                      </a:r>
                    </a:p>
                  </a:txBody>
                  <a:tcPr marL="80045" marR="80045" marT="40023" marB="40023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1193357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" y="6997005"/>
            <a:ext cx="9728423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ko-KR" altLang="en-US" sz="9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본 자료는 </a:t>
            </a:r>
            <a:r>
              <a:rPr lang="en-US" altLang="ko-KR" sz="9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GA</a:t>
            </a:r>
            <a:r>
              <a:rPr lang="ko-KR" altLang="en-US" sz="9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교육용 </a:t>
            </a:r>
            <a:r>
              <a:rPr lang="ko-KR" altLang="en-US" sz="900" dirty="0" err="1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요약자료이며</a:t>
            </a:r>
            <a:r>
              <a:rPr lang="en-US" altLang="ko-KR" sz="9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9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고객에게 제시 및 교부를 금지합니다</a:t>
            </a:r>
            <a:r>
              <a:rPr lang="en-US" altLang="ko-KR" sz="9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9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정확한 내용은 약관과 상품설명서를 확인하시기 바랍니다</a:t>
            </a:r>
            <a:r>
              <a:rPr lang="en-US" altLang="ko-KR" sz="9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endParaRPr lang="ko-KR" altLang="en-US" sz="900" dirty="0">
              <a:solidFill>
                <a:srgbClr val="FF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" y="6997007"/>
            <a:ext cx="9728423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ko-KR" altLang="en-US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본 자료는 </a:t>
            </a:r>
            <a:r>
              <a:rPr lang="en-US" altLang="ko-KR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GA</a:t>
            </a:r>
            <a:r>
              <a:rPr lang="ko-KR" altLang="en-US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교육용 요약 자료이며</a:t>
            </a:r>
            <a:r>
              <a:rPr lang="en-US" altLang="ko-KR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고객에게 제시 및 교부를 금지합니다</a:t>
            </a:r>
            <a:r>
              <a:rPr lang="en-US" altLang="ko-KR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정확한 내용은 약관과 상품설명서를 확인하시기 바랍니다</a:t>
            </a:r>
            <a:r>
              <a:rPr lang="en-US" altLang="ko-KR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endParaRPr lang="ko-KR" altLang="en-US" sz="1000" dirty="0">
              <a:solidFill>
                <a:srgbClr val="FF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1" name="모서리가 둥근 직사각형 10"/>
          <p:cNvSpPr/>
          <p:nvPr/>
        </p:nvSpPr>
        <p:spPr>
          <a:xfrm>
            <a:off x="7963287" y="556924"/>
            <a:ext cx="1117064" cy="166755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100" dirty="0"/>
              <a:t>고객 제시 불가</a:t>
            </a:r>
          </a:p>
        </p:txBody>
      </p:sp>
      <p:sp>
        <p:nvSpPr>
          <p:cNvPr id="12" name="모서리가 둥근 직사각형 11"/>
          <p:cNvSpPr/>
          <p:nvPr/>
        </p:nvSpPr>
        <p:spPr>
          <a:xfrm>
            <a:off x="9116164" y="556922"/>
            <a:ext cx="854113" cy="166756"/>
          </a:xfrm>
          <a:prstGeom prst="roundRect">
            <a:avLst/>
          </a:prstGeom>
          <a:solidFill>
            <a:schemeClr val="tx2">
              <a:lumMod val="50000"/>
            </a:schemeClr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1100" dirty="0"/>
              <a:t>GA </a:t>
            </a:r>
            <a:r>
              <a:rPr lang="ko-KR" altLang="en-US" sz="1100" dirty="0"/>
              <a:t>교육용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778733"/>
            <a:fld id="{2747D207-944B-4363-884F-A02296F6E65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 defTabSz="778733"/>
              <a:t>7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5699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Box 2"/>
          <p:cNvSpPr txBox="1">
            <a:spLocks noChangeArrowheads="1"/>
          </p:cNvSpPr>
          <p:nvPr/>
        </p:nvSpPr>
        <p:spPr bwMode="auto">
          <a:xfrm>
            <a:off x="398544" y="149288"/>
            <a:ext cx="9504536" cy="433058"/>
          </a:xfrm>
          <a:prstGeom prst="rect">
            <a:avLst/>
          </a:prstGeom>
          <a:noFill/>
          <a:ln w="25400">
            <a:noFill/>
            <a:miter lim="800000"/>
            <a:headEnd type="none" w="sm" len="sm"/>
            <a:tailEnd type="none" w="sm" len="sm"/>
          </a:ln>
        </p:spPr>
        <p:txBody>
          <a:bodyPr wrap="square" lIns="35996" tIns="46795" rIns="35996" bIns="46795">
            <a:spAutoFit/>
          </a:bodyPr>
          <a:lstStyle/>
          <a:p>
            <a:pPr eaLnBrk="0" latinLnBrk="0" hangingPunct="0">
              <a:spcBef>
                <a:spcPct val="50000"/>
              </a:spcBef>
              <a:defRPr/>
            </a:pPr>
            <a:r>
              <a:rPr lang="ko-KR" altLang="en-US" sz="2200" dirty="0" smtClean="0">
                <a:solidFill>
                  <a:prstClr val="black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소비자의 </a:t>
            </a:r>
            <a:r>
              <a:rPr lang="ko-KR" altLang="en-US" sz="2200" dirty="0">
                <a:solidFill>
                  <a:prstClr val="black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올바른 선택을 위한 설명의무 준수 </a:t>
            </a:r>
            <a:r>
              <a:rPr lang="en-US" altLang="ko-KR" sz="2200" dirty="0">
                <a:solidFill>
                  <a:prstClr val="black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(2/2)</a:t>
            </a:r>
            <a:endParaRPr lang="ko-KR" altLang="en-US" sz="2200" dirty="0">
              <a:solidFill>
                <a:prstClr val="black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  <p:cxnSp>
        <p:nvCxnSpPr>
          <p:cNvPr id="13" name="직선 연결선 12"/>
          <p:cNvCxnSpPr/>
          <p:nvPr/>
        </p:nvCxnSpPr>
        <p:spPr>
          <a:xfrm>
            <a:off x="1303488" y="1323632"/>
            <a:ext cx="7524000" cy="0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sp>
        <p:nvSpPr>
          <p:cNvPr id="14" name="Rectangle 35"/>
          <p:cNvSpPr>
            <a:spLocks noChangeArrowheads="1"/>
          </p:cNvSpPr>
          <p:nvPr/>
        </p:nvSpPr>
        <p:spPr bwMode="auto">
          <a:xfrm>
            <a:off x="1179457" y="963141"/>
            <a:ext cx="79008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67126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kumimoji="1" lang="en-US" altLang="ko-KR" sz="1600" b="1" dirty="0">
                <a:solidFill>
                  <a:prstClr val="black"/>
                </a:solidFill>
                <a:latin typeface="교보서체 SemiBold" panose="020B0600000101010101" pitchFamily="50" charset="-127"/>
                <a:ea typeface="교보서체 SemiBold" panose="020B0600000101010101" pitchFamily="50" charset="-127"/>
              </a:rPr>
              <a:t>‘22</a:t>
            </a:r>
            <a:r>
              <a:rPr kumimoji="1" lang="ko-KR" altLang="en-US" sz="1600" b="1" dirty="0">
                <a:solidFill>
                  <a:prstClr val="black"/>
                </a:solidFill>
                <a:latin typeface="교보서체 SemiBold" panose="020B0600000101010101" pitchFamily="50" charset="-127"/>
                <a:ea typeface="교보서체 SemiBold" panose="020B0600000101010101" pitchFamily="50" charset="-127"/>
              </a:rPr>
              <a:t>년 </a:t>
            </a:r>
            <a:r>
              <a:rPr kumimoji="1" lang="ko-KR" altLang="en-US" sz="1600" b="1" dirty="0" err="1">
                <a:solidFill>
                  <a:prstClr val="black"/>
                </a:solidFill>
                <a:latin typeface="교보서체 SemiBold" panose="020B0600000101010101" pitchFamily="50" charset="-127"/>
                <a:ea typeface="교보서체 SemiBold" panose="020B0600000101010101" pitchFamily="50" charset="-127"/>
              </a:rPr>
              <a:t>금감원</a:t>
            </a:r>
            <a:r>
              <a:rPr kumimoji="1" lang="ko-KR" altLang="en-US" sz="1600" b="1" dirty="0">
                <a:solidFill>
                  <a:prstClr val="black"/>
                </a:solidFill>
                <a:latin typeface="교보서체 SemiBold" panose="020B0600000101010101" pitchFamily="50" charset="-127"/>
                <a:ea typeface="교보서체 SemiBold" panose="020B0600000101010101" pitchFamily="50" charset="-127"/>
              </a:rPr>
              <a:t> </a:t>
            </a:r>
            <a:r>
              <a:rPr kumimoji="1" lang="en-US" altLang="ko-KR" sz="1600" b="1" dirty="0">
                <a:solidFill>
                  <a:prstClr val="black"/>
                </a:solidFill>
                <a:latin typeface="교보서체 SemiBold" panose="020B0600000101010101" pitchFamily="50" charset="-127"/>
                <a:ea typeface="교보서체 SemiBold" panose="020B0600000101010101" pitchFamily="50" charset="-127"/>
              </a:rPr>
              <a:t>‘</a:t>
            </a:r>
            <a:r>
              <a:rPr kumimoji="1" lang="ko-KR" altLang="en-US" sz="1600" b="1" dirty="0">
                <a:solidFill>
                  <a:prstClr val="black"/>
                </a:solidFill>
                <a:latin typeface="교보서체 SemiBold" panose="020B0600000101010101" pitchFamily="50" charset="-127"/>
                <a:ea typeface="교보서체 SemiBold" panose="020B0600000101010101" pitchFamily="50" charset="-127"/>
              </a:rPr>
              <a:t>종신보험</a:t>
            </a:r>
            <a:r>
              <a:rPr kumimoji="1" lang="en-US" altLang="ko-KR" sz="1600" b="1" dirty="0">
                <a:solidFill>
                  <a:prstClr val="black"/>
                </a:solidFill>
                <a:latin typeface="교보서체 SemiBold" panose="020B0600000101010101" pitchFamily="50" charset="-127"/>
                <a:ea typeface="교보서체 SemiBold" panose="020B0600000101010101" pitchFamily="50" charset="-127"/>
              </a:rPr>
              <a:t>’</a:t>
            </a:r>
            <a:r>
              <a:rPr kumimoji="1" lang="ko-KR" altLang="en-US" sz="1600" b="1" dirty="0">
                <a:solidFill>
                  <a:prstClr val="black"/>
                </a:solidFill>
                <a:latin typeface="교보서체 SemiBold" panose="020B0600000101010101" pitchFamily="50" charset="-127"/>
                <a:ea typeface="교보서체 SemiBold" panose="020B0600000101010101" pitchFamily="50" charset="-127"/>
              </a:rPr>
              <a:t> 미스터리쇼핑 주요 평가 항목을 통한 보험상품 설명 시 유의사항</a:t>
            </a:r>
          </a:p>
        </p:txBody>
      </p:sp>
      <p:graphicFrame>
        <p:nvGraphicFramePr>
          <p:cNvPr id="15" name="표 14"/>
          <p:cNvGraphicFramePr>
            <a:graphicFrameLocks noGrp="1"/>
          </p:cNvGraphicFramePr>
          <p:nvPr>
            <p:extLst/>
          </p:nvPr>
        </p:nvGraphicFramePr>
        <p:xfrm>
          <a:off x="1015455" y="1395191"/>
          <a:ext cx="8328458" cy="547260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181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103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08837"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구분</a:t>
                      </a:r>
                    </a:p>
                  </a:txBody>
                  <a:tcPr marL="80045" marR="80045" marT="40023" marB="400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/>
                      <a:r>
                        <a:rPr lang="ko-KR" altLang="en-US" sz="110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설명 시 주요내용</a:t>
                      </a:r>
                    </a:p>
                  </a:txBody>
                  <a:tcPr marL="80045" marR="80045" marT="40023" marB="40023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72531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고지의무 위반으로 인한 계약해지</a:t>
                      </a:r>
                    </a:p>
                  </a:txBody>
                  <a:tcPr marL="80045" marR="80045" marT="40023" marB="400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- </a:t>
                      </a:r>
                      <a:r>
                        <a:rPr lang="ko-KR" altLang="en-US" sz="1050" b="1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고지의무</a:t>
                      </a:r>
                      <a:r>
                        <a:rPr lang="ko-KR" altLang="en-US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</a:t>
                      </a:r>
                      <a:r>
                        <a:rPr lang="en-US" altLang="ko-KR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: </a:t>
                      </a:r>
                      <a:r>
                        <a:rPr lang="ko-KR" altLang="en-US" sz="105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보험계약자</a:t>
                      </a:r>
                      <a:r>
                        <a:rPr lang="ko-KR" altLang="en-US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</a:t>
                      </a:r>
                      <a:r>
                        <a:rPr lang="ko-KR" altLang="en-US" sz="1050" b="0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또는 </a:t>
                      </a:r>
                      <a:r>
                        <a:rPr lang="ko-KR" altLang="en-US" sz="105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피보험자</a:t>
                      </a:r>
                      <a:r>
                        <a:rPr lang="ko-KR" altLang="en-US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는 청약할 때에 </a:t>
                      </a:r>
                      <a:r>
                        <a:rPr lang="ko-KR" altLang="en-US" sz="1050" b="1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보험회사에 서면으로 </a:t>
                      </a:r>
                      <a:r>
                        <a:rPr lang="ko-KR" altLang="en-US" sz="105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질문한 </a:t>
                      </a:r>
                      <a:r>
                        <a:rPr lang="ko-KR" altLang="en-US" sz="1050" b="1" u="sng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중요한 사항</a:t>
                      </a:r>
                      <a:r>
                        <a:rPr lang="ko-KR" altLang="en-US" sz="105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에</a:t>
                      </a:r>
                      <a:r>
                        <a:rPr lang="en-US" altLang="ko-KR" sz="105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/>
                      </a:r>
                      <a:br>
                        <a:rPr lang="en-US" altLang="ko-KR" sz="105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</a:br>
                      <a:r>
                        <a:rPr lang="en-US" altLang="ko-KR" sz="105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  </a:t>
                      </a:r>
                      <a:r>
                        <a:rPr lang="ko-KR" altLang="en-US" sz="105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대하여 사실대로 기재</a:t>
                      </a:r>
                      <a:r>
                        <a:rPr lang="ko-KR" altLang="en-US" sz="1050" b="1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하고 자필서명을 해야 함</a:t>
                      </a:r>
                      <a:r>
                        <a:rPr lang="ko-KR" altLang="en-US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을 설명</a:t>
                      </a:r>
                      <a:endParaRPr lang="en-US" altLang="ko-KR" sz="1050" b="0" dirty="0">
                        <a:solidFill>
                          <a:schemeClr val="tx1"/>
                        </a:solidFill>
                        <a:latin typeface="교보서체 SemiBold" panose="020B0600000101010101" pitchFamily="50" charset="-127"/>
                        <a:ea typeface="교보서체 SemiBold" panose="020B0600000101010101" pitchFamily="50" charset="-127"/>
                      </a:endParaRPr>
                    </a:p>
                    <a:p>
                      <a:pPr marL="0" indent="0" algn="l" latinLnBrk="1">
                        <a:buFontTx/>
                        <a:buNone/>
                      </a:pPr>
                      <a:r>
                        <a:rPr lang="en-US" altLang="ko-KR" sz="1050" b="1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- </a:t>
                      </a:r>
                      <a:r>
                        <a:rPr lang="ko-KR" altLang="en-US" sz="1050" b="1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고지의무 위반 효과 </a:t>
                      </a:r>
                      <a:r>
                        <a:rPr lang="en-US" altLang="ko-KR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: </a:t>
                      </a:r>
                      <a:r>
                        <a:rPr lang="ko-KR" altLang="en-US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만일</a:t>
                      </a:r>
                      <a:r>
                        <a:rPr lang="en-US" altLang="ko-KR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, </a:t>
                      </a:r>
                      <a:r>
                        <a:rPr lang="ko-KR" altLang="en-US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고의 또는 중대한 과실로 중요한 사항에 대하여 </a:t>
                      </a:r>
                      <a:r>
                        <a:rPr lang="ko-KR" altLang="en-US" sz="105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사실과 다르게 알릴</a:t>
                      </a:r>
                      <a:r>
                        <a:rPr lang="en-US" altLang="ko-KR" sz="105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/>
                      </a:r>
                      <a:br>
                        <a:rPr lang="en-US" altLang="ko-KR" sz="105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</a:br>
                      <a:r>
                        <a:rPr lang="en-US" altLang="ko-KR" sz="105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  </a:t>
                      </a:r>
                      <a:r>
                        <a:rPr lang="ko-KR" altLang="en-US" sz="105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경우 보험회사는 보험계약자</a:t>
                      </a:r>
                      <a:r>
                        <a:rPr lang="en-US" altLang="ko-KR" sz="105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(</a:t>
                      </a:r>
                      <a:r>
                        <a:rPr lang="ko-KR" altLang="en-US" sz="105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피보험자</a:t>
                      </a:r>
                      <a:r>
                        <a:rPr lang="en-US" altLang="ko-KR" sz="105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)</a:t>
                      </a:r>
                      <a:r>
                        <a:rPr lang="ko-KR" altLang="en-US" sz="105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의 의사와 관계없이 계약을 해지</a:t>
                      </a:r>
                      <a:endParaRPr lang="en-US" altLang="ko-KR" sz="1050" b="1" dirty="0">
                        <a:solidFill>
                          <a:srgbClr val="0000C4"/>
                        </a:solidFill>
                        <a:latin typeface="교보서체 SemiBold" panose="020B0600000101010101" pitchFamily="50" charset="-127"/>
                        <a:ea typeface="교보서체 SemiBold" panose="020B0600000101010101" pitchFamily="50" charset="-127"/>
                      </a:endParaRPr>
                    </a:p>
                    <a:p>
                      <a:pPr marL="0" indent="0" algn="l" latinLnBrk="1">
                        <a:buFontTx/>
                        <a:buNone/>
                      </a:pPr>
                      <a:r>
                        <a:rPr lang="en-US" altLang="ko-KR" sz="1050" b="0" u="none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- </a:t>
                      </a:r>
                      <a:r>
                        <a:rPr lang="ko-KR" altLang="en-US" sz="1050" b="1" u="none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주요 </a:t>
                      </a:r>
                      <a:r>
                        <a:rPr lang="ko-KR" altLang="en-US" sz="1050" b="1" u="none" dirty="0" err="1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고지사항에</a:t>
                      </a:r>
                      <a:r>
                        <a:rPr lang="ko-KR" altLang="en-US" sz="1050" b="1" u="none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대한 확인 </a:t>
                      </a:r>
                      <a:r>
                        <a:rPr lang="en-US" altLang="ko-KR" sz="1050" b="0" u="none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:</a:t>
                      </a:r>
                      <a:r>
                        <a:rPr lang="en-US" altLang="ko-KR" sz="1050" b="0" u="none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</a:t>
                      </a:r>
                      <a:r>
                        <a:rPr lang="ko-KR" altLang="en-US" sz="1050" b="1" u="none" baseline="0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최근 </a:t>
                      </a:r>
                      <a:r>
                        <a:rPr lang="en-US" altLang="ko-KR" sz="1050" b="1" u="none" baseline="0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3</a:t>
                      </a:r>
                      <a:r>
                        <a:rPr lang="ko-KR" altLang="en-US" sz="1050" b="1" u="none" baseline="0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개월</a:t>
                      </a:r>
                      <a:r>
                        <a:rPr lang="en-US" altLang="ko-KR" sz="1050" b="1" u="none" baseline="0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, 1</a:t>
                      </a:r>
                      <a:r>
                        <a:rPr lang="ko-KR" altLang="en-US" sz="1050" b="1" u="none" baseline="0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년</a:t>
                      </a:r>
                      <a:r>
                        <a:rPr lang="en-US" altLang="ko-KR" sz="1050" b="1" u="none" baseline="0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, 5</a:t>
                      </a:r>
                      <a:r>
                        <a:rPr lang="ko-KR" altLang="en-US" sz="1050" b="1" u="none" baseline="0" dirty="0" err="1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년이내</a:t>
                      </a:r>
                      <a:r>
                        <a:rPr lang="ko-KR" altLang="en-US" sz="1050" b="1" u="none" baseline="0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</a:t>
                      </a:r>
                      <a:r>
                        <a:rPr lang="ko-KR" altLang="en-US" sz="1050" b="0" u="none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의사로 부터 진찰</a:t>
                      </a:r>
                      <a:r>
                        <a:rPr lang="en-US" altLang="ko-KR" sz="1050" b="0" u="none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,</a:t>
                      </a:r>
                      <a:r>
                        <a:rPr lang="ko-KR" altLang="en-US" sz="1050" b="0" u="none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검사를 통한 의료행위</a:t>
                      </a:r>
                      <a:r>
                        <a:rPr lang="en-US" altLang="ko-KR" sz="1050" b="0" u="none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,</a:t>
                      </a:r>
                    </a:p>
                    <a:p>
                      <a:pPr marL="0" indent="0" algn="l" latinLnBrk="1">
                        <a:buFontTx/>
                        <a:buNone/>
                      </a:pPr>
                      <a:r>
                        <a:rPr lang="en-US" altLang="ko-KR" sz="1050" b="0" u="none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  </a:t>
                      </a:r>
                      <a:r>
                        <a:rPr lang="ko-KR" altLang="en-US" sz="1050" b="0" u="none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약물복용</a:t>
                      </a:r>
                      <a:r>
                        <a:rPr lang="en-US" altLang="ko-KR" sz="1050" b="0" u="none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, </a:t>
                      </a:r>
                      <a:r>
                        <a:rPr lang="ko-KR" altLang="en-US" sz="1050" b="0" u="none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재검사</a:t>
                      </a:r>
                      <a:r>
                        <a:rPr lang="en-US" altLang="ko-KR" sz="1050" b="0" u="none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, </a:t>
                      </a:r>
                      <a:r>
                        <a:rPr lang="ko-KR" altLang="en-US" sz="1050" b="0" u="none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입원</a:t>
                      </a:r>
                      <a:r>
                        <a:rPr lang="en-US" altLang="ko-KR" sz="1050" b="0" u="none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, </a:t>
                      </a:r>
                      <a:r>
                        <a:rPr lang="ko-KR" altLang="en-US" sz="1050" b="0" u="none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수술 등을 받을 사실이 있는지 확인</a:t>
                      </a:r>
                      <a:r>
                        <a:rPr lang="en-US" altLang="ko-KR" sz="1050" b="0" u="none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     </a:t>
                      </a:r>
                      <a:endParaRPr lang="ko-KR" altLang="en-US" sz="1050" b="0" u="none" dirty="0">
                        <a:solidFill>
                          <a:srgbClr val="0000C4"/>
                        </a:solidFill>
                        <a:latin typeface="교보서체 SemiBold" panose="020B0600000101010101" pitchFamily="50" charset="-127"/>
                        <a:ea typeface="교보서체 SemiBold" panose="020B0600000101010101" pitchFamily="50" charset="-127"/>
                      </a:endParaRPr>
                    </a:p>
                  </a:txBody>
                  <a:tcPr marL="80045" marR="80045" marT="40023" marB="40023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41375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청약의 철회</a:t>
                      </a:r>
                    </a:p>
                  </a:txBody>
                  <a:tcPr marL="80045" marR="80045" marT="40023" marB="400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latinLnBrk="1">
                        <a:buFontTx/>
                        <a:buNone/>
                      </a:pPr>
                      <a:r>
                        <a:rPr lang="en-US" altLang="ko-KR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- </a:t>
                      </a:r>
                      <a:r>
                        <a:rPr lang="ko-KR" altLang="en-US" sz="1050" b="1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청약철회기한</a:t>
                      </a:r>
                      <a:r>
                        <a:rPr lang="ko-KR" altLang="en-US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</a:t>
                      </a:r>
                      <a:r>
                        <a:rPr lang="en-US" altLang="ko-KR" sz="1050" b="0" u="sng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: ‘</a:t>
                      </a:r>
                      <a:r>
                        <a:rPr lang="ko-KR" altLang="en-US" sz="1050" b="1" u="sng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보험증권을 받은 날</a:t>
                      </a:r>
                      <a:r>
                        <a:rPr lang="ko-KR" altLang="en-US" sz="1050" b="0" u="sng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부터 </a:t>
                      </a:r>
                      <a:r>
                        <a:rPr lang="en-US" altLang="ko-KR" sz="1050" b="1" u="sng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15</a:t>
                      </a:r>
                      <a:r>
                        <a:rPr lang="ko-KR" altLang="en-US" sz="1050" b="1" u="sng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일</a:t>
                      </a:r>
                      <a:r>
                        <a:rPr lang="en-US" altLang="ko-KR" sz="1050" b="1" u="sng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’</a:t>
                      </a:r>
                      <a:r>
                        <a:rPr lang="ko-KR" altLang="en-US" sz="105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과 </a:t>
                      </a:r>
                      <a:r>
                        <a:rPr lang="en-US" altLang="ko-KR" sz="1050" b="1" u="sng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‘</a:t>
                      </a:r>
                      <a:r>
                        <a:rPr lang="ko-KR" altLang="en-US" sz="1050" b="1" u="sng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청약</a:t>
                      </a:r>
                      <a:r>
                        <a:rPr lang="ko-KR" altLang="en-US" sz="1050" b="1" u="sng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을 한 날</a:t>
                      </a:r>
                      <a:r>
                        <a:rPr lang="ko-KR" altLang="en-US" sz="1050" b="0" u="sng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부터</a:t>
                      </a:r>
                      <a:r>
                        <a:rPr lang="ko-KR" altLang="en-US" sz="1050" b="1" u="sng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</a:t>
                      </a:r>
                      <a:r>
                        <a:rPr lang="en-US" altLang="ko-KR" sz="1050" b="1" u="sng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30</a:t>
                      </a:r>
                      <a:r>
                        <a:rPr lang="ko-KR" altLang="en-US" sz="1050" b="1" u="sng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일</a:t>
                      </a:r>
                      <a:r>
                        <a:rPr lang="en-US" altLang="ko-KR" sz="1050" b="1" u="sng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’</a:t>
                      </a:r>
                      <a:r>
                        <a:rPr lang="ko-KR" altLang="en-US" sz="1050" b="1" u="sng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</a:t>
                      </a:r>
                      <a:r>
                        <a:rPr lang="ko-KR" altLang="en-US" sz="105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中 먼저</a:t>
                      </a:r>
                      <a:r>
                        <a:rPr lang="ko-KR" altLang="en-US" sz="1050" b="1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도래한 기간</a:t>
                      </a:r>
                      <a:endParaRPr lang="en-US" altLang="ko-KR" sz="1050" b="0" dirty="0">
                        <a:solidFill>
                          <a:schemeClr val="tx1"/>
                        </a:solidFill>
                        <a:latin typeface="교보서체 SemiBold" panose="020B0600000101010101" pitchFamily="50" charset="-127"/>
                        <a:ea typeface="교보서체 SemiBold" panose="020B0600000101010101" pitchFamily="50" charset="-127"/>
                      </a:endParaRPr>
                    </a:p>
                    <a:p>
                      <a:pPr marL="0" indent="0" algn="l" latinLnBrk="1">
                        <a:buFontTx/>
                        <a:buNone/>
                      </a:pPr>
                      <a:r>
                        <a:rPr lang="en-US" altLang="ko-KR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- </a:t>
                      </a:r>
                      <a:r>
                        <a:rPr lang="ko-KR" altLang="en-US" sz="1050" b="1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청약철회방법</a:t>
                      </a:r>
                      <a:r>
                        <a:rPr lang="ko-KR" altLang="en-US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</a:t>
                      </a:r>
                      <a:r>
                        <a:rPr lang="en-US" altLang="ko-KR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: </a:t>
                      </a:r>
                      <a:r>
                        <a:rPr lang="ko-KR" altLang="en-US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계약자가 </a:t>
                      </a:r>
                      <a:r>
                        <a:rPr lang="ko-KR" altLang="en-US" sz="105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전화</a:t>
                      </a:r>
                      <a:r>
                        <a:rPr lang="ko-KR" altLang="en-US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로 신청하거나 청약철회 신청서 양식을 작성하여 보험회사에 </a:t>
                      </a:r>
                      <a:r>
                        <a:rPr lang="ko-KR" altLang="en-US" sz="105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서면</a:t>
                      </a:r>
                      <a:r>
                        <a:rPr lang="en-US" altLang="ko-KR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,</a:t>
                      </a:r>
                      <a:br>
                        <a:rPr lang="en-US" altLang="ko-KR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</a:br>
                      <a:r>
                        <a:rPr lang="en-US" altLang="ko-KR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                         </a:t>
                      </a:r>
                      <a:r>
                        <a:rPr lang="ko-KR" altLang="en-US" sz="105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홈페이지</a:t>
                      </a:r>
                      <a:r>
                        <a:rPr lang="en-US" altLang="ko-KR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, </a:t>
                      </a:r>
                      <a:r>
                        <a:rPr lang="ko-KR" altLang="en-US" sz="105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모바일</a:t>
                      </a:r>
                      <a:r>
                        <a:rPr lang="ko-KR" altLang="en-US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또는 </a:t>
                      </a:r>
                      <a:r>
                        <a:rPr lang="ko-KR" altLang="en-US" sz="105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직접 내방 </a:t>
                      </a:r>
                      <a:r>
                        <a:rPr lang="ko-KR" altLang="en-US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등 안내 방법에 따라 신청</a:t>
                      </a:r>
                      <a:r>
                        <a:rPr lang="en-US" altLang="ko-KR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/>
                      </a:r>
                      <a:br>
                        <a:rPr lang="en-US" altLang="ko-KR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</a:br>
                      <a:r>
                        <a:rPr lang="en-US" altLang="ko-KR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- </a:t>
                      </a:r>
                      <a:r>
                        <a:rPr lang="ko-KR" altLang="en-US" sz="1050" b="1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청약철회효과</a:t>
                      </a:r>
                      <a:r>
                        <a:rPr lang="ko-KR" altLang="en-US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</a:t>
                      </a:r>
                      <a:r>
                        <a:rPr lang="en-US" altLang="ko-KR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: </a:t>
                      </a:r>
                      <a:r>
                        <a:rPr lang="ko-KR" altLang="en-US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보험회사에 철회를 접수한 날부터 </a:t>
                      </a:r>
                      <a:r>
                        <a:rPr lang="en-US" altLang="ko-KR" sz="105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3</a:t>
                      </a:r>
                      <a:r>
                        <a:rPr lang="ko-KR" altLang="en-US" sz="105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영업일 이내에 납입한 보험료 반환</a:t>
                      </a:r>
                      <a:endParaRPr lang="en-US" altLang="ko-KR" sz="1050" b="1" dirty="0">
                        <a:solidFill>
                          <a:srgbClr val="0000C4"/>
                        </a:solidFill>
                        <a:latin typeface="교보서체 SemiBold" panose="020B0600000101010101" pitchFamily="50" charset="-127"/>
                        <a:ea typeface="교보서체 SemiBold" panose="020B0600000101010101" pitchFamily="50" charset="-127"/>
                      </a:endParaRPr>
                    </a:p>
                  </a:txBody>
                  <a:tcPr marL="80045" marR="80045" marT="40023" marB="40023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75797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보험료 </a:t>
                      </a:r>
                      <a:r>
                        <a:rPr lang="ko-KR" altLang="en-US" sz="1100" b="1" dirty="0" err="1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납입지체에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따른 계약해제</a:t>
                      </a:r>
                    </a:p>
                  </a:txBody>
                  <a:tcPr marL="80045" marR="80045" marT="40023" marB="400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latinLnBrk="1"/>
                      <a:r>
                        <a:rPr lang="en-US" altLang="ko-KR" sz="1050" b="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- </a:t>
                      </a:r>
                      <a:r>
                        <a:rPr lang="ko-KR" altLang="en-US" sz="1050" b="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제</a:t>
                      </a:r>
                      <a:r>
                        <a:rPr lang="en-US" altLang="ko-KR" sz="1050" b="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1</a:t>
                      </a:r>
                      <a:r>
                        <a:rPr lang="ko-KR" altLang="en-US" sz="1050" b="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회 보험료를 납입하지 않으면 보장을 받을 수 없으며</a:t>
                      </a:r>
                      <a:r>
                        <a:rPr lang="en-US" altLang="ko-KR" sz="1050" b="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, </a:t>
                      </a:r>
                      <a:r>
                        <a:rPr lang="ko-KR" altLang="en-US" sz="1050" b="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제</a:t>
                      </a:r>
                      <a:r>
                        <a:rPr lang="en-US" altLang="ko-KR" sz="1050" b="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2</a:t>
                      </a:r>
                      <a:r>
                        <a:rPr lang="ko-KR" altLang="en-US" sz="1050" b="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회 이후 보험료를 납입기일까지 납입</a:t>
                      </a:r>
                      <a:r>
                        <a:rPr lang="en-US" altLang="ko-KR" sz="1050" b="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/>
                      </a:r>
                      <a:br>
                        <a:rPr lang="en-US" altLang="ko-KR" sz="1050" b="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</a:br>
                      <a:r>
                        <a:rPr lang="en-US" altLang="ko-KR" sz="1050" b="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  </a:t>
                      </a:r>
                      <a:r>
                        <a:rPr lang="ko-KR" altLang="en-US" sz="1050" b="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하지 않는 경우 보험회사는 </a:t>
                      </a:r>
                      <a:r>
                        <a:rPr lang="en-US" altLang="ko-KR" sz="1050" b="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‘</a:t>
                      </a:r>
                      <a:r>
                        <a:rPr lang="ko-KR" altLang="en-US" sz="1050" b="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납입을 독촉하는 안내</a:t>
                      </a:r>
                      <a:r>
                        <a:rPr lang="en-US" altLang="ko-KR" sz="1050" b="0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’, </a:t>
                      </a:r>
                      <a:r>
                        <a:rPr lang="ko-KR" altLang="en-US" sz="1050" b="1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납입최고</a:t>
                      </a:r>
                      <a:r>
                        <a:rPr lang="en-US" altLang="ko-KR" sz="1050" b="1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(</a:t>
                      </a:r>
                      <a:r>
                        <a:rPr lang="ko-KR" altLang="en-US" sz="1050" b="1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독촉</a:t>
                      </a:r>
                      <a:r>
                        <a:rPr lang="en-US" altLang="ko-KR" sz="1050" b="1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)</a:t>
                      </a:r>
                      <a:r>
                        <a:rPr lang="ko-KR" altLang="en-US" sz="1050" b="1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기간 내에 보험료를 납입하지</a:t>
                      </a:r>
                      <a:r>
                        <a:rPr lang="en-US" altLang="ko-KR" sz="1050" b="1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/>
                      </a:r>
                      <a:br>
                        <a:rPr lang="en-US" altLang="ko-KR" sz="1050" b="1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</a:br>
                      <a:r>
                        <a:rPr lang="en-US" altLang="ko-KR" sz="1050" b="1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 </a:t>
                      </a:r>
                      <a:r>
                        <a:rPr lang="ko-KR" altLang="en-US" sz="1050" b="1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않으면 계약이 </a:t>
                      </a:r>
                      <a:r>
                        <a:rPr lang="ko-KR" altLang="en-US" sz="1050" b="1" dirty="0" err="1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해지되고</a:t>
                      </a:r>
                      <a:r>
                        <a:rPr lang="ko-KR" altLang="en-US" sz="1050" b="1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보장을 받을 수 없음 </a:t>
                      </a:r>
                      <a:r>
                        <a:rPr lang="en-US" altLang="ko-KR" sz="1050" b="1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_</a:t>
                      </a:r>
                      <a:r>
                        <a:rPr lang="ko-KR" altLang="en-US" sz="1050" b="1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납입최고 기간 </a:t>
                      </a:r>
                      <a:r>
                        <a:rPr lang="en-US" altLang="ko-KR" sz="1050" b="1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: 14</a:t>
                      </a:r>
                      <a:r>
                        <a:rPr lang="ko-KR" altLang="en-US" sz="1050" b="1" dirty="0">
                          <a:ln>
                            <a:solidFill>
                              <a:schemeClr val="accent6">
                                <a:lumMod val="75000"/>
                                <a:alpha val="5000"/>
                              </a:schemeClr>
                            </a:solidFill>
                          </a:ln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일</a:t>
                      </a:r>
                      <a:endParaRPr lang="en-US" altLang="ko-KR" sz="1050" b="1" dirty="0">
                        <a:ln>
                          <a:solidFill>
                            <a:schemeClr val="accent6">
                              <a:lumMod val="75000"/>
                              <a:alpha val="5000"/>
                            </a:schemeClr>
                          </a:solidFill>
                        </a:ln>
                        <a:solidFill>
                          <a:srgbClr val="0000C4"/>
                        </a:solidFill>
                        <a:latin typeface="교보서체 SemiBold" panose="020B0600000101010101" pitchFamily="50" charset="-127"/>
                        <a:ea typeface="교보서체 SemiBold" panose="020B0600000101010101" pitchFamily="50" charset="-127"/>
                      </a:endParaRPr>
                    </a:p>
                  </a:txBody>
                  <a:tcPr marL="80045" marR="80045" marT="40023" marB="40023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72531">
                <a:tc>
                  <a:txBody>
                    <a:bodyPr/>
                    <a:lstStyle/>
                    <a:p>
                      <a:pPr algn="l" latinLnBrk="1"/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분쟁의 조정 및 예금자보호제도</a:t>
                      </a:r>
                    </a:p>
                  </a:txBody>
                  <a:tcPr marL="80045" marR="80045" marT="40023" marB="400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- </a:t>
                      </a:r>
                      <a:r>
                        <a:rPr lang="ko-KR" altLang="en-US" sz="1050" b="1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분쟁의 조정 </a:t>
                      </a:r>
                      <a:r>
                        <a:rPr lang="en-US" altLang="ko-KR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: </a:t>
                      </a:r>
                      <a:r>
                        <a:rPr lang="ko-KR" altLang="en-US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보험계약과 관련하여 문의사항</a:t>
                      </a:r>
                      <a:r>
                        <a:rPr lang="en-US" altLang="ko-KR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,</a:t>
                      </a:r>
                      <a:r>
                        <a:rPr lang="en-US" altLang="ko-KR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</a:t>
                      </a:r>
                      <a:r>
                        <a:rPr lang="ko-KR" altLang="en-US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불만</a:t>
                      </a:r>
                      <a:r>
                        <a:rPr lang="en-US" altLang="ko-KR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(</a:t>
                      </a:r>
                      <a:r>
                        <a:rPr lang="ko-KR" altLang="en-US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민원</a:t>
                      </a:r>
                      <a:r>
                        <a:rPr lang="en-US" altLang="ko-KR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)</a:t>
                      </a:r>
                      <a:r>
                        <a:rPr lang="ko-KR" altLang="en-US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이 있거나 분쟁이 발생하여 조정을</a:t>
                      </a:r>
                      <a:r>
                        <a:rPr lang="en-US" altLang="ko-KR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/>
                      </a:r>
                      <a:br>
                        <a:rPr lang="en-US" altLang="ko-KR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</a:br>
                      <a:r>
                        <a:rPr lang="en-US" altLang="ko-KR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  </a:t>
                      </a:r>
                      <a:r>
                        <a:rPr lang="ko-KR" altLang="en-US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원하는 경우 </a:t>
                      </a:r>
                      <a:r>
                        <a:rPr lang="ko-KR" altLang="en-US" sz="1050" b="1" baseline="0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보험회사</a:t>
                      </a:r>
                      <a:r>
                        <a:rPr lang="en-US" altLang="ko-KR" sz="1050" b="1" baseline="0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, </a:t>
                      </a:r>
                      <a:r>
                        <a:rPr lang="ko-KR" altLang="en-US" sz="1050" b="1" baseline="0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생명보험협회</a:t>
                      </a:r>
                      <a:r>
                        <a:rPr lang="en-US" altLang="ko-KR" sz="1050" b="1" baseline="0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, </a:t>
                      </a:r>
                      <a:r>
                        <a:rPr lang="ko-KR" altLang="en-US" sz="1050" b="1" baseline="0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금융감독원</a:t>
                      </a:r>
                      <a:r>
                        <a:rPr lang="en-US" altLang="ko-KR" sz="1050" b="1" baseline="0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, </a:t>
                      </a:r>
                      <a:r>
                        <a:rPr lang="ko-KR" altLang="en-US" sz="1050" b="1" baseline="0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한국소비자원 등을 통해 신청</a:t>
                      </a:r>
                      <a:r>
                        <a:rPr lang="ko-KR" altLang="en-US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할 수 있음을 설명</a:t>
                      </a:r>
                      <a:endParaRPr lang="en-US" altLang="ko-KR" sz="1050" b="0" baseline="0" dirty="0">
                        <a:solidFill>
                          <a:schemeClr val="tx1"/>
                        </a:solidFill>
                        <a:latin typeface="교보서체 SemiBold" panose="020B0600000101010101" pitchFamily="50" charset="-127"/>
                        <a:ea typeface="교보서체 SemiBold" panose="020B0600000101010101" pitchFamily="50" charset="-127"/>
                      </a:endParaRP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- </a:t>
                      </a:r>
                      <a:r>
                        <a:rPr lang="ko-KR" altLang="en-US" sz="1050" b="1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예금자보호제도</a:t>
                      </a:r>
                      <a:r>
                        <a:rPr lang="ko-KR" altLang="en-US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</a:t>
                      </a:r>
                      <a:r>
                        <a:rPr lang="en-US" altLang="ko-KR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: </a:t>
                      </a:r>
                      <a:r>
                        <a:rPr lang="ko-KR" altLang="en-US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보험계약은 </a:t>
                      </a:r>
                      <a:r>
                        <a:rPr lang="ko-KR" altLang="en-US" sz="1050" b="1" baseline="0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예금자보호법에 따라 예금보험공사가 보호</a:t>
                      </a:r>
                      <a:r>
                        <a:rPr lang="ko-KR" altLang="en-US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하되</a:t>
                      </a:r>
                      <a:r>
                        <a:rPr lang="en-US" altLang="ko-KR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, </a:t>
                      </a:r>
                      <a:r>
                        <a:rPr lang="ko-KR" altLang="en-US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보호 한도는 </a:t>
                      </a:r>
                      <a:r>
                        <a:rPr lang="en-US" altLang="ko-KR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/>
                      </a:r>
                      <a:br>
                        <a:rPr lang="en-US" altLang="ko-KR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</a:br>
                      <a:r>
                        <a:rPr lang="en-US" altLang="ko-KR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  </a:t>
                      </a:r>
                      <a:r>
                        <a:rPr lang="ko-KR" altLang="en-US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본 보험회사에 있는 고객의 모든 예금보호대상 금융상품의 </a:t>
                      </a:r>
                      <a:r>
                        <a:rPr lang="ko-KR" altLang="en-US" sz="1050" b="0" baseline="0" dirty="0" err="1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해지환급금</a:t>
                      </a:r>
                      <a:r>
                        <a:rPr lang="en-US" altLang="ko-KR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(</a:t>
                      </a:r>
                      <a:r>
                        <a:rPr lang="ko-KR" altLang="en-US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또는 </a:t>
                      </a:r>
                      <a:r>
                        <a:rPr lang="ko-KR" altLang="en-US" sz="1050" b="0" baseline="0" dirty="0" err="1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만기보험금</a:t>
                      </a:r>
                      <a:r>
                        <a:rPr lang="ko-KR" altLang="en-US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이나 사고</a:t>
                      </a:r>
                      <a:r>
                        <a:rPr lang="en-US" altLang="ko-KR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/>
                      </a:r>
                      <a:br>
                        <a:rPr lang="en-US" altLang="ko-KR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</a:br>
                      <a:r>
                        <a:rPr lang="en-US" altLang="ko-KR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  </a:t>
                      </a:r>
                      <a:r>
                        <a:rPr lang="ko-KR" altLang="en-US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보험금</a:t>
                      </a:r>
                      <a:r>
                        <a:rPr lang="en-US" altLang="ko-KR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)</a:t>
                      </a:r>
                      <a:r>
                        <a:rPr lang="ko-KR" altLang="en-US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에 </a:t>
                      </a:r>
                      <a:r>
                        <a:rPr lang="ko-KR" altLang="en-US" sz="1050" b="0" baseline="0" dirty="0" err="1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기타지급금</a:t>
                      </a:r>
                      <a:r>
                        <a:rPr lang="ko-KR" altLang="en-US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합하여 </a:t>
                      </a:r>
                      <a:r>
                        <a:rPr lang="en-US" altLang="ko-KR" sz="1050" b="1" baseline="0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1</a:t>
                      </a:r>
                      <a:r>
                        <a:rPr lang="ko-KR" altLang="en-US" sz="1050" b="1" baseline="0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인당 </a:t>
                      </a:r>
                      <a:r>
                        <a:rPr lang="en-US" altLang="ko-KR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“</a:t>
                      </a:r>
                      <a:r>
                        <a:rPr lang="ko-KR" altLang="en-US" sz="1050" b="1" baseline="0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최고 </a:t>
                      </a:r>
                      <a:r>
                        <a:rPr lang="en-US" altLang="ko-KR" sz="1050" b="1" baseline="0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5</a:t>
                      </a:r>
                      <a:r>
                        <a:rPr lang="ko-KR" altLang="en-US" sz="1050" b="1" baseline="0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천만원</a:t>
                      </a:r>
                      <a:r>
                        <a:rPr lang="en-US" altLang="ko-KR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＂</a:t>
                      </a:r>
                      <a:r>
                        <a:rPr lang="ko-KR" altLang="en-US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이며 </a:t>
                      </a:r>
                      <a:r>
                        <a:rPr lang="en-US" altLang="ko-KR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5</a:t>
                      </a:r>
                      <a:r>
                        <a:rPr lang="ko-KR" altLang="en-US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천만원을 초과하는 나머지 금액은 보호</a:t>
                      </a:r>
                      <a:r>
                        <a:rPr lang="en-US" altLang="ko-KR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/>
                      </a:r>
                      <a:br>
                        <a:rPr lang="en-US" altLang="ko-KR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</a:br>
                      <a:r>
                        <a:rPr lang="en-US" altLang="ko-KR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  </a:t>
                      </a:r>
                      <a:r>
                        <a:rPr lang="ko-KR" altLang="en-US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하지 않음을 설명</a:t>
                      </a:r>
                      <a:endParaRPr lang="en-US" altLang="ko-KR" sz="1050" b="0" dirty="0">
                        <a:solidFill>
                          <a:schemeClr val="tx1"/>
                        </a:solidFill>
                        <a:latin typeface="교보서체 SemiBold" panose="020B0600000101010101" pitchFamily="50" charset="-127"/>
                        <a:ea typeface="교보서체 SemiBold" panose="020B0600000101010101" pitchFamily="50" charset="-127"/>
                      </a:endParaRPr>
                    </a:p>
                  </a:txBody>
                  <a:tcPr marL="80045" marR="80045" marT="40023" marB="40023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902226">
                <a:tc>
                  <a:txBody>
                    <a:bodyPr/>
                    <a:lstStyle/>
                    <a:p>
                      <a:pPr marL="0" marR="0" indent="0" algn="l" defTabSz="94297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금융상품판매대리 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· 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중개업자의</a:t>
                      </a:r>
                      <a:endParaRPr lang="en-US" altLang="ko-KR" sz="1100" b="1" dirty="0">
                        <a:solidFill>
                          <a:schemeClr val="tx1"/>
                        </a:solidFill>
                        <a:latin typeface="교보서체 SemiBold" panose="020B0600000101010101" pitchFamily="50" charset="-127"/>
                        <a:ea typeface="교보서체 SemiBold" panose="020B0600000101010101" pitchFamily="50" charset="-127"/>
                      </a:endParaRPr>
                    </a:p>
                    <a:p>
                      <a:pPr marL="0" marR="0" indent="0" algn="l" defTabSz="94297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고지의무</a:t>
                      </a:r>
                    </a:p>
                  </a:txBody>
                  <a:tcPr marL="80045" marR="80045" marT="40023" marB="400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latinLnBrk="1">
                        <a:buFontTx/>
                        <a:buNone/>
                      </a:pPr>
                      <a:r>
                        <a:rPr lang="en-US" altLang="ko-KR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- </a:t>
                      </a:r>
                      <a:r>
                        <a:rPr lang="ko-KR" altLang="en-US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①보험설계사가 대리하는 </a:t>
                      </a:r>
                      <a:r>
                        <a:rPr lang="ko-KR" altLang="en-US" sz="105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보험회사의 명칭</a:t>
                      </a:r>
                      <a:r>
                        <a:rPr lang="en-US" altLang="ko-KR" sz="1050" b="1" baseline="0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</a:t>
                      </a:r>
                      <a:r>
                        <a:rPr lang="ko-KR" altLang="en-US" sz="1050" b="1" baseline="0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및 업무내용</a:t>
                      </a:r>
                      <a:r>
                        <a:rPr lang="en-US" altLang="ko-KR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, </a:t>
                      </a:r>
                      <a:r>
                        <a:rPr lang="ko-KR" altLang="en-US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② 하나</a:t>
                      </a:r>
                      <a:r>
                        <a:rPr lang="en-US" altLang="ko-KR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(</a:t>
                      </a:r>
                      <a:r>
                        <a:rPr lang="ko-KR" altLang="en-US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다수</a:t>
                      </a:r>
                      <a:r>
                        <a:rPr lang="en-US" altLang="ko-KR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) </a:t>
                      </a:r>
                      <a:r>
                        <a:rPr lang="ko-KR" altLang="en-US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보험회사 상품의 </a:t>
                      </a:r>
                      <a:r>
                        <a:rPr lang="ko-KR" altLang="en-US" sz="1050" b="0" baseline="0" dirty="0" err="1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취급여부</a:t>
                      </a:r>
                      <a:r>
                        <a:rPr lang="en-US" altLang="ko-KR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/>
                      </a:r>
                      <a:br>
                        <a:rPr lang="en-US" altLang="ko-KR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</a:br>
                      <a:r>
                        <a:rPr lang="en-US" altLang="ko-KR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  </a:t>
                      </a:r>
                      <a:r>
                        <a:rPr lang="ko-KR" altLang="en-US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③</a:t>
                      </a:r>
                      <a:r>
                        <a:rPr lang="ko-KR" altLang="en-US" sz="1050" b="0" u="none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보험설계사는 계약체결 권한과 보험회사를 대신하여 </a:t>
                      </a:r>
                      <a:r>
                        <a:rPr lang="ko-KR" altLang="en-US" sz="1050" b="1" u="none" baseline="0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보험료를 수령할 권한이 없다는 사실</a:t>
                      </a:r>
                      <a:r>
                        <a:rPr lang="en-US" altLang="ko-KR" sz="1050" b="0" u="none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,</a:t>
                      </a:r>
                    </a:p>
                    <a:p>
                      <a:pPr marL="0" indent="0" algn="l" latinLnBrk="1">
                        <a:buFontTx/>
                        <a:buNone/>
                      </a:pPr>
                      <a:r>
                        <a:rPr lang="en-US" altLang="ko-KR" sz="1050" b="0" u="none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  </a:t>
                      </a:r>
                      <a:r>
                        <a:rPr lang="ko-KR" altLang="en-US" sz="1050" b="0" u="none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④보험설계사의 고의 과실로 인해 </a:t>
                      </a:r>
                      <a:r>
                        <a:rPr lang="ko-KR" altLang="en-US" sz="1050" b="1" u="none" baseline="0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손해를 발생시켰을 때 손해배상책임</a:t>
                      </a:r>
                      <a:r>
                        <a:rPr lang="en-US" altLang="ko-KR" sz="1050" b="0" u="none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,  </a:t>
                      </a:r>
                      <a:r>
                        <a:rPr lang="ko-KR" altLang="en-US" sz="1050" b="0" u="none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⑤소비자의 </a:t>
                      </a:r>
                      <a:r>
                        <a:rPr lang="ko-KR" altLang="en-US" sz="1050" b="1" u="none" baseline="0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신용정보 및</a:t>
                      </a:r>
                      <a:r>
                        <a:rPr lang="ko-KR" altLang="en-US" sz="1050" b="0" u="none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</a:t>
                      </a:r>
                      <a:endParaRPr lang="en-US" altLang="ko-KR" sz="1050" b="0" u="none" baseline="0" dirty="0">
                        <a:solidFill>
                          <a:schemeClr val="tx1"/>
                        </a:solidFill>
                        <a:latin typeface="교보서체 SemiBold" panose="020B0600000101010101" pitchFamily="50" charset="-127"/>
                        <a:ea typeface="교보서체 SemiBold" panose="020B0600000101010101" pitchFamily="50" charset="-127"/>
                      </a:endParaRPr>
                    </a:p>
                    <a:p>
                      <a:pPr marL="0" indent="0" algn="l" latinLnBrk="1">
                        <a:buFontTx/>
                        <a:buNone/>
                      </a:pPr>
                      <a:r>
                        <a:rPr lang="en-US" altLang="ko-KR" sz="1050" b="0" u="none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  </a:t>
                      </a:r>
                      <a:r>
                        <a:rPr lang="ko-KR" altLang="en-US" sz="1050" b="1" u="none" baseline="0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개인정보는 보험회사가 보유 </a:t>
                      </a:r>
                      <a:r>
                        <a:rPr lang="en-US" altLang="ko-KR" sz="1050" b="1" u="none" baseline="0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· </a:t>
                      </a:r>
                      <a:r>
                        <a:rPr lang="ko-KR" altLang="en-US" sz="1050" b="1" u="none" baseline="0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관리</a:t>
                      </a:r>
                      <a:r>
                        <a:rPr lang="ko-KR" altLang="en-US" sz="1050" b="0" u="none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한다는 사실</a:t>
                      </a:r>
                      <a:r>
                        <a:rPr lang="en-US" altLang="ko-KR" sz="1050" b="0" u="none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, </a:t>
                      </a:r>
                      <a:r>
                        <a:rPr lang="ko-KR" altLang="en-US" sz="1050" b="0" u="none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⑥보험설계사는 금융상품판매 </a:t>
                      </a:r>
                      <a:r>
                        <a:rPr lang="ko-KR" altLang="en-US" sz="1050" b="1" u="none" baseline="0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중개업무 수행 시</a:t>
                      </a:r>
                      <a:endParaRPr lang="en-US" altLang="ko-KR" sz="1050" b="1" u="none" baseline="0" dirty="0">
                        <a:solidFill>
                          <a:srgbClr val="0000C4"/>
                        </a:solidFill>
                        <a:latin typeface="교보서체 SemiBold" panose="020B0600000101010101" pitchFamily="50" charset="-127"/>
                        <a:ea typeface="교보서체 SemiBold" panose="020B0600000101010101" pitchFamily="50" charset="-127"/>
                      </a:endParaRPr>
                    </a:p>
                    <a:p>
                      <a:pPr marL="0" indent="0" algn="l" latinLnBrk="1">
                        <a:buFontTx/>
                        <a:buNone/>
                      </a:pPr>
                      <a:r>
                        <a:rPr lang="en-US" altLang="ko-KR" sz="1050" b="0" u="none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  </a:t>
                      </a:r>
                      <a:r>
                        <a:rPr lang="ko-KR" altLang="en-US" sz="1050" b="0" u="none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정해진 수수료 외의 금품</a:t>
                      </a:r>
                      <a:r>
                        <a:rPr lang="en-US" altLang="ko-KR" sz="1050" b="0" u="none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, </a:t>
                      </a:r>
                      <a:r>
                        <a:rPr lang="ko-KR" altLang="en-US" sz="1050" b="0" u="none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그 밖의 </a:t>
                      </a:r>
                      <a:r>
                        <a:rPr lang="ko-KR" altLang="en-US" sz="1050" b="1" u="none" baseline="0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재산상 이익을 요구하거나 받을 수 없다는 사실</a:t>
                      </a:r>
                      <a:r>
                        <a:rPr lang="ko-KR" altLang="en-US" sz="1050" b="0" u="none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등</a:t>
                      </a:r>
                      <a:r>
                        <a:rPr lang="en-US" altLang="ko-KR" sz="1050" b="0" u="none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  </a:t>
                      </a:r>
                      <a:endParaRPr lang="ko-KR" altLang="en-US" sz="1050" b="0" u="none" dirty="0">
                        <a:solidFill>
                          <a:schemeClr val="tx1"/>
                        </a:solidFill>
                        <a:latin typeface="교보서체 SemiBold" panose="020B0600000101010101" pitchFamily="50" charset="-127"/>
                        <a:ea typeface="교보서체 SemiBold" panose="020B0600000101010101" pitchFamily="50" charset="-127"/>
                      </a:endParaRPr>
                    </a:p>
                  </a:txBody>
                  <a:tcPr marL="80045" marR="80045" marT="40023" marB="40023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184079"/>
                  </a:ext>
                </a:extLst>
              </a:tr>
              <a:tr h="425745">
                <a:tc>
                  <a:txBody>
                    <a:bodyPr/>
                    <a:lstStyle/>
                    <a:p>
                      <a:pPr marL="0" marR="0" indent="0" algn="l" defTabSz="94297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금융상품판매대리 </a:t>
                      </a:r>
                      <a:r>
                        <a:rPr lang="en-US" altLang="ko-KR" sz="1100" b="1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· </a:t>
                      </a: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중개업자의</a:t>
                      </a:r>
                      <a:endParaRPr lang="en-US" altLang="ko-KR" sz="1100" b="1" dirty="0">
                        <a:solidFill>
                          <a:schemeClr val="tx1"/>
                        </a:solidFill>
                        <a:latin typeface="교보서체 SemiBold" panose="020B0600000101010101" pitchFamily="50" charset="-127"/>
                        <a:ea typeface="교보서체 SemiBold" panose="020B0600000101010101" pitchFamily="50" charset="-127"/>
                      </a:endParaRPr>
                    </a:p>
                    <a:p>
                      <a:pPr marL="0" marR="0" indent="0" algn="l" defTabSz="94297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dirty="0" err="1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증표제시</a:t>
                      </a:r>
                      <a:endParaRPr lang="ko-KR" altLang="en-US" sz="1100" b="1" dirty="0">
                        <a:solidFill>
                          <a:schemeClr val="tx1"/>
                        </a:solidFill>
                        <a:latin typeface="교보서체 SemiBold" panose="020B0600000101010101" pitchFamily="50" charset="-127"/>
                        <a:ea typeface="교보서체 SemiBold" panose="020B0600000101010101" pitchFamily="50" charset="-127"/>
                      </a:endParaRPr>
                    </a:p>
                  </a:txBody>
                  <a:tcPr marL="80045" marR="80045" marT="40023" marB="400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latinLnBrk="1">
                        <a:buFontTx/>
                        <a:buNone/>
                      </a:pPr>
                      <a:r>
                        <a:rPr lang="en-US" altLang="ko-KR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- </a:t>
                      </a:r>
                      <a:r>
                        <a:rPr lang="ko-KR" altLang="en-US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보험설계사가 금융상품대리업자라는 사실을 나타내는 </a:t>
                      </a:r>
                      <a:r>
                        <a:rPr lang="ko-KR" altLang="en-US" sz="105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생명보험협회 등록증 제시</a:t>
                      </a:r>
                    </a:p>
                  </a:txBody>
                  <a:tcPr marL="80045" marR="80045" marT="40023" marB="40023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9934174"/>
                  </a:ext>
                </a:extLst>
              </a:tr>
              <a:tr h="373565">
                <a:tc>
                  <a:txBody>
                    <a:bodyPr/>
                    <a:lstStyle/>
                    <a:p>
                      <a:pPr marL="0" marR="0" indent="0" algn="l" defTabSz="942971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1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이해를 돕기 위한 추가 설명</a:t>
                      </a:r>
                    </a:p>
                  </a:txBody>
                  <a:tcPr marL="80045" marR="80045" marT="40023" marB="400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latinLnBrk="1">
                        <a:buFontTx/>
                        <a:buNone/>
                      </a:pPr>
                      <a:r>
                        <a:rPr lang="en-US" altLang="ko-KR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- </a:t>
                      </a:r>
                      <a:r>
                        <a:rPr lang="ko-KR" altLang="en-US" sz="105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소비자 </a:t>
                      </a:r>
                      <a:r>
                        <a:rPr lang="ko-KR" altLang="en-US" sz="1050" b="1" dirty="0" err="1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이해여부</a:t>
                      </a:r>
                      <a:r>
                        <a:rPr lang="ko-KR" altLang="en-US" sz="1050" b="0" dirty="0" err="1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를</a:t>
                      </a:r>
                      <a:r>
                        <a:rPr lang="ko-KR" altLang="en-US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</a:t>
                      </a:r>
                      <a:r>
                        <a:rPr lang="ko-KR" altLang="en-US" sz="1050" b="1" dirty="0">
                          <a:solidFill>
                            <a:srgbClr val="0000C4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확인</a:t>
                      </a:r>
                      <a:r>
                        <a:rPr lang="ko-KR" altLang="en-US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하고</a:t>
                      </a:r>
                      <a:r>
                        <a:rPr lang="en-US" altLang="ko-KR" sz="1050" b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,</a:t>
                      </a:r>
                      <a:r>
                        <a:rPr lang="en-US" altLang="ko-KR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</a:t>
                      </a:r>
                      <a:r>
                        <a:rPr lang="ko-KR" altLang="en-US" sz="1050" b="1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이해하기 힘든 항목은 쉽게 추가적인 설명</a:t>
                      </a:r>
                      <a:r>
                        <a:rPr lang="ko-KR" altLang="en-US" sz="1050" b="0" baseline="0" dirty="0">
                          <a:solidFill>
                            <a:schemeClr val="tx1"/>
                          </a:solidFill>
                          <a:latin typeface="교보서체 SemiBold" panose="020B0600000101010101" pitchFamily="50" charset="-127"/>
                          <a:ea typeface="교보서체 SemiBold" panose="020B0600000101010101" pitchFamily="50" charset="-127"/>
                        </a:rPr>
                        <a:t> </a:t>
                      </a:r>
                      <a:endParaRPr lang="ko-KR" altLang="en-US" sz="1050" b="0" dirty="0">
                        <a:solidFill>
                          <a:schemeClr val="tx1"/>
                        </a:solidFill>
                        <a:latin typeface="교보서체 SemiBold" panose="020B0600000101010101" pitchFamily="50" charset="-127"/>
                        <a:ea typeface="교보서체 SemiBold" panose="020B0600000101010101" pitchFamily="50" charset="-127"/>
                      </a:endParaRPr>
                    </a:p>
                  </a:txBody>
                  <a:tcPr marL="80045" marR="80045" marT="40023" marB="40023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1193357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" y="6997005"/>
            <a:ext cx="9728423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ko-KR" altLang="en-US" sz="9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본 자료는 </a:t>
            </a:r>
            <a:r>
              <a:rPr lang="en-US" altLang="ko-KR" sz="9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GA</a:t>
            </a:r>
            <a:r>
              <a:rPr lang="ko-KR" altLang="en-US" sz="9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교육용 </a:t>
            </a:r>
            <a:r>
              <a:rPr lang="ko-KR" altLang="en-US" sz="900" dirty="0" err="1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요약자료이며</a:t>
            </a:r>
            <a:r>
              <a:rPr lang="en-US" altLang="ko-KR" sz="9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9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고객에게 제시 및 교부를 금지합니다</a:t>
            </a:r>
            <a:r>
              <a:rPr lang="en-US" altLang="ko-KR" sz="9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9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정확한 내용은 약관과 상품설명서를 확인하시기 바랍니다</a:t>
            </a:r>
            <a:r>
              <a:rPr lang="en-US" altLang="ko-KR" sz="9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endParaRPr lang="ko-KR" altLang="en-US" sz="900" dirty="0">
              <a:solidFill>
                <a:srgbClr val="FF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" y="6997007"/>
            <a:ext cx="9728423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ko-KR" altLang="en-US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본 자료는 </a:t>
            </a:r>
            <a:r>
              <a:rPr lang="en-US" altLang="ko-KR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GA</a:t>
            </a:r>
            <a:r>
              <a:rPr lang="ko-KR" altLang="en-US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교육용 요약 자료이며</a:t>
            </a:r>
            <a:r>
              <a:rPr lang="en-US" altLang="ko-KR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, </a:t>
            </a:r>
            <a:r>
              <a:rPr lang="ko-KR" altLang="en-US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고객에게 제시 및 교부를 금지합니다</a:t>
            </a:r>
            <a:r>
              <a:rPr lang="en-US" altLang="ko-KR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r>
              <a:rPr lang="ko-KR" altLang="en-US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정확한 내용은 약관과 상품설명서를 확인하시기 바랍니다</a:t>
            </a:r>
            <a:r>
              <a:rPr lang="en-US" altLang="ko-KR" sz="1000" dirty="0">
                <a:solidFill>
                  <a:srgbClr val="FF0000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. </a:t>
            </a:r>
            <a:endParaRPr lang="ko-KR" altLang="en-US" sz="1000" dirty="0">
              <a:solidFill>
                <a:srgbClr val="FF0000"/>
              </a:solidFill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9" name="모서리가 둥근 직사각형 8"/>
          <p:cNvSpPr/>
          <p:nvPr/>
        </p:nvSpPr>
        <p:spPr>
          <a:xfrm>
            <a:off x="7963287" y="556924"/>
            <a:ext cx="1117064" cy="166755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o-KR" altLang="en-US" sz="1100" dirty="0"/>
              <a:t>고객 제시 불가</a:t>
            </a:r>
          </a:p>
        </p:txBody>
      </p:sp>
      <p:sp>
        <p:nvSpPr>
          <p:cNvPr id="10" name="모서리가 둥근 직사각형 9"/>
          <p:cNvSpPr/>
          <p:nvPr/>
        </p:nvSpPr>
        <p:spPr>
          <a:xfrm>
            <a:off x="9116164" y="556922"/>
            <a:ext cx="854113" cy="166756"/>
          </a:xfrm>
          <a:prstGeom prst="roundRect">
            <a:avLst/>
          </a:prstGeom>
          <a:solidFill>
            <a:schemeClr val="tx2">
              <a:lumMod val="50000"/>
            </a:schemeClr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altLang="ko-KR" sz="1100" dirty="0"/>
              <a:t>GA </a:t>
            </a:r>
            <a:r>
              <a:rPr lang="ko-KR" altLang="en-US" sz="1100" dirty="0"/>
              <a:t>교육용</a:t>
            </a:r>
          </a:p>
        </p:txBody>
      </p:sp>
      <p:sp>
        <p:nvSpPr>
          <p:cNvPr id="2" name="슬라이드 번호 개체 틀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778733"/>
            <a:fld id="{2747D207-944B-4363-884F-A02296F6E65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 defTabSz="778733"/>
              <a:t>8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02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표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4496389"/>
              </p:ext>
            </p:extLst>
          </p:nvPr>
        </p:nvGraphicFramePr>
        <p:xfrm>
          <a:off x="653047" y="2249683"/>
          <a:ext cx="9138588" cy="36005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38588">
                  <a:extLst>
                    <a:ext uri="{9D8B030D-6E8A-4147-A177-3AD203B41FA5}">
                      <a16:colId xmlns:a16="http://schemas.microsoft.com/office/drawing/2014/main" val="3358192233"/>
                    </a:ext>
                  </a:extLst>
                </a:gridCol>
              </a:tblGrid>
              <a:tr h="3600596">
                <a:tc>
                  <a:txBody>
                    <a:bodyPr/>
                    <a:lstStyle/>
                    <a:p>
                      <a:pPr lvl="0">
                        <a:lnSpc>
                          <a:spcPct val="200000"/>
                        </a:lnSpc>
                      </a:pPr>
                      <a:r>
                        <a:rPr lang="ko-KR" altLang="en-US" sz="1200" b="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</a:rPr>
                        <a:t>               보험계약을 청약할</a:t>
                      </a:r>
                      <a:r>
                        <a:rPr lang="ko-KR" altLang="en-US" sz="1200" b="0" baseline="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</a:rPr>
                        <a:t> 때 자필서명은 중요한 역할을 합니다</a:t>
                      </a:r>
                      <a:r>
                        <a:rPr lang="en-US" altLang="ko-KR" sz="1200" b="0" baseline="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</a:rPr>
                        <a:t>.</a:t>
                      </a:r>
                    </a:p>
                    <a:p>
                      <a:pPr lvl="0">
                        <a:lnSpc>
                          <a:spcPct val="100000"/>
                        </a:lnSpc>
                      </a:pPr>
                      <a:r>
                        <a:rPr lang="ko-KR" altLang="en-US" sz="1100" b="0" kern="120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                 자필서명은 고객의 동의와 책임을 확인하며</a:t>
                      </a:r>
                      <a:r>
                        <a:rPr lang="en-US" altLang="ko-KR" sz="1100" b="0" kern="120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, </a:t>
                      </a:r>
                      <a:r>
                        <a:rPr lang="ko-KR" altLang="en-US" sz="1100" b="0" kern="120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계약의 진정성과 유효성을 보장하는 역할을 합니다</a:t>
                      </a:r>
                      <a:r>
                        <a:rPr lang="en-US" altLang="ko-KR" sz="1100" b="0" kern="120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.</a:t>
                      </a:r>
                    </a:p>
                    <a:p>
                      <a:pPr lvl="0">
                        <a:lnSpc>
                          <a:spcPct val="120000"/>
                        </a:lnSpc>
                      </a:pPr>
                      <a:endParaRPr lang="en-US" altLang="ko-KR" sz="1100" b="0" kern="1200" smtClean="0">
                        <a:solidFill>
                          <a:schemeClr val="tx1"/>
                        </a:solidFill>
                        <a:latin typeface="나눔명조" panose="02020603020101020101" pitchFamily="18" charset="-127"/>
                        <a:ea typeface="나눔명조" panose="02020603020101020101" pitchFamily="18" charset="-127"/>
                        <a:cs typeface="+mn-cs"/>
                      </a:endParaRPr>
                    </a:p>
                    <a:p>
                      <a:pPr marL="0" lvl="0" indent="0">
                        <a:lnSpc>
                          <a:spcPct val="120000"/>
                        </a:lnSpc>
                        <a:buNone/>
                      </a:pPr>
                      <a:r>
                        <a:rPr lang="ko-KR" altLang="en-US" sz="1100" b="0" kern="1200" smtClean="0">
                          <a:solidFill>
                            <a:schemeClr val="tx1"/>
                          </a:solidFill>
                          <a:latin typeface="나눔명조 ExtraBold" panose="02020603020101020101" pitchFamily="18" charset="-127"/>
                          <a:ea typeface="나눔명조 ExtraBold" panose="02020603020101020101" pitchFamily="18" charset="-127"/>
                          <a:cs typeface="+mn-cs"/>
                        </a:rPr>
                        <a:t>                  </a:t>
                      </a:r>
                      <a:r>
                        <a:rPr lang="en-US" altLang="ko-KR" sz="1100" b="0" kern="1200" smtClean="0">
                          <a:solidFill>
                            <a:schemeClr val="tx1"/>
                          </a:solidFill>
                          <a:latin typeface="나눔명조 ExtraBold" panose="02020603020101020101" pitchFamily="18" charset="-127"/>
                          <a:ea typeface="나눔명조 ExtraBold" panose="02020603020101020101" pitchFamily="18" charset="-127"/>
                          <a:cs typeface="+mn-cs"/>
                        </a:rPr>
                        <a:t>1. </a:t>
                      </a:r>
                      <a:r>
                        <a:rPr lang="ko-KR" altLang="en-US" sz="1100" b="0" kern="1200" smtClean="0">
                          <a:solidFill>
                            <a:schemeClr val="tx1"/>
                          </a:solidFill>
                          <a:latin typeface="나눔명조 ExtraBold" panose="02020603020101020101" pitchFamily="18" charset="-127"/>
                          <a:ea typeface="나눔명조 ExtraBold" panose="02020603020101020101" pitchFamily="18" charset="-127"/>
                          <a:cs typeface="+mn-cs"/>
                        </a:rPr>
                        <a:t>동의와 책임 확인 </a:t>
                      </a:r>
                      <a:r>
                        <a:rPr lang="en-US" altLang="ko-KR" sz="1100" b="0" kern="120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: </a:t>
                      </a:r>
                      <a:r>
                        <a:rPr lang="ko-KR" altLang="en-US" sz="900" b="0" kern="120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자필서명은 고객이 계약조건과 약관을 이해하고</a:t>
                      </a:r>
                      <a:r>
                        <a:rPr lang="en-US" altLang="ko-KR" sz="900" b="0" kern="1200" baseline="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 </a:t>
                      </a:r>
                      <a:r>
                        <a:rPr lang="ko-KR" altLang="en-US" sz="900" b="0" kern="1200" baseline="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동의한 것을 입증하는 역할을 합니다</a:t>
                      </a:r>
                      <a:r>
                        <a:rPr lang="en-US" altLang="ko-KR" sz="900" b="0" kern="1200" baseline="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. </a:t>
                      </a:r>
                      <a:r>
                        <a:rPr lang="ko-KR" altLang="en-US" sz="900" b="0" kern="1200" baseline="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고객은 자신이 어떤 보험상품에 가입하고</a:t>
                      </a:r>
                      <a:r>
                        <a:rPr lang="en-US" altLang="ko-KR" sz="900" b="0" kern="1200" baseline="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/>
                      </a:r>
                      <a:br>
                        <a:rPr lang="en-US" altLang="ko-KR" sz="900" b="0" kern="1200" baseline="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</a:br>
                      <a:r>
                        <a:rPr lang="en-US" altLang="ko-KR" sz="900" b="0" kern="1200" baseline="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                          </a:t>
                      </a:r>
                      <a:r>
                        <a:rPr lang="ko-KR" altLang="en-US" sz="900" b="0" kern="1200" baseline="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 그에 따른 책임을 이해하고 동의할때 자필서명을 합니다</a:t>
                      </a:r>
                      <a:r>
                        <a:rPr lang="en-US" altLang="ko-KR" sz="900" b="0" kern="1200" baseline="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. </a:t>
                      </a:r>
                      <a:r>
                        <a:rPr lang="ko-KR" altLang="en-US" sz="900" b="0" kern="1200" baseline="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이는 나중에 고객이 계약조건에 대해 불만을 제기할때 고객의 의사를 명확하게 확인 할 수 있습니다</a:t>
                      </a:r>
                      <a:r>
                        <a:rPr lang="en-US" altLang="ko-KR" sz="900" b="0" kern="1200" baseline="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.</a:t>
                      </a:r>
                      <a:br>
                        <a:rPr lang="en-US" altLang="ko-KR" sz="900" b="0" kern="1200" baseline="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</a:br>
                      <a:endParaRPr lang="en-US" altLang="ko-KR" sz="900" b="0" kern="1200" baseline="0" smtClean="0">
                        <a:solidFill>
                          <a:schemeClr val="tx1"/>
                        </a:solidFill>
                        <a:latin typeface="나눔명조" panose="02020603020101020101" pitchFamily="18" charset="-127"/>
                        <a:ea typeface="나눔명조" panose="02020603020101020101" pitchFamily="18" charset="-127"/>
                        <a:cs typeface="+mn-cs"/>
                      </a:endParaRPr>
                    </a:p>
                    <a:p>
                      <a:pPr marL="0" lvl="0" indent="0">
                        <a:lnSpc>
                          <a:spcPct val="120000"/>
                        </a:lnSpc>
                        <a:buNone/>
                      </a:pPr>
                      <a:r>
                        <a:rPr lang="en-US" altLang="ko-KR" sz="1100" b="0" kern="1200" smtClean="0">
                          <a:solidFill>
                            <a:schemeClr val="tx1"/>
                          </a:solidFill>
                          <a:latin typeface="나눔명조 ExtraBold" panose="02020603020101020101" pitchFamily="18" charset="-127"/>
                          <a:ea typeface="나눔명조 ExtraBold" panose="02020603020101020101" pitchFamily="18" charset="-127"/>
                          <a:cs typeface="+mn-cs"/>
                        </a:rPr>
                        <a:t>                  2. </a:t>
                      </a:r>
                      <a:r>
                        <a:rPr lang="ko-KR" altLang="en-US" sz="1100" b="0" kern="1200" smtClean="0">
                          <a:solidFill>
                            <a:schemeClr val="tx1"/>
                          </a:solidFill>
                          <a:latin typeface="나눔명조 ExtraBold" panose="02020603020101020101" pitchFamily="18" charset="-127"/>
                          <a:ea typeface="나눔명조 ExtraBold" panose="02020603020101020101" pitchFamily="18" charset="-127"/>
                          <a:cs typeface="+mn-cs"/>
                        </a:rPr>
                        <a:t>위조 방지 </a:t>
                      </a:r>
                      <a:r>
                        <a:rPr lang="en-US" altLang="ko-KR" sz="1100" b="0" kern="120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: </a:t>
                      </a:r>
                      <a:r>
                        <a:rPr lang="ko-KR" altLang="en-US" sz="900" b="0" kern="120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자필서명은 계약서나 중요 문서의 위조나 변조를 예방하는데 도움을 줍니다</a:t>
                      </a:r>
                      <a:r>
                        <a:rPr lang="en-US" altLang="ko-KR" sz="900" b="0" kern="120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.</a:t>
                      </a:r>
                      <a:r>
                        <a:rPr lang="en-US" altLang="ko-KR" sz="900" b="0" kern="1200" baseline="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 </a:t>
                      </a:r>
                      <a:r>
                        <a:rPr lang="ko-KR" altLang="en-US" sz="900" b="0" kern="1200" baseline="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개인의 서명은 고유한 특징을 가지고 있어 임의로 바꾸기 어려우며</a:t>
                      </a:r>
                      <a:r>
                        <a:rPr lang="en-US" altLang="ko-KR" sz="900" b="0" kern="1200" baseline="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/>
                      </a:r>
                      <a:br>
                        <a:rPr lang="en-US" altLang="ko-KR" sz="900" b="0" kern="1200" baseline="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</a:br>
                      <a:r>
                        <a:rPr lang="en-US" altLang="ko-KR" sz="900" b="0" kern="1200" baseline="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                           </a:t>
                      </a:r>
                      <a:r>
                        <a:rPr lang="ko-KR" altLang="en-US" sz="900" b="0" kern="1200" baseline="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따라서 자필서명이 있는 경우 위조나 변조의 위험성을 크게 줄일 수 있습니다</a:t>
                      </a:r>
                      <a:r>
                        <a:rPr lang="en-US" altLang="ko-KR" sz="900" b="0" kern="1200" baseline="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.</a:t>
                      </a:r>
                      <a:br>
                        <a:rPr lang="en-US" altLang="ko-KR" sz="900" b="0" kern="1200" baseline="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</a:br>
                      <a:endParaRPr lang="en-US" altLang="ko-KR" sz="900" b="0" kern="1200" baseline="0" smtClean="0">
                        <a:solidFill>
                          <a:schemeClr val="tx1"/>
                        </a:solidFill>
                        <a:latin typeface="나눔명조" panose="02020603020101020101" pitchFamily="18" charset="-127"/>
                        <a:ea typeface="나눔명조" panose="02020603020101020101" pitchFamily="18" charset="-127"/>
                        <a:cs typeface="+mn-cs"/>
                      </a:endParaRPr>
                    </a:p>
                    <a:p>
                      <a:pPr marL="0" lvl="0" indent="0">
                        <a:lnSpc>
                          <a:spcPct val="120000"/>
                        </a:lnSpc>
                        <a:buNone/>
                      </a:pPr>
                      <a:r>
                        <a:rPr lang="en-US" altLang="ko-KR" sz="900" b="0" kern="1200" baseline="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                     </a:t>
                      </a:r>
                      <a:r>
                        <a:rPr lang="en-US" altLang="ko-KR" sz="1100" b="0" kern="1200" smtClean="0">
                          <a:solidFill>
                            <a:schemeClr val="tx1"/>
                          </a:solidFill>
                          <a:latin typeface="나눔명조 ExtraBold" panose="02020603020101020101" pitchFamily="18" charset="-127"/>
                          <a:ea typeface="나눔명조 ExtraBold" panose="02020603020101020101" pitchFamily="18" charset="-127"/>
                          <a:cs typeface="+mn-cs"/>
                        </a:rPr>
                        <a:t>3.</a:t>
                      </a:r>
                      <a:r>
                        <a:rPr lang="en-US" altLang="ko-KR" sz="1100" b="0" kern="1200" baseline="0" smtClean="0">
                          <a:solidFill>
                            <a:schemeClr val="tx1"/>
                          </a:solidFill>
                          <a:latin typeface="나눔명조 ExtraBold" panose="02020603020101020101" pitchFamily="18" charset="-127"/>
                          <a:ea typeface="나눔명조 ExtraBold" panose="02020603020101020101" pitchFamily="18" charset="-127"/>
                          <a:cs typeface="+mn-cs"/>
                        </a:rPr>
                        <a:t> </a:t>
                      </a:r>
                      <a:r>
                        <a:rPr lang="ko-KR" altLang="en-US" sz="1100" b="0" kern="1200" baseline="0" smtClean="0">
                          <a:solidFill>
                            <a:schemeClr val="tx1"/>
                          </a:solidFill>
                          <a:latin typeface="나눔명조 ExtraBold" panose="02020603020101020101" pitchFamily="18" charset="-127"/>
                          <a:ea typeface="나눔명조 ExtraBold" panose="02020603020101020101" pitchFamily="18" charset="-127"/>
                          <a:cs typeface="+mn-cs"/>
                        </a:rPr>
                        <a:t>법</a:t>
                      </a:r>
                      <a:r>
                        <a:rPr lang="ko-KR" altLang="en-US" sz="1100" b="0" kern="1200" smtClean="0">
                          <a:solidFill>
                            <a:schemeClr val="tx1"/>
                          </a:solidFill>
                          <a:latin typeface="나눔명조 ExtraBold" panose="02020603020101020101" pitchFamily="18" charset="-127"/>
                          <a:ea typeface="나눔명조 ExtraBold" panose="02020603020101020101" pitchFamily="18" charset="-127"/>
                          <a:cs typeface="+mn-cs"/>
                        </a:rPr>
                        <a:t>적 요건 충족 </a:t>
                      </a:r>
                      <a:r>
                        <a:rPr lang="en-US" altLang="ko-KR" sz="1100" b="0" kern="120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: </a:t>
                      </a:r>
                      <a:r>
                        <a:rPr lang="ko-KR" altLang="en-US" sz="900" b="0" kern="120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자필서명은 법적으로 요구되는 경우도 있습니다</a:t>
                      </a:r>
                      <a:r>
                        <a:rPr lang="en-US" altLang="ko-KR" sz="900" b="0" kern="120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. </a:t>
                      </a:r>
                      <a:r>
                        <a:rPr lang="ko-KR" altLang="en-US" sz="900" b="0" kern="120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예를 들어</a:t>
                      </a:r>
                      <a:r>
                        <a:rPr lang="en-US" altLang="ko-KR" sz="900" b="0" kern="120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, </a:t>
                      </a:r>
                      <a:r>
                        <a:rPr lang="ko-KR" altLang="en-US" sz="900" b="0" kern="120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일부 보험계약은계약의 유효성을 주장하기 위해 자필서명이 반드시 필요한</a:t>
                      </a:r>
                      <a:endParaRPr lang="en-US" altLang="ko-KR" sz="900" b="0" kern="1200" smtClean="0">
                        <a:solidFill>
                          <a:schemeClr val="tx1"/>
                        </a:solidFill>
                        <a:latin typeface="나눔명조" panose="02020603020101020101" pitchFamily="18" charset="-127"/>
                        <a:ea typeface="나눔명조" panose="02020603020101020101" pitchFamily="18" charset="-127"/>
                        <a:cs typeface="+mn-cs"/>
                      </a:endParaRPr>
                    </a:p>
                    <a:p>
                      <a:pPr marL="0" lvl="0" indent="0">
                        <a:lnSpc>
                          <a:spcPct val="120000"/>
                        </a:lnSpc>
                        <a:buNone/>
                      </a:pPr>
                      <a:r>
                        <a:rPr lang="en-US" altLang="ko-KR" sz="900" b="0" kern="120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                         </a:t>
                      </a:r>
                      <a:r>
                        <a:rPr lang="ko-KR" altLang="en-US" sz="900" b="0" kern="120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 경우가 있습니다</a:t>
                      </a:r>
                      <a:r>
                        <a:rPr lang="en-US" altLang="ko-KR" sz="900" b="0" kern="120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. </a:t>
                      </a:r>
                      <a:r>
                        <a:rPr lang="ko-KR" altLang="en-US" sz="900" b="0" kern="120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이는 법적으로 요구되는 프로세스를 따르는 것으로서 보험 합의에 필수적인 조건입니다</a:t>
                      </a:r>
                      <a:r>
                        <a:rPr lang="en-US" altLang="ko-KR" sz="900" b="0" kern="120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.  </a:t>
                      </a:r>
                      <a:br>
                        <a:rPr lang="en-US" altLang="ko-KR" sz="900" b="0" kern="120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</a:br>
                      <a:r>
                        <a:rPr lang="en-US" altLang="ko-KR" sz="900" b="0" kern="120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     </a:t>
                      </a:r>
                    </a:p>
                    <a:p>
                      <a:pPr marL="0" lvl="0" indent="0">
                        <a:lnSpc>
                          <a:spcPct val="120000"/>
                        </a:lnSpc>
                        <a:buNone/>
                      </a:pPr>
                      <a:r>
                        <a:rPr lang="en-US" altLang="ko-KR" sz="900" b="0" kern="1200" baseline="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                     </a:t>
                      </a:r>
                      <a:r>
                        <a:rPr lang="en-US" altLang="ko-KR" sz="1100" b="0" kern="1200" smtClean="0">
                          <a:solidFill>
                            <a:schemeClr val="tx1"/>
                          </a:solidFill>
                          <a:latin typeface="나눔명조 ExtraBold" panose="02020603020101020101" pitchFamily="18" charset="-127"/>
                          <a:ea typeface="나눔명조 ExtraBold" panose="02020603020101020101" pitchFamily="18" charset="-127"/>
                          <a:cs typeface="+mn-cs"/>
                        </a:rPr>
                        <a:t>4. </a:t>
                      </a:r>
                      <a:r>
                        <a:rPr lang="ko-KR" altLang="en-US" sz="1100" b="0" kern="1200" smtClean="0">
                          <a:solidFill>
                            <a:schemeClr val="tx1"/>
                          </a:solidFill>
                          <a:latin typeface="나눔명조 ExtraBold" panose="02020603020101020101" pitchFamily="18" charset="-127"/>
                          <a:ea typeface="나눔명조 ExtraBold" panose="02020603020101020101" pitchFamily="18" charset="-127"/>
                          <a:cs typeface="+mn-cs"/>
                        </a:rPr>
                        <a:t>신뢰와 신용성 </a:t>
                      </a:r>
                      <a:r>
                        <a:rPr lang="en-US" altLang="ko-KR" sz="1100" b="0" kern="120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:</a:t>
                      </a:r>
                      <a:r>
                        <a:rPr lang="en-US" altLang="ko-KR" sz="1100" b="0" kern="1200" baseline="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 </a:t>
                      </a:r>
                      <a:r>
                        <a:rPr lang="ko-KR" altLang="en-US" sz="900" b="0" kern="120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자필서명은 보험회사와 고객간의 신뢰와 신용성을 높이는데 도움을 줍니다</a:t>
                      </a:r>
                      <a:r>
                        <a:rPr lang="en-US" altLang="ko-KR" sz="900" b="0" kern="120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. </a:t>
                      </a:r>
                      <a:r>
                        <a:rPr lang="ko-KR" altLang="en-US" sz="900" b="0" kern="120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고객이 직접 자필서명을 하면서 보험회사로부터 받을 수 </a:t>
                      </a:r>
                      <a:endParaRPr lang="en-US" altLang="ko-KR" sz="900" b="0" kern="1200" smtClean="0">
                        <a:solidFill>
                          <a:schemeClr val="tx1"/>
                        </a:solidFill>
                        <a:latin typeface="나눔명조" panose="02020603020101020101" pitchFamily="18" charset="-127"/>
                        <a:ea typeface="나눔명조" panose="02020603020101020101" pitchFamily="18" charset="-127"/>
                        <a:cs typeface="+mn-cs"/>
                      </a:endParaRPr>
                    </a:p>
                    <a:p>
                      <a:pPr marL="0" lvl="0" indent="0">
                        <a:lnSpc>
                          <a:spcPct val="120000"/>
                        </a:lnSpc>
                        <a:buNone/>
                      </a:pPr>
                      <a:r>
                        <a:rPr lang="en-US" altLang="ko-KR" sz="900" b="0" kern="120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                          </a:t>
                      </a:r>
                      <a:r>
                        <a:rPr lang="ko-KR" altLang="en-US" sz="900" b="0" kern="120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있는 혜택에 대해 책임을 인지하게 되기 때문입니다</a:t>
                      </a:r>
                      <a:r>
                        <a:rPr lang="en-US" altLang="ko-KR" sz="900" b="0" kern="120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. </a:t>
                      </a:r>
                      <a:r>
                        <a:rPr lang="ko-KR" altLang="en-US" sz="900" b="0" kern="120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이는 고객 입장에서 보험회사에 대한 신뢰를 높이고</a:t>
                      </a:r>
                      <a:r>
                        <a:rPr lang="en-US" altLang="ko-KR" sz="900" b="0" kern="120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, </a:t>
                      </a:r>
                      <a:r>
                        <a:rPr lang="ko-KR" altLang="en-US" sz="900" b="0" kern="120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보험회사 입장에서는 고객이 청약을 신중하게</a:t>
                      </a:r>
                      <a:endParaRPr lang="en-US" altLang="ko-KR" sz="900" b="0" kern="1200" smtClean="0">
                        <a:solidFill>
                          <a:schemeClr val="tx1"/>
                        </a:solidFill>
                        <a:latin typeface="나눔명조" panose="02020603020101020101" pitchFamily="18" charset="-127"/>
                        <a:ea typeface="나눔명조" panose="02020603020101020101" pitchFamily="18" charset="-127"/>
                        <a:cs typeface="+mn-cs"/>
                      </a:endParaRPr>
                    </a:p>
                    <a:p>
                      <a:pPr marL="0" lvl="0" indent="0">
                        <a:lnSpc>
                          <a:spcPct val="120000"/>
                        </a:lnSpc>
                        <a:buNone/>
                      </a:pPr>
                      <a:r>
                        <a:rPr lang="en-US" altLang="ko-KR" sz="900" b="0" kern="120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                         </a:t>
                      </a:r>
                      <a:r>
                        <a:rPr lang="ko-KR" altLang="en-US" sz="900" b="0" kern="120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 접근했다는 것을 확인 할 수 있습니다</a:t>
                      </a:r>
                      <a:r>
                        <a:rPr lang="en-US" altLang="ko-KR" sz="900" b="0" kern="120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.</a:t>
                      </a:r>
                    </a:p>
                    <a:p>
                      <a:pPr marL="342900" lvl="0" indent="-342900">
                        <a:lnSpc>
                          <a:spcPct val="120000"/>
                        </a:lnSpc>
                        <a:buAutoNum type="arabicPeriod"/>
                      </a:pPr>
                      <a:endParaRPr lang="en-US" altLang="ko-KR" sz="1100" b="0" kern="1200" smtClean="0">
                        <a:solidFill>
                          <a:schemeClr val="tx1"/>
                        </a:solidFill>
                        <a:latin typeface="나눔명조" panose="02020603020101020101" pitchFamily="18" charset="-127"/>
                        <a:ea typeface="나눔명조" panose="02020603020101020101" pitchFamily="18" charset="-127"/>
                        <a:cs typeface="+mn-cs"/>
                      </a:endParaRPr>
                    </a:p>
                    <a:p>
                      <a:pPr marL="0" lvl="0" indent="0">
                        <a:lnSpc>
                          <a:spcPct val="120000"/>
                        </a:lnSpc>
                        <a:buNone/>
                      </a:pPr>
                      <a:r>
                        <a:rPr lang="ko-KR" altLang="en-US" sz="1100" b="0" kern="1200" smtClean="0">
                          <a:solidFill>
                            <a:schemeClr val="tx1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                 </a:t>
                      </a:r>
                      <a:r>
                        <a:rPr lang="ko-KR" altLang="en-US" sz="1100" b="0" kern="1200" smtClean="0">
                          <a:solidFill>
                            <a:srgbClr val="FF0000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따라서</a:t>
                      </a:r>
                      <a:r>
                        <a:rPr lang="en-US" altLang="ko-KR" sz="1100" b="0" kern="1200" smtClean="0">
                          <a:solidFill>
                            <a:srgbClr val="FF0000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,</a:t>
                      </a:r>
                      <a:r>
                        <a:rPr lang="en-US" altLang="ko-KR" sz="1100" b="0" kern="1200" baseline="0" smtClean="0">
                          <a:solidFill>
                            <a:srgbClr val="FF0000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 </a:t>
                      </a:r>
                      <a:r>
                        <a:rPr lang="ko-KR" altLang="en-US" sz="1100" b="0" kern="1200" baseline="0" smtClean="0">
                          <a:solidFill>
                            <a:srgbClr val="FF0000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자필서명은 계약 청약시 고객의 동의와 책임을 입증하고</a:t>
                      </a:r>
                      <a:r>
                        <a:rPr lang="en-US" altLang="ko-KR" sz="1100" b="0" kern="1200" baseline="0" smtClean="0">
                          <a:solidFill>
                            <a:srgbClr val="FF0000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 </a:t>
                      </a:r>
                      <a:r>
                        <a:rPr lang="ko-KR" altLang="en-US" sz="1100" b="0" kern="1200" baseline="0" smtClean="0">
                          <a:solidFill>
                            <a:srgbClr val="FF0000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위조를 방지하며</a:t>
                      </a:r>
                      <a:r>
                        <a:rPr lang="en-US" altLang="ko-KR" sz="1100" b="0" kern="1200" baseline="0" smtClean="0">
                          <a:solidFill>
                            <a:srgbClr val="FF0000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, </a:t>
                      </a:r>
                      <a:r>
                        <a:rPr lang="ko-KR" altLang="en-US" sz="1100" b="0" kern="1200" baseline="0" smtClean="0">
                          <a:solidFill>
                            <a:srgbClr val="FF0000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법적 요건을 충족시키는 등 중요한 역할을 합니다</a:t>
                      </a:r>
                      <a:r>
                        <a:rPr lang="en-US" altLang="ko-KR" sz="1100" b="0" kern="1200" baseline="0" smtClean="0">
                          <a:solidFill>
                            <a:srgbClr val="FF0000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.</a:t>
                      </a:r>
                    </a:p>
                    <a:p>
                      <a:pPr marL="0" lvl="0" indent="0">
                        <a:lnSpc>
                          <a:spcPct val="120000"/>
                        </a:lnSpc>
                        <a:buNone/>
                      </a:pPr>
                      <a:r>
                        <a:rPr lang="ko-KR" altLang="en-US" sz="1100" b="0" kern="1200" baseline="0" smtClean="0">
                          <a:solidFill>
                            <a:srgbClr val="FF0000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                 고객과 보험 회사 양측 모두에게 이점을 제공하여 계약의 신뢰성을 향상시킵니다</a:t>
                      </a:r>
                      <a:r>
                        <a:rPr lang="en-US" altLang="ko-KR" sz="1100" b="0" kern="1200" baseline="0" smtClean="0">
                          <a:solidFill>
                            <a:srgbClr val="FF0000"/>
                          </a:solidFill>
                          <a:latin typeface="나눔명조" panose="02020603020101020101" pitchFamily="18" charset="-127"/>
                          <a:ea typeface="나눔명조" panose="02020603020101020101" pitchFamily="18" charset="-127"/>
                          <a:cs typeface="+mn-cs"/>
                        </a:rPr>
                        <a:t>.</a:t>
                      </a:r>
                      <a:endParaRPr lang="ko-KR" altLang="en-US" sz="1100" b="0" kern="1200">
                        <a:solidFill>
                          <a:srgbClr val="FF0000"/>
                        </a:solidFill>
                        <a:latin typeface="나눔명조" panose="02020603020101020101" pitchFamily="18" charset="-127"/>
                        <a:ea typeface="나눔명조" panose="02020603020101020101" pitchFamily="18" charset="-127"/>
                        <a:cs typeface="+mn-cs"/>
                      </a:endParaRPr>
                    </a:p>
                  </a:txBody>
                  <a:tcPr marL="77879" marR="77879" marT="38939" marB="38939"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173233"/>
                  </a:ext>
                </a:extLst>
              </a:tr>
            </a:tbl>
          </a:graphicData>
        </a:graphic>
      </p:graphicFrame>
      <p:pic>
        <p:nvPicPr>
          <p:cNvPr id="17" name="그림 16" descr="화면 캡처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6228" y="1431273"/>
            <a:ext cx="4265584" cy="611780"/>
          </a:xfrm>
          <a:prstGeom prst="rect">
            <a:avLst/>
          </a:prstGeom>
        </p:spPr>
      </p:pic>
      <p:pic>
        <p:nvPicPr>
          <p:cNvPr id="19" name="그림 18" descr="화면 캡처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853" y="1395189"/>
            <a:ext cx="843376" cy="671258"/>
          </a:xfrm>
          <a:prstGeom prst="rect">
            <a:avLst/>
          </a:prstGeom>
        </p:spPr>
      </p:pic>
      <p:pic>
        <p:nvPicPr>
          <p:cNvPr id="22" name="그림 21" descr="화면 캡처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758" b="94697" l="1527" r="95420">
                        <a14:foregroundMark x1="17557" y1="39394" x2="17557" y2="39394"/>
                        <a14:foregroundMark x1="35115" y1="53788" x2="35115" y2="53788"/>
                        <a14:foregroundMark x1="58015" y1="54545" x2="58015" y2="54545"/>
                        <a14:foregroundMark x1="48092" y1="64394" x2="48092" y2="6439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023" y="2249683"/>
            <a:ext cx="765442" cy="771284"/>
          </a:xfrm>
          <a:prstGeom prst="rect">
            <a:avLst/>
          </a:prstGeom>
        </p:spPr>
      </p:pic>
      <p:pic>
        <p:nvPicPr>
          <p:cNvPr id="2" name="그림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61580" y="1583788"/>
            <a:ext cx="3598311" cy="420582"/>
          </a:xfrm>
          <a:prstGeom prst="rect">
            <a:avLst/>
          </a:prstGeom>
        </p:spPr>
      </p:pic>
      <p:sp>
        <p:nvSpPr>
          <p:cNvPr id="9" name="Text Box 2"/>
          <p:cNvSpPr txBox="1">
            <a:spLocks noChangeArrowheads="1"/>
          </p:cNvSpPr>
          <p:nvPr/>
        </p:nvSpPr>
        <p:spPr bwMode="auto">
          <a:xfrm>
            <a:off x="398544" y="149288"/>
            <a:ext cx="9504536" cy="433058"/>
          </a:xfrm>
          <a:prstGeom prst="rect">
            <a:avLst/>
          </a:prstGeom>
          <a:noFill/>
          <a:ln w="25400">
            <a:noFill/>
            <a:miter lim="800000"/>
            <a:headEnd type="none" w="sm" len="sm"/>
            <a:tailEnd type="none" w="sm" len="sm"/>
          </a:ln>
        </p:spPr>
        <p:txBody>
          <a:bodyPr wrap="square" lIns="35996" tIns="46795" rIns="35996" bIns="46795">
            <a:spAutoFit/>
          </a:bodyPr>
          <a:lstStyle/>
          <a:p>
            <a:pPr eaLnBrk="0" latinLnBrk="0" hangingPunct="0">
              <a:spcBef>
                <a:spcPct val="50000"/>
              </a:spcBef>
              <a:defRPr/>
            </a:pPr>
            <a:r>
              <a:rPr lang="ko-KR" altLang="en-US" sz="2200" dirty="0" err="1" smtClean="0">
                <a:solidFill>
                  <a:prstClr val="black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자필서명의</a:t>
            </a:r>
            <a:r>
              <a:rPr lang="ko-KR" altLang="en-US" sz="2200" dirty="0" smtClean="0">
                <a:solidFill>
                  <a:prstClr val="black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 중요성</a:t>
            </a:r>
            <a:r>
              <a:rPr lang="en-US" altLang="ko-KR" sz="2200" dirty="0" smtClean="0">
                <a:solidFill>
                  <a:prstClr val="black"/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rPr>
              <a:t>(1/3)</a:t>
            </a:r>
            <a:endParaRPr lang="ko-KR" altLang="en-US" sz="2200" dirty="0">
              <a:solidFill>
                <a:prstClr val="black"/>
              </a:solidFill>
              <a:latin typeface="나눔고딕 ExtraBold" panose="020D0904000000000000" pitchFamily="50" charset="-127"/>
              <a:ea typeface="나눔고딕 ExtraBold" panose="020D09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58590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2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3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4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10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11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12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13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14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15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16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1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교보생명">
      <a:majorFont>
        <a:latin typeface="교보서체 Bold"/>
        <a:ea typeface="교보서체 Bold"/>
        <a:cs typeface=""/>
      </a:majorFont>
      <a:minorFont>
        <a:latin typeface="교보서체 Regular"/>
        <a:ea typeface="교보서체 Regular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2.xml><?xml version="1.0" encoding="utf-8"?>
<a:theme xmlns:a="http://schemas.openxmlformats.org/drawingml/2006/main" name="17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18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고구려 벽화">
      <a:fillStyleLst>
        <a:solidFill>
          <a:schemeClr val="phClr">
            <a:tint val="100000"/>
            <a:shade val="100000"/>
            <a:hueMod val="100000"/>
            <a:satMod val="100000"/>
          </a:schemeClr>
        </a:solidFill>
        <a:gradFill rotWithShape="1">
          <a:gsLst>
            <a:gs pos="18000">
              <a:schemeClr val="phClr">
                <a:tint val="20000"/>
                <a:shade val="100000"/>
                <a:hueMod val="100000"/>
                <a:satMod val="100000"/>
              </a:schemeClr>
            </a:gs>
            <a:gs pos="87000">
              <a:schemeClr val="phClr">
                <a:tint val="100000"/>
                <a:shade val="100000"/>
                <a:hueMod val="100000"/>
                <a:satMod val="100000"/>
              </a:schemeClr>
            </a:gs>
          </a:gsLst>
          <a:lin ang="2700000" scaled="1"/>
        </a:gradFill>
        <a:gradFill rotWithShape="1">
          <a:gsLst>
            <a:gs pos="0">
              <a:schemeClr val="phClr">
                <a:tint val="95000"/>
                <a:shade val="100000"/>
                <a:hueMod val="100000"/>
                <a:satMod val="100000"/>
              </a:schemeClr>
            </a:gs>
            <a:gs pos="100000">
              <a:schemeClr val="phClr">
                <a:tint val="100000"/>
                <a:shade val="95000"/>
                <a:hueMod val="100000"/>
                <a:satMod val="100000"/>
              </a:schemeClr>
            </a:gs>
          </a:gsLst>
          <a:lin ang="0" scaled="1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dir="5400000" algn="tl">
              <a:srgbClr val="EBE9ED">
                <a:alpha val="0"/>
              </a:srgbClr>
            </a:outerShdw>
          </a:effectLst>
        </a:effectStyle>
        <a:effectStyle>
          <a:effectLst>
            <a:outerShdw blurRad="12700" dir="5400000" algn="tl">
              <a:srgbClr val="EBE9ED">
                <a:alpha val="27450"/>
              </a:srgbClr>
            </a:outerShdw>
          </a:effectLst>
          <a:scene3d>
            <a:camera prst="orthographicFront" fov="0">
              <a:rot lat="0" lon="0" rev="0"/>
            </a:camera>
            <a:lightRig rig="soft" dir="t">
              <a:rot lat="0" lon="0" rev="19200000"/>
            </a:lightRig>
          </a:scene3d>
          <a:sp3d prstMaterial="matte">
            <a:bevelT h="88900"/>
            <a:contourClr>
              <a:schemeClr val="phClr">
                <a:tint val="100000"/>
                <a:shade val="100000"/>
                <a:hueMod val="100000"/>
                <a:satMod val="100000"/>
              </a:schemeClr>
            </a:contourClr>
          </a:sp3d>
        </a:effectStyle>
        <a:effectStyle>
          <a:effectLst>
            <a:outerShdw blurRad="101600" dist="76200" dir="2700000" algn="bl">
              <a:srgbClr val="000000">
                <a:alpha val="30588"/>
              </a:srgbClr>
            </a:outerShdw>
          </a:effectLst>
          <a:scene3d>
            <a:camera prst="orthographicFront" fov="0">
              <a:rot lat="0" lon="0" rev="0"/>
            </a:camera>
            <a:lightRig rig="chilly" dir="t">
              <a:rot lat="0" lon="0" rev="4200000"/>
            </a:lightRig>
          </a:scene3d>
          <a:sp3d contourW="25400" prstMaterial="matte">
            <a:bevelT h="88900"/>
            <a:contourClr>
              <a:srgbClr val="FFFFFF">
                <a:alpha val="0"/>
              </a:srgb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4.xml><?xml version="1.0" encoding="utf-8"?>
<a:theme xmlns:a="http://schemas.openxmlformats.org/drawingml/2006/main" name="19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5.xml><?xml version="1.0" encoding="utf-8"?>
<a:theme xmlns:a="http://schemas.openxmlformats.org/drawingml/2006/main" name="20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6.xml><?xml version="1.0" encoding="utf-8"?>
<a:theme xmlns:a="http://schemas.openxmlformats.org/drawingml/2006/main" name="21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7.xml><?xml version="1.0" encoding="utf-8"?>
<a:theme xmlns:a="http://schemas.openxmlformats.org/drawingml/2006/main" name="22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8.xml><?xml version="1.0" encoding="utf-8"?>
<a:theme xmlns:a="http://schemas.openxmlformats.org/drawingml/2006/main" name="23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9.xml><?xml version="1.0" encoding="utf-8"?>
<a:theme xmlns:a="http://schemas.openxmlformats.org/drawingml/2006/main" name="24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4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0.xml><?xml version="1.0" encoding="utf-8"?>
<a:theme xmlns:a="http://schemas.openxmlformats.org/drawingml/2006/main" name="25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1.xml><?xml version="1.0" encoding="utf-8"?>
<a:theme xmlns:a="http://schemas.openxmlformats.org/drawingml/2006/main" name="26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2.xml><?xml version="1.0" encoding="utf-8"?>
<a:theme xmlns:a="http://schemas.openxmlformats.org/drawingml/2006/main" name="27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3.xml><?xml version="1.0" encoding="utf-8"?>
<a:theme xmlns:a="http://schemas.openxmlformats.org/drawingml/2006/main" name="28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4.xml><?xml version="1.0" encoding="utf-8"?>
<a:theme xmlns:a="http://schemas.openxmlformats.org/drawingml/2006/main" name="29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5.xml><?xml version="1.0" encoding="utf-8"?>
<a:theme xmlns:a="http://schemas.openxmlformats.org/drawingml/2006/main" name="30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6.xml><?xml version="1.0" encoding="utf-8"?>
<a:theme xmlns:a="http://schemas.openxmlformats.org/drawingml/2006/main" name="31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chemeClr val="accent1">
                <a:tint val="66000"/>
                <a:satMod val="160000"/>
              </a:schemeClr>
            </a:gs>
            <a:gs pos="63000">
              <a:schemeClr val="bg1"/>
            </a:gs>
          </a:gsLst>
          <a:path path="circle">
            <a:fillToRect l="50000" t="50000" r="50000" b="50000"/>
          </a:path>
          <a:tileRect/>
        </a:gradFill>
      </a:spPr>
      <a:bodyPr wrap="none" lIns="94383" tIns="111475" rIns="94383" bIns="47192">
        <a:noAutofit/>
      </a:bodyPr>
      <a:lstStyle>
        <a:defPPr algn="ctr">
          <a:lnSpc>
            <a:spcPct val="150000"/>
          </a:lnSpc>
          <a:defRPr sz="6000" b="1" dirty="0" smtClean="0">
            <a:solidFill>
              <a:srgbClr val="000066"/>
            </a:solidFill>
            <a:latin typeface="나눔명조 ExtraBold" pitchFamily="18" charset="-127"/>
            <a:ea typeface="나눔명조 ExtraBold" pitchFamily="18" charset="-127"/>
          </a:defRPr>
        </a:defPPr>
      </a:lstStyle>
    </a:spDef>
    <a:lnDef>
      <a:spPr>
        <a:ln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7.xml><?xml version="1.0" encoding="utf-8"?>
<a:theme xmlns:a="http://schemas.openxmlformats.org/drawingml/2006/main" name="32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chemeClr val="accent1">
                <a:tint val="66000"/>
                <a:satMod val="160000"/>
              </a:schemeClr>
            </a:gs>
            <a:gs pos="63000">
              <a:schemeClr val="bg1"/>
            </a:gs>
          </a:gsLst>
          <a:path path="circle">
            <a:fillToRect l="50000" t="50000" r="50000" b="50000"/>
          </a:path>
          <a:tileRect/>
        </a:gradFill>
      </a:spPr>
      <a:bodyPr wrap="none" lIns="94383" tIns="111475" rIns="94383" bIns="47192">
        <a:noAutofit/>
      </a:bodyPr>
      <a:lstStyle>
        <a:defPPr algn="ctr">
          <a:lnSpc>
            <a:spcPct val="150000"/>
          </a:lnSpc>
          <a:defRPr sz="6000" b="1" dirty="0" smtClean="0">
            <a:solidFill>
              <a:srgbClr val="000066"/>
            </a:solidFill>
            <a:latin typeface="나눔명조 ExtraBold" pitchFamily="18" charset="-127"/>
            <a:ea typeface="나눔명조 ExtraBold" pitchFamily="18" charset="-127"/>
          </a:defRPr>
        </a:defPPr>
      </a:lstStyle>
    </a:spDef>
    <a:lnDef>
      <a:spPr>
        <a:ln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8.xml><?xml version="1.0" encoding="utf-8"?>
<a:theme xmlns:a="http://schemas.openxmlformats.org/drawingml/2006/main" name="33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9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5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0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고구려 벽화">
      <a:fillStyleLst>
        <a:solidFill>
          <a:schemeClr val="phClr">
            <a:tint val="100000"/>
            <a:shade val="100000"/>
            <a:hueMod val="100000"/>
            <a:satMod val="100000"/>
          </a:schemeClr>
        </a:solidFill>
        <a:gradFill rotWithShape="1">
          <a:gsLst>
            <a:gs pos="18000">
              <a:schemeClr val="phClr">
                <a:tint val="20000"/>
                <a:shade val="100000"/>
                <a:hueMod val="100000"/>
                <a:satMod val="100000"/>
              </a:schemeClr>
            </a:gs>
            <a:gs pos="87000">
              <a:schemeClr val="phClr">
                <a:tint val="100000"/>
                <a:shade val="100000"/>
                <a:hueMod val="100000"/>
                <a:satMod val="100000"/>
              </a:schemeClr>
            </a:gs>
          </a:gsLst>
          <a:lin ang="2700000" scaled="1"/>
        </a:gradFill>
        <a:gradFill rotWithShape="1">
          <a:gsLst>
            <a:gs pos="0">
              <a:schemeClr val="phClr">
                <a:tint val="95000"/>
                <a:shade val="100000"/>
                <a:hueMod val="100000"/>
                <a:satMod val="100000"/>
              </a:schemeClr>
            </a:gs>
            <a:gs pos="100000">
              <a:schemeClr val="phClr">
                <a:tint val="100000"/>
                <a:shade val="95000"/>
                <a:hueMod val="100000"/>
                <a:satMod val="100000"/>
              </a:schemeClr>
            </a:gs>
          </a:gsLst>
          <a:lin ang="0" scaled="1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dir="5400000" algn="tl">
              <a:srgbClr val="EBE9ED">
                <a:alpha val="0"/>
              </a:srgbClr>
            </a:outerShdw>
          </a:effectLst>
        </a:effectStyle>
        <a:effectStyle>
          <a:effectLst>
            <a:outerShdw blurRad="12700" dir="5400000" algn="tl">
              <a:srgbClr val="EBE9ED">
                <a:alpha val="27450"/>
              </a:srgbClr>
            </a:outerShdw>
          </a:effectLst>
          <a:scene3d>
            <a:camera prst="orthographicFront" fov="0">
              <a:rot lat="0" lon="0" rev="0"/>
            </a:camera>
            <a:lightRig rig="soft" dir="t">
              <a:rot lat="0" lon="0" rev="19200000"/>
            </a:lightRig>
          </a:scene3d>
          <a:sp3d prstMaterial="matte">
            <a:bevelT h="88900"/>
            <a:contourClr>
              <a:schemeClr val="phClr">
                <a:tint val="100000"/>
                <a:shade val="100000"/>
                <a:hueMod val="100000"/>
                <a:satMod val="100000"/>
              </a:schemeClr>
            </a:contourClr>
          </a:sp3d>
        </a:effectStyle>
        <a:effectStyle>
          <a:effectLst>
            <a:outerShdw blurRad="101600" dist="76200" dir="2700000" algn="bl">
              <a:srgbClr val="000000">
                <a:alpha val="30588"/>
              </a:srgbClr>
            </a:outerShdw>
          </a:effectLst>
          <a:scene3d>
            <a:camera prst="orthographicFront" fov="0">
              <a:rot lat="0" lon="0" rev="0"/>
            </a:camera>
            <a:lightRig rig="chilly" dir="t">
              <a:rot lat="0" lon="0" rev="4200000"/>
            </a:lightRig>
          </a:scene3d>
          <a:sp3d contourW="25400" prstMaterial="matte">
            <a:bevelT h="88900"/>
            <a:contourClr>
              <a:srgbClr val="FFFFFF">
                <a:alpha val="0"/>
              </a:srgb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6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7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8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9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82610</TotalTime>
  <Words>5253</Words>
  <Application>Microsoft Office PowerPoint</Application>
  <PresentationFormat>사용자 지정</PresentationFormat>
  <Paragraphs>1355</Paragraphs>
  <Slides>45</Slides>
  <Notes>11</Notes>
  <HiddenSlides>0</HiddenSlides>
  <MMClips>0</MMClips>
  <ScaleCrop>false</ScaleCrop>
  <HeadingPairs>
    <vt:vector size="8" baseType="variant">
      <vt:variant>
        <vt:lpstr>사용한 글꼴</vt:lpstr>
      </vt:variant>
      <vt:variant>
        <vt:i4>27</vt:i4>
      </vt:variant>
      <vt:variant>
        <vt:lpstr>테마</vt:lpstr>
      </vt:variant>
      <vt:variant>
        <vt:i4>38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45</vt:i4>
      </vt:variant>
    </vt:vector>
  </HeadingPairs>
  <TitlesOfParts>
    <vt:vector size="111" baseType="lpstr">
      <vt:lpstr>HY견고딕</vt:lpstr>
      <vt:lpstr>HY견명조</vt:lpstr>
      <vt:lpstr>KoPub돋움체 Bold</vt:lpstr>
      <vt:lpstr>KoPub돋움체 Medium</vt:lpstr>
      <vt:lpstr>Noto Sans</vt:lpstr>
      <vt:lpstr>교보 손글씨 2019</vt:lpstr>
      <vt:lpstr>교보 손글씨 2020 박도연</vt:lpstr>
      <vt:lpstr>교보 손글씨 2021 성지영</vt:lpstr>
      <vt:lpstr>교보서체 Bold</vt:lpstr>
      <vt:lpstr>교보서체 Light</vt:lpstr>
      <vt:lpstr>교보서체 Regular</vt:lpstr>
      <vt:lpstr>교보서체 SemiBold</vt:lpstr>
      <vt:lpstr>교보서체 펜글씨</vt:lpstr>
      <vt:lpstr>굴림</vt:lpstr>
      <vt:lpstr>나눔고딕</vt:lpstr>
      <vt:lpstr>나눔고딕 ExtraBold</vt:lpstr>
      <vt:lpstr>나눔명조</vt:lpstr>
      <vt:lpstr>나눔명조 ExtraBold</vt:lpstr>
      <vt:lpstr>나눔바른고딕</vt:lpstr>
      <vt:lpstr>다음_SemiBold</vt:lpstr>
      <vt:lpstr>맑은 고딕</vt:lpstr>
      <vt:lpstr>Arial</vt:lpstr>
      <vt:lpstr>Arial Black</vt:lpstr>
      <vt:lpstr>Calibri</vt:lpstr>
      <vt:lpstr>Times New Roman</vt:lpstr>
      <vt:lpstr>Verdana</vt:lpstr>
      <vt:lpstr>Wingdings</vt:lpstr>
      <vt:lpstr>2_디자인 사용자 지정</vt:lpstr>
      <vt:lpstr>3_디자인 사용자 지정</vt:lpstr>
      <vt:lpstr>4_디자인 사용자 지정</vt:lpstr>
      <vt:lpstr>5_디자인 사용자 지정</vt:lpstr>
      <vt:lpstr>1_디자인 사용자 지정</vt:lpstr>
      <vt:lpstr>6_디자인 사용자 지정</vt:lpstr>
      <vt:lpstr>7_디자인 사용자 지정</vt:lpstr>
      <vt:lpstr>8_디자인 사용자 지정</vt:lpstr>
      <vt:lpstr>9_디자인 사용자 지정</vt:lpstr>
      <vt:lpstr>디자인 사용자 지정</vt:lpstr>
      <vt:lpstr>2_Office 테마</vt:lpstr>
      <vt:lpstr>3_Office 테마</vt:lpstr>
      <vt:lpstr>4_Office 테마</vt:lpstr>
      <vt:lpstr>10_디자인 사용자 지정</vt:lpstr>
      <vt:lpstr>11_디자인 사용자 지정</vt:lpstr>
      <vt:lpstr>12_디자인 사용자 지정</vt:lpstr>
      <vt:lpstr>13_디자인 사용자 지정</vt:lpstr>
      <vt:lpstr>14_디자인 사용자 지정</vt:lpstr>
      <vt:lpstr>15_디자인 사용자 지정</vt:lpstr>
      <vt:lpstr>16_디자인 사용자 지정</vt:lpstr>
      <vt:lpstr>1_Office 테마</vt:lpstr>
      <vt:lpstr>17_디자인 사용자 지정</vt:lpstr>
      <vt:lpstr>18_디자인 사용자 지정</vt:lpstr>
      <vt:lpstr>19_디자인 사용자 지정</vt:lpstr>
      <vt:lpstr>20_디자인 사용자 지정</vt:lpstr>
      <vt:lpstr>21_디자인 사용자 지정</vt:lpstr>
      <vt:lpstr>22_디자인 사용자 지정</vt:lpstr>
      <vt:lpstr>23_디자인 사용자 지정</vt:lpstr>
      <vt:lpstr>24_디자인 사용자 지정</vt:lpstr>
      <vt:lpstr>25_디자인 사용자 지정</vt:lpstr>
      <vt:lpstr>26_디자인 사용자 지정</vt:lpstr>
      <vt:lpstr>27_디자인 사용자 지정</vt:lpstr>
      <vt:lpstr>28_디자인 사용자 지정</vt:lpstr>
      <vt:lpstr>29_디자인 사용자 지정</vt:lpstr>
      <vt:lpstr>30_디자인 사용자 지정</vt:lpstr>
      <vt:lpstr>31_디자인 사용자 지정</vt:lpstr>
      <vt:lpstr>32_디자인 사용자 지정</vt:lpstr>
      <vt:lpstr>33_디자인 사용자 지정</vt:lpstr>
      <vt:lpstr>think-cell Slid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슬라이드 1</dc:title>
  <dc:creator>KB099</dc:creator>
  <cp:lastModifiedBy>KB099</cp:lastModifiedBy>
  <cp:revision>6570</cp:revision>
  <cp:lastPrinted>2023-05-26T05:33:02Z</cp:lastPrinted>
  <dcterms:created xsi:type="dcterms:W3CDTF">2019-03-14T06:56:12Z</dcterms:created>
  <dcterms:modified xsi:type="dcterms:W3CDTF">2023-09-25T06:45:33Z</dcterms:modified>
</cp:coreProperties>
</file>